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1"/>
  </p:sldMasterIdLst>
  <p:notesMasterIdLst>
    <p:notesMasterId r:id="rId51"/>
  </p:notesMasterIdLst>
  <p:sldIdLst>
    <p:sldId id="384" r:id="rId2"/>
    <p:sldId id="258" r:id="rId3"/>
    <p:sldId id="1599" r:id="rId4"/>
    <p:sldId id="1253" r:id="rId5"/>
    <p:sldId id="1313" r:id="rId6"/>
    <p:sldId id="1410" r:id="rId7"/>
    <p:sldId id="385" r:id="rId8"/>
    <p:sldId id="386" r:id="rId9"/>
    <p:sldId id="367" r:id="rId10"/>
    <p:sldId id="353" r:id="rId11"/>
    <p:sldId id="388" r:id="rId12"/>
    <p:sldId id="390" r:id="rId13"/>
    <p:sldId id="368" r:id="rId14"/>
    <p:sldId id="391" r:id="rId15"/>
    <p:sldId id="392" r:id="rId16"/>
    <p:sldId id="393" r:id="rId17"/>
    <p:sldId id="1252" r:id="rId18"/>
    <p:sldId id="1318" r:id="rId19"/>
    <p:sldId id="1234" r:id="rId20"/>
    <p:sldId id="380" r:id="rId21"/>
    <p:sldId id="394" r:id="rId22"/>
    <p:sldId id="1629" r:id="rId23"/>
    <p:sldId id="344" r:id="rId24"/>
    <p:sldId id="387" r:id="rId25"/>
    <p:sldId id="1281" r:id="rId26"/>
    <p:sldId id="1305" r:id="rId27"/>
    <p:sldId id="1246" r:id="rId28"/>
    <p:sldId id="1280" r:id="rId29"/>
    <p:sldId id="395" r:id="rId30"/>
    <p:sldId id="364" r:id="rId31"/>
    <p:sldId id="375" r:id="rId32"/>
    <p:sldId id="352" r:id="rId33"/>
    <p:sldId id="347" r:id="rId34"/>
    <p:sldId id="355" r:id="rId35"/>
    <p:sldId id="1423" r:id="rId36"/>
    <p:sldId id="1331" r:id="rId37"/>
    <p:sldId id="1317" r:id="rId38"/>
    <p:sldId id="372" r:id="rId39"/>
    <p:sldId id="373" r:id="rId40"/>
    <p:sldId id="376" r:id="rId41"/>
    <p:sldId id="381" r:id="rId42"/>
    <p:sldId id="382" r:id="rId43"/>
    <p:sldId id="379" r:id="rId44"/>
    <p:sldId id="1144" r:id="rId45"/>
    <p:sldId id="1602" r:id="rId46"/>
    <p:sldId id="378" r:id="rId47"/>
    <p:sldId id="1259" r:id="rId48"/>
    <p:sldId id="1308" r:id="rId49"/>
    <p:sldId id="1630" r:id="rId50"/>
  </p:sldIdLst>
  <p:sldSz cx="12192000" cy="6858000"/>
  <p:notesSz cx="6858000" cy="9144000"/>
  <p:embeddedFontLst>
    <p:embeddedFont>
      <p:font typeface="NeueHaasGroteskDisp Pro" panose="020B0504020202020204" pitchFamily="34" charset="0"/>
      <p:regular r:id="rId52"/>
      <p:bold r:id="rId53"/>
      <p:italic r:id="rId54"/>
      <p:boldItalic r:id="rId55"/>
    </p:embeddedFont>
    <p:embeddedFont>
      <p:font typeface="NeueHaasGroteskDisp Pro Md" panose="020B0604020202020204" pitchFamily="34" charset="0"/>
      <p:regular r:id="rId56"/>
      <p:italic r:id="rId5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F348CE9-E7FF-AD46-8761-5693C09B87B0}">
          <p14:sldIdLst>
            <p14:sldId id="384"/>
          </p14:sldIdLst>
        </p14:section>
        <p14:section name="Title examples" id="{9772BE5C-838F-0A4E-BB6B-92D0928B7984}">
          <p14:sldIdLst>
            <p14:sldId id="258"/>
            <p14:sldId id="1599"/>
            <p14:sldId id="1253"/>
            <p14:sldId id="1313"/>
            <p14:sldId id="1410"/>
          </p14:sldIdLst>
        </p14:section>
        <p14:section name="Transition examples" id="{717FF5F2-E3B1-BD4E-A7D6-C0D765B3D50B}">
          <p14:sldIdLst>
            <p14:sldId id="385"/>
            <p14:sldId id="386"/>
            <p14:sldId id="367"/>
          </p14:sldIdLst>
        </p14:section>
        <p14:section name="Text only" id="{A0EB1A37-EF2D-4E44-925B-A466B4F06FBB}">
          <p14:sldIdLst>
            <p14:sldId id="353"/>
            <p14:sldId id="388"/>
            <p14:sldId id="390"/>
            <p14:sldId id="368"/>
            <p14:sldId id="391"/>
            <p14:sldId id="392"/>
            <p14:sldId id="393"/>
          </p14:sldIdLst>
        </p14:section>
        <p14:section name="Full page image" id="{C3B0C742-FED0-A649-B782-943AC5505642}">
          <p14:sldIdLst>
            <p14:sldId id="1252"/>
            <p14:sldId id="1318"/>
            <p14:sldId id="1234"/>
            <p14:sldId id="380"/>
            <p14:sldId id="394"/>
            <p14:sldId id="1629"/>
          </p14:sldIdLst>
        </p14:section>
        <p14:section name="Text and image or graphic" id="{183CC131-6BB6-064D-81A2-B829B90EB2F7}">
          <p14:sldIdLst>
            <p14:sldId id="344"/>
            <p14:sldId id="387"/>
            <p14:sldId id="1281"/>
            <p14:sldId id="1305"/>
            <p14:sldId id="1246"/>
            <p14:sldId id="1280"/>
            <p14:sldId id="395"/>
            <p14:sldId id="364"/>
            <p14:sldId id="375"/>
            <p14:sldId id="352"/>
            <p14:sldId id="347"/>
            <p14:sldId id="355"/>
            <p14:sldId id="1423"/>
            <p14:sldId id="1331"/>
            <p14:sldId id="1317"/>
          </p14:sldIdLst>
        </p14:section>
        <p14:section name="Tables and Chart examples" id="{DF80A07D-5C9E-BC44-8E91-437238337B0F}">
          <p14:sldIdLst>
            <p14:sldId id="372"/>
            <p14:sldId id="373"/>
            <p14:sldId id="376"/>
            <p14:sldId id="381"/>
            <p14:sldId id="382"/>
          </p14:sldIdLst>
        </p14:section>
        <p14:section name="Maps" id="{932A880C-3CA7-2A4E-ADB4-548428C623A3}">
          <p14:sldIdLst>
            <p14:sldId id="379"/>
            <p14:sldId id="1144"/>
            <p14:sldId id="1602"/>
            <p14:sldId id="378"/>
            <p14:sldId id="1259"/>
            <p14:sldId id="1308"/>
            <p14:sldId id="163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2181"/>
    <a:srgbClr val="01A2D6"/>
    <a:srgbClr val="78399D"/>
    <a:srgbClr val="00C65A"/>
    <a:srgbClr val="8FF2C3"/>
    <a:srgbClr val="FDCF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803"/>
    <p:restoredTop sz="94550"/>
  </p:normalViewPr>
  <p:slideViewPr>
    <p:cSldViewPr snapToGrid="0" snapToObjects="1">
      <p:cViewPr varScale="1">
        <p:scale>
          <a:sx n="73" d="100"/>
          <a:sy n="73" d="100"/>
        </p:scale>
        <p:origin x="812" y="44"/>
      </p:cViewPr>
      <p:guideLst/>
    </p:cSldViewPr>
  </p:slideViewPr>
  <p:notesTextViewPr>
    <p:cViewPr>
      <p:scale>
        <a:sx n="20" d="100"/>
        <a:sy n="20" d="100"/>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font" Target="fonts/font4.fntdata"/><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font" Target="fonts/font2.fntdata"/><Relationship Id="rId58"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font" Target="fonts/font6.fntdata"/><Relationship Id="rId61"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font" Target="fonts/font1.fntdata"/><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font" Target="fonts/font5.fntdata"/><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978359390866106E-2"/>
          <c:y val="0.16118698207391099"/>
          <c:w val="0.83359143765458299"/>
          <c:h val="0.79688738917591595"/>
        </c:manualLayout>
      </c:layout>
      <c:pieChart>
        <c:varyColors val="1"/>
        <c:ser>
          <c:idx val="0"/>
          <c:order val="0"/>
          <c:tx>
            <c:strRef>
              <c:f>Sheet1!$B$1</c:f>
              <c:strCache>
                <c:ptCount val="1"/>
                <c:pt idx="0">
                  <c:v>Sales</c:v>
                </c:pt>
              </c:strCache>
            </c:strRef>
          </c:tx>
          <c:spPr>
            <a:ln w="76200">
              <a:solidFill>
                <a:schemeClr val="bg1"/>
              </a:solidFill>
            </a:ln>
          </c:spPr>
          <c:dPt>
            <c:idx val="0"/>
            <c:bubble3D val="0"/>
            <c:spPr>
              <a:solidFill>
                <a:srgbClr val="FDCF3D"/>
              </a:solidFill>
              <a:ln w="76200">
                <a:solidFill>
                  <a:schemeClr val="bg1"/>
                </a:solidFill>
              </a:ln>
              <a:effectLst/>
            </c:spPr>
            <c:extLst>
              <c:ext xmlns:c16="http://schemas.microsoft.com/office/drawing/2014/chart" uri="{C3380CC4-5D6E-409C-BE32-E72D297353CC}">
                <c16:uniqueId val="{00000001-098B-0C44-9B96-85AB353783F0}"/>
              </c:ext>
            </c:extLst>
          </c:dPt>
          <c:dPt>
            <c:idx val="1"/>
            <c:bubble3D val="0"/>
            <c:spPr>
              <a:solidFill>
                <a:schemeClr val="tx1"/>
              </a:solidFill>
              <a:ln w="76200">
                <a:solidFill>
                  <a:schemeClr val="bg1"/>
                </a:solidFill>
              </a:ln>
              <a:effectLst/>
            </c:spPr>
            <c:extLst>
              <c:ext xmlns:c16="http://schemas.microsoft.com/office/drawing/2014/chart" uri="{C3380CC4-5D6E-409C-BE32-E72D297353CC}">
                <c16:uniqueId val="{00000003-098B-0C44-9B96-85AB353783F0}"/>
              </c:ext>
            </c:extLst>
          </c:dPt>
          <c:dPt>
            <c:idx val="2"/>
            <c:bubble3D val="0"/>
            <c:spPr>
              <a:solidFill>
                <a:schemeClr val="accent1"/>
              </a:solidFill>
              <a:ln w="76200">
                <a:solidFill>
                  <a:schemeClr val="bg1"/>
                </a:solidFill>
              </a:ln>
              <a:effectLst/>
            </c:spPr>
            <c:extLst>
              <c:ext xmlns:c16="http://schemas.microsoft.com/office/drawing/2014/chart" uri="{C3380CC4-5D6E-409C-BE32-E72D297353CC}">
                <c16:uniqueId val="{00000005-098B-0C44-9B96-85AB353783F0}"/>
              </c:ext>
            </c:extLst>
          </c:dPt>
          <c:dPt>
            <c:idx val="3"/>
            <c:bubble3D val="0"/>
            <c:spPr>
              <a:solidFill>
                <a:schemeClr val="accent2"/>
              </a:solidFill>
              <a:ln w="76200">
                <a:solidFill>
                  <a:schemeClr val="bg1"/>
                </a:solidFill>
              </a:ln>
              <a:effectLst/>
            </c:spPr>
            <c:extLst>
              <c:ext xmlns:c16="http://schemas.microsoft.com/office/drawing/2014/chart" uri="{C3380CC4-5D6E-409C-BE32-E72D297353CC}">
                <c16:uniqueId val="{00000007-098B-0C44-9B96-85AB353783F0}"/>
              </c:ext>
            </c:extLst>
          </c:dPt>
          <c:dPt>
            <c:idx val="4"/>
            <c:bubble3D val="0"/>
            <c:spPr>
              <a:solidFill>
                <a:schemeClr val="accent3"/>
              </a:solidFill>
              <a:ln w="76200">
                <a:solidFill>
                  <a:schemeClr val="bg1"/>
                </a:solidFill>
              </a:ln>
              <a:effectLst/>
            </c:spPr>
            <c:extLst>
              <c:ext xmlns:c16="http://schemas.microsoft.com/office/drawing/2014/chart" uri="{C3380CC4-5D6E-409C-BE32-E72D297353CC}">
                <c16:uniqueId val="{00000009-098B-0C44-9B96-85AB353783F0}"/>
              </c:ext>
            </c:extLst>
          </c:dPt>
          <c:cat>
            <c:strRef>
              <c:f>Sheet1!$A$2:$A$6</c:f>
              <c:strCache>
                <c:ptCount val="5"/>
                <c:pt idx="0">
                  <c:v>apple</c:v>
                </c:pt>
                <c:pt idx="1">
                  <c:v>pecan</c:v>
                </c:pt>
                <c:pt idx="2">
                  <c:v>cherry</c:v>
                </c:pt>
                <c:pt idx="3">
                  <c:v>pumpkin</c:v>
                </c:pt>
                <c:pt idx="4">
                  <c:v>none</c:v>
                </c:pt>
              </c:strCache>
            </c:strRef>
          </c:cat>
          <c:val>
            <c:numRef>
              <c:f>Sheet1!$B$2:$B$6</c:f>
              <c:numCache>
                <c:formatCode>General</c:formatCode>
                <c:ptCount val="5"/>
                <c:pt idx="0">
                  <c:v>8</c:v>
                </c:pt>
                <c:pt idx="1">
                  <c:v>5</c:v>
                </c:pt>
                <c:pt idx="2">
                  <c:v>3.5</c:v>
                </c:pt>
                <c:pt idx="3">
                  <c:v>1.5</c:v>
                </c:pt>
                <c:pt idx="4">
                  <c:v>1</c:v>
                </c:pt>
              </c:numCache>
            </c:numRef>
          </c:val>
          <c:extLst>
            <c:ext xmlns:c16="http://schemas.microsoft.com/office/drawing/2014/chart" uri="{C3380CC4-5D6E-409C-BE32-E72D297353CC}">
              <c16:uniqueId val="{0000000A-098B-0C44-9B96-85AB353783F0}"/>
            </c:ext>
          </c:extLst>
        </c:ser>
        <c:dLbls>
          <c:showLegendKey val="0"/>
          <c:showVal val="0"/>
          <c:showCatName val="0"/>
          <c:showSerName val="0"/>
          <c:showPercent val="0"/>
          <c:showBubbleSize val="0"/>
          <c:showLeaderLines val="1"/>
        </c:dLbls>
        <c:firstSliceAng val="121"/>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978359390866106E-2"/>
          <c:y val="0.16118698207391099"/>
          <c:w val="0.83359143765458299"/>
          <c:h val="0.79688738917591595"/>
        </c:manualLayout>
      </c:layout>
      <c:pieChart>
        <c:varyColors val="1"/>
        <c:ser>
          <c:idx val="0"/>
          <c:order val="0"/>
          <c:tx>
            <c:strRef>
              <c:f>Sheet1!$B$1</c:f>
              <c:strCache>
                <c:ptCount val="1"/>
                <c:pt idx="0">
                  <c:v>Sales</c:v>
                </c:pt>
              </c:strCache>
            </c:strRef>
          </c:tx>
          <c:spPr>
            <a:ln w="76200">
              <a:solidFill>
                <a:schemeClr val="bg1"/>
              </a:solidFill>
            </a:ln>
          </c:spPr>
          <c:dPt>
            <c:idx val="0"/>
            <c:bubble3D val="0"/>
            <c:spPr>
              <a:solidFill>
                <a:srgbClr val="FDCF3D"/>
              </a:solidFill>
              <a:ln w="76200">
                <a:solidFill>
                  <a:schemeClr val="bg1"/>
                </a:solidFill>
              </a:ln>
              <a:effectLst/>
            </c:spPr>
            <c:extLst>
              <c:ext xmlns:c16="http://schemas.microsoft.com/office/drawing/2014/chart" uri="{C3380CC4-5D6E-409C-BE32-E72D297353CC}">
                <c16:uniqueId val="{00000001-C6D1-684B-9D5C-56424135BDB5}"/>
              </c:ext>
            </c:extLst>
          </c:dPt>
          <c:dPt>
            <c:idx val="1"/>
            <c:bubble3D val="0"/>
            <c:spPr>
              <a:solidFill>
                <a:schemeClr val="tx1"/>
              </a:solidFill>
              <a:ln w="76200">
                <a:solidFill>
                  <a:schemeClr val="bg1"/>
                </a:solidFill>
              </a:ln>
              <a:effectLst/>
            </c:spPr>
            <c:extLst>
              <c:ext xmlns:c16="http://schemas.microsoft.com/office/drawing/2014/chart" uri="{C3380CC4-5D6E-409C-BE32-E72D297353CC}">
                <c16:uniqueId val="{00000003-C6D1-684B-9D5C-56424135BDB5}"/>
              </c:ext>
            </c:extLst>
          </c:dPt>
          <c:dPt>
            <c:idx val="2"/>
            <c:bubble3D val="0"/>
            <c:spPr>
              <a:solidFill>
                <a:schemeClr val="accent1"/>
              </a:solidFill>
              <a:ln w="76200">
                <a:solidFill>
                  <a:schemeClr val="bg1"/>
                </a:solidFill>
              </a:ln>
              <a:effectLst/>
            </c:spPr>
            <c:extLst>
              <c:ext xmlns:c16="http://schemas.microsoft.com/office/drawing/2014/chart" uri="{C3380CC4-5D6E-409C-BE32-E72D297353CC}">
                <c16:uniqueId val="{00000005-C6D1-684B-9D5C-56424135BDB5}"/>
              </c:ext>
            </c:extLst>
          </c:dPt>
          <c:dPt>
            <c:idx val="3"/>
            <c:bubble3D val="0"/>
            <c:spPr>
              <a:solidFill>
                <a:schemeClr val="accent2"/>
              </a:solidFill>
              <a:ln w="76200">
                <a:solidFill>
                  <a:schemeClr val="bg1"/>
                </a:solidFill>
              </a:ln>
              <a:effectLst/>
            </c:spPr>
            <c:extLst>
              <c:ext xmlns:c16="http://schemas.microsoft.com/office/drawing/2014/chart" uri="{C3380CC4-5D6E-409C-BE32-E72D297353CC}">
                <c16:uniqueId val="{00000007-C6D1-684B-9D5C-56424135BDB5}"/>
              </c:ext>
            </c:extLst>
          </c:dPt>
          <c:dPt>
            <c:idx val="4"/>
            <c:bubble3D val="0"/>
            <c:spPr>
              <a:solidFill>
                <a:schemeClr val="accent3"/>
              </a:solidFill>
              <a:ln w="76200">
                <a:solidFill>
                  <a:schemeClr val="bg1"/>
                </a:solidFill>
              </a:ln>
              <a:effectLst/>
            </c:spPr>
            <c:extLst>
              <c:ext xmlns:c16="http://schemas.microsoft.com/office/drawing/2014/chart" uri="{C3380CC4-5D6E-409C-BE32-E72D297353CC}">
                <c16:uniqueId val="{00000009-C6D1-684B-9D5C-56424135BDB5}"/>
              </c:ext>
            </c:extLst>
          </c:dPt>
          <c:cat>
            <c:strRef>
              <c:f>Sheet1!$A$2:$A$6</c:f>
              <c:strCache>
                <c:ptCount val="5"/>
                <c:pt idx="0">
                  <c:v>apple</c:v>
                </c:pt>
                <c:pt idx="1">
                  <c:v>pecan</c:v>
                </c:pt>
                <c:pt idx="2">
                  <c:v>cherry</c:v>
                </c:pt>
                <c:pt idx="3">
                  <c:v>pumpkin</c:v>
                </c:pt>
                <c:pt idx="4">
                  <c:v>none</c:v>
                </c:pt>
              </c:strCache>
            </c:strRef>
          </c:cat>
          <c:val>
            <c:numRef>
              <c:f>Sheet1!$B$2:$B$6</c:f>
              <c:numCache>
                <c:formatCode>General</c:formatCode>
                <c:ptCount val="5"/>
                <c:pt idx="0">
                  <c:v>8</c:v>
                </c:pt>
                <c:pt idx="1">
                  <c:v>5</c:v>
                </c:pt>
                <c:pt idx="2">
                  <c:v>3.5</c:v>
                </c:pt>
                <c:pt idx="3">
                  <c:v>1.5</c:v>
                </c:pt>
                <c:pt idx="4">
                  <c:v>1</c:v>
                </c:pt>
              </c:numCache>
            </c:numRef>
          </c:val>
          <c:extLst>
            <c:ext xmlns:c16="http://schemas.microsoft.com/office/drawing/2014/chart" uri="{C3380CC4-5D6E-409C-BE32-E72D297353CC}">
              <c16:uniqueId val="{0000000A-C6D1-684B-9D5C-56424135BDB5}"/>
            </c:ext>
          </c:extLst>
        </c:ser>
        <c:dLbls>
          <c:showLegendKey val="0"/>
          <c:showVal val="0"/>
          <c:showCatName val="0"/>
          <c:showSerName val="0"/>
          <c:showPercent val="0"/>
          <c:showBubbleSize val="0"/>
          <c:showLeaderLines val="1"/>
        </c:dLbls>
        <c:firstSliceAng val="121"/>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978359390866106E-2"/>
          <c:y val="0.16118698207391099"/>
          <c:w val="0.83359143765458299"/>
          <c:h val="0.79688738917591595"/>
        </c:manualLayout>
      </c:layout>
      <c:pieChart>
        <c:varyColors val="1"/>
        <c:ser>
          <c:idx val="0"/>
          <c:order val="0"/>
          <c:tx>
            <c:strRef>
              <c:f>Sheet1!$B$1</c:f>
              <c:strCache>
                <c:ptCount val="1"/>
                <c:pt idx="0">
                  <c:v>Sales</c:v>
                </c:pt>
              </c:strCache>
            </c:strRef>
          </c:tx>
          <c:spPr>
            <a:ln w="76200">
              <a:solidFill>
                <a:srgbClr val="412181"/>
              </a:solidFill>
            </a:ln>
          </c:spPr>
          <c:dPt>
            <c:idx val="0"/>
            <c:bubble3D val="0"/>
            <c:spPr>
              <a:solidFill>
                <a:srgbClr val="FDCF3D"/>
              </a:solidFill>
              <a:ln w="76200">
                <a:solidFill>
                  <a:srgbClr val="412181"/>
                </a:solidFill>
              </a:ln>
              <a:effectLst/>
            </c:spPr>
            <c:extLst>
              <c:ext xmlns:c16="http://schemas.microsoft.com/office/drawing/2014/chart" uri="{C3380CC4-5D6E-409C-BE32-E72D297353CC}">
                <c16:uniqueId val="{00000001-C51F-DB44-95C3-E1706C44DBC0}"/>
              </c:ext>
            </c:extLst>
          </c:dPt>
          <c:dPt>
            <c:idx val="1"/>
            <c:bubble3D val="0"/>
            <c:spPr>
              <a:solidFill>
                <a:schemeClr val="tx1"/>
              </a:solidFill>
              <a:ln w="76200">
                <a:solidFill>
                  <a:srgbClr val="412181"/>
                </a:solidFill>
              </a:ln>
              <a:effectLst/>
            </c:spPr>
            <c:extLst>
              <c:ext xmlns:c16="http://schemas.microsoft.com/office/drawing/2014/chart" uri="{C3380CC4-5D6E-409C-BE32-E72D297353CC}">
                <c16:uniqueId val="{00000003-C51F-DB44-95C3-E1706C44DBC0}"/>
              </c:ext>
            </c:extLst>
          </c:dPt>
          <c:dPt>
            <c:idx val="2"/>
            <c:bubble3D val="0"/>
            <c:spPr>
              <a:solidFill>
                <a:schemeClr val="bg1"/>
              </a:solidFill>
              <a:ln w="76200">
                <a:solidFill>
                  <a:srgbClr val="412181"/>
                </a:solidFill>
              </a:ln>
              <a:effectLst/>
            </c:spPr>
            <c:extLst>
              <c:ext xmlns:c16="http://schemas.microsoft.com/office/drawing/2014/chart" uri="{C3380CC4-5D6E-409C-BE32-E72D297353CC}">
                <c16:uniqueId val="{00000005-C51F-DB44-95C3-E1706C44DBC0}"/>
              </c:ext>
            </c:extLst>
          </c:dPt>
          <c:dPt>
            <c:idx val="3"/>
            <c:bubble3D val="0"/>
            <c:spPr>
              <a:solidFill>
                <a:srgbClr val="78399D"/>
              </a:solidFill>
              <a:ln w="76200">
                <a:solidFill>
                  <a:srgbClr val="412181"/>
                </a:solidFill>
              </a:ln>
              <a:effectLst/>
            </c:spPr>
            <c:extLst>
              <c:ext xmlns:c16="http://schemas.microsoft.com/office/drawing/2014/chart" uri="{C3380CC4-5D6E-409C-BE32-E72D297353CC}">
                <c16:uniqueId val="{00000007-C51F-DB44-95C3-E1706C44DBC0}"/>
              </c:ext>
            </c:extLst>
          </c:dPt>
          <c:dPt>
            <c:idx val="4"/>
            <c:bubble3D val="0"/>
            <c:spPr>
              <a:solidFill>
                <a:schemeClr val="accent6"/>
              </a:solidFill>
              <a:ln w="76200">
                <a:solidFill>
                  <a:srgbClr val="412181"/>
                </a:solidFill>
              </a:ln>
              <a:effectLst/>
            </c:spPr>
            <c:extLst>
              <c:ext xmlns:c16="http://schemas.microsoft.com/office/drawing/2014/chart" uri="{C3380CC4-5D6E-409C-BE32-E72D297353CC}">
                <c16:uniqueId val="{00000009-C51F-DB44-95C3-E1706C44DBC0}"/>
              </c:ext>
            </c:extLst>
          </c:dPt>
          <c:cat>
            <c:strRef>
              <c:f>Sheet1!$A$2:$A$6</c:f>
              <c:strCache>
                <c:ptCount val="5"/>
                <c:pt idx="0">
                  <c:v>apple</c:v>
                </c:pt>
                <c:pt idx="1">
                  <c:v>pecan</c:v>
                </c:pt>
                <c:pt idx="2">
                  <c:v>cherry</c:v>
                </c:pt>
                <c:pt idx="3">
                  <c:v>pumpkin</c:v>
                </c:pt>
                <c:pt idx="4">
                  <c:v>none</c:v>
                </c:pt>
              </c:strCache>
            </c:strRef>
          </c:cat>
          <c:val>
            <c:numRef>
              <c:f>Sheet1!$B$2:$B$6</c:f>
              <c:numCache>
                <c:formatCode>General</c:formatCode>
                <c:ptCount val="5"/>
                <c:pt idx="0">
                  <c:v>8</c:v>
                </c:pt>
                <c:pt idx="1">
                  <c:v>5</c:v>
                </c:pt>
                <c:pt idx="2">
                  <c:v>3.5</c:v>
                </c:pt>
                <c:pt idx="3">
                  <c:v>1.5</c:v>
                </c:pt>
                <c:pt idx="4">
                  <c:v>1</c:v>
                </c:pt>
              </c:numCache>
            </c:numRef>
          </c:val>
          <c:extLst>
            <c:ext xmlns:c16="http://schemas.microsoft.com/office/drawing/2014/chart" uri="{C3380CC4-5D6E-409C-BE32-E72D297353CC}">
              <c16:uniqueId val="{0000000A-C51F-DB44-95C3-E1706C44DBC0}"/>
            </c:ext>
          </c:extLst>
        </c:ser>
        <c:dLbls>
          <c:showLegendKey val="0"/>
          <c:showVal val="0"/>
          <c:showCatName val="0"/>
          <c:showSerName val="0"/>
          <c:showPercent val="0"/>
          <c:showBubbleSize val="0"/>
          <c:showLeaderLines val="1"/>
        </c:dLbls>
        <c:firstSliceAng val="121"/>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289830095477601E-2"/>
          <c:y val="2.9648584747265901E-2"/>
          <c:w val="0.87867282678554404"/>
          <c:h val="0.83737523154167304"/>
        </c:manualLayout>
      </c:layout>
      <c:barChart>
        <c:barDir val="col"/>
        <c:grouping val="clustered"/>
        <c:varyColors val="0"/>
        <c:ser>
          <c:idx val="0"/>
          <c:order val="0"/>
          <c:tx>
            <c:strRef>
              <c:f>Sheet1!$B$1</c:f>
              <c:strCache>
                <c:ptCount val="1"/>
                <c:pt idx="0">
                  <c:v>Apple</c:v>
                </c:pt>
              </c:strCache>
            </c:strRef>
          </c:tx>
          <c:spPr>
            <a:solidFill>
              <a:srgbClr val="FDCF3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NeueHaasGroteskDisp Pro" panose="020B0504020202020204" pitchFamily="34" charset="77"/>
                    <a:ea typeface="Consolas" charset="0"/>
                    <a:cs typeface="Consolas"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1960</c:v>
                </c:pt>
                <c:pt idx="1">
                  <c:v>1975</c:v>
                </c:pt>
                <c:pt idx="2">
                  <c:v>2000</c:v>
                </c:pt>
                <c:pt idx="3">
                  <c:v>2016</c:v>
                </c:pt>
              </c:numCache>
            </c:numRef>
          </c:cat>
          <c:val>
            <c:numRef>
              <c:f>Sheet1!$B$2:$B$5</c:f>
              <c:numCache>
                <c:formatCode>General</c:formatCode>
                <c:ptCount val="4"/>
                <c:pt idx="0">
                  <c:v>6</c:v>
                </c:pt>
                <c:pt idx="1">
                  <c:v>9</c:v>
                </c:pt>
                <c:pt idx="2">
                  <c:v>9</c:v>
                </c:pt>
                <c:pt idx="3">
                  <c:v>9</c:v>
                </c:pt>
              </c:numCache>
            </c:numRef>
          </c:val>
          <c:extLst>
            <c:ext xmlns:c16="http://schemas.microsoft.com/office/drawing/2014/chart" uri="{C3380CC4-5D6E-409C-BE32-E72D297353CC}">
              <c16:uniqueId val="{00000000-EFDA-9141-B666-6B7AA9C5BAA5}"/>
            </c:ext>
          </c:extLst>
        </c:ser>
        <c:ser>
          <c:idx val="1"/>
          <c:order val="1"/>
          <c:tx>
            <c:strRef>
              <c:f>Sheet1!$C$1</c:f>
              <c:strCache>
                <c:ptCount val="1"/>
                <c:pt idx="0">
                  <c:v>Cherry</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NeueHaasGroteskDisp Pro" panose="020B0504020202020204" pitchFamily="34" charset="77"/>
                    <a:ea typeface="Consolas" charset="0"/>
                    <a:cs typeface="Consolas"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1960</c:v>
                </c:pt>
                <c:pt idx="1">
                  <c:v>1975</c:v>
                </c:pt>
                <c:pt idx="2">
                  <c:v>2000</c:v>
                </c:pt>
                <c:pt idx="3">
                  <c:v>2016</c:v>
                </c:pt>
              </c:numCache>
            </c:numRef>
          </c:cat>
          <c:val>
            <c:numRef>
              <c:f>Sheet1!$C$2:$C$5</c:f>
              <c:numCache>
                <c:formatCode>General</c:formatCode>
                <c:ptCount val="4"/>
                <c:pt idx="0">
                  <c:v>8</c:v>
                </c:pt>
                <c:pt idx="1">
                  <c:v>8</c:v>
                </c:pt>
                <c:pt idx="2">
                  <c:v>7</c:v>
                </c:pt>
                <c:pt idx="3">
                  <c:v>5</c:v>
                </c:pt>
              </c:numCache>
            </c:numRef>
          </c:val>
          <c:extLst>
            <c:ext xmlns:c16="http://schemas.microsoft.com/office/drawing/2014/chart" uri="{C3380CC4-5D6E-409C-BE32-E72D297353CC}">
              <c16:uniqueId val="{00000001-EFDA-9141-B666-6B7AA9C5BAA5}"/>
            </c:ext>
          </c:extLst>
        </c:ser>
        <c:ser>
          <c:idx val="2"/>
          <c:order val="2"/>
          <c:tx>
            <c:strRef>
              <c:f>Sheet1!$D$1</c:f>
              <c:strCache>
                <c:ptCount val="1"/>
                <c:pt idx="0">
                  <c:v>Pumpkin</c:v>
                </c:pt>
              </c:strCache>
            </c:strRef>
          </c:tx>
          <c:spPr>
            <a:solidFill>
              <a:srgbClr val="41218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NeueHaasGroteskDisp Pro" panose="020B0504020202020204" pitchFamily="34" charset="77"/>
                    <a:ea typeface="Consolas" charset="0"/>
                    <a:cs typeface="Consolas"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1960</c:v>
                </c:pt>
                <c:pt idx="1">
                  <c:v>1975</c:v>
                </c:pt>
                <c:pt idx="2">
                  <c:v>2000</c:v>
                </c:pt>
                <c:pt idx="3">
                  <c:v>2016</c:v>
                </c:pt>
              </c:numCache>
            </c:numRef>
          </c:cat>
          <c:val>
            <c:numRef>
              <c:f>Sheet1!$D$2:$D$5</c:f>
              <c:numCache>
                <c:formatCode>General</c:formatCode>
                <c:ptCount val="4"/>
                <c:pt idx="0">
                  <c:v>2</c:v>
                </c:pt>
                <c:pt idx="1">
                  <c:v>4</c:v>
                </c:pt>
                <c:pt idx="2">
                  <c:v>9</c:v>
                </c:pt>
                <c:pt idx="3">
                  <c:v>4</c:v>
                </c:pt>
              </c:numCache>
            </c:numRef>
          </c:val>
          <c:extLst>
            <c:ext xmlns:c16="http://schemas.microsoft.com/office/drawing/2014/chart" uri="{C3380CC4-5D6E-409C-BE32-E72D297353CC}">
              <c16:uniqueId val="{00000002-EFDA-9141-B666-6B7AA9C5BAA5}"/>
            </c:ext>
          </c:extLst>
        </c:ser>
        <c:ser>
          <c:idx val="3"/>
          <c:order val="3"/>
          <c:tx>
            <c:strRef>
              <c:f>Sheet1!$E$1</c:f>
              <c:strCache>
                <c:ptCount val="1"/>
                <c:pt idx="0">
                  <c:v>Pecan</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NeueHaasGroteskDisp Pro" panose="020B0504020202020204" pitchFamily="34" charset="77"/>
                    <a:ea typeface="Consolas" charset="0"/>
                    <a:cs typeface="Consolas"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1960</c:v>
                </c:pt>
                <c:pt idx="1">
                  <c:v>1975</c:v>
                </c:pt>
                <c:pt idx="2">
                  <c:v>2000</c:v>
                </c:pt>
                <c:pt idx="3">
                  <c:v>2016</c:v>
                </c:pt>
              </c:numCache>
            </c:numRef>
          </c:cat>
          <c:val>
            <c:numRef>
              <c:f>Sheet1!$E$2:$E$5</c:f>
              <c:numCache>
                <c:formatCode>General</c:formatCode>
                <c:ptCount val="4"/>
                <c:pt idx="0">
                  <c:v>4</c:v>
                </c:pt>
                <c:pt idx="1">
                  <c:v>6</c:v>
                </c:pt>
                <c:pt idx="2">
                  <c:v>3</c:v>
                </c:pt>
                <c:pt idx="3">
                  <c:v>2</c:v>
                </c:pt>
              </c:numCache>
            </c:numRef>
          </c:val>
          <c:extLst>
            <c:ext xmlns:c16="http://schemas.microsoft.com/office/drawing/2014/chart" uri="{C3380CC4-5D6E-409C-BE32-E72D297353CC}">
              <c16:uniqueId val="{00000003-EFDA-9141-B666-6B7AA9C5BAA5}"/>
            </c:ext>
          </c:extLst>
        </c:ser>
        <c:dLbls>
          <c:showLegendKey val="0"/>
          <c:showVal val="0"/>
          <c:showCatName val="0"/>
          <c:showSerName val="0"/>
          <c:showPercent val="0"/>
          <c:showBubbleSize val="0"/>
        </c:dLbls>
        <c:gapWidth val="95"/>
        <c:axId val="82964528"/>
        <c:axId val="83717168"/>
      </c:barChart>
      <c:catAx>
        <c:axId val="82964528"/>
        <c:scaling>
          <c:orientation val="minMax"/>
        </c:scaling>
        <c:delete val="0"/>
        <c:axPos val="b"/>
        <c:numFmt formatCode="General" sourceLinked="1"/>
        <c:majorTickMark val="none"/>
        <c:minorTickMark val="none"/>
        <c:tickLblPos val="nextTo"/>
        <c:spPr>
          <a:noFill/>
          <a:ln w="3810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NeueHaasGroteskDisp Pro" panose="020B0504020202020204" pitchFamily="34" charset="0"/>
                <a:ea typeface="Helvetica" charset="0"/>
                <a:cs typeface="Helvetica" charset="0"/>
              </a:defRPr>
            </a:pPr>
            <a:endParaRPr lang="en-US"/>
          </a:p>
        </c:txPr>
        <c:crossAx val="83717168"/>
        <c:crossesAt val="0"/>
        <c:auto val="1"/>
        <c:lblAlgn val="ctr"/>
        <c:lblOffset val="100"/>
        <c:noMultiLvlLbl val="0"/>
      </c:catAx>
      <c:valAx>
        <c:axId val="83717168"/>
        <c:scaling>
          <c:orientation val="minMax"/>
          <c:max val="10"/>
          <c:min val="0"/>
        </c:scaling>
        <c:delete val="0"/>
        <c:axPos val="l"/>
        <c:majorGridlines>
          <c:spPr>
            <a:ln w="38100" cap="flat" cmpd="sng" algn="ctr">
              <a:solidFill>
                <a:srgbClr val="000000"/>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NeueHaasGroteskDisp Pro" panose="020B0504020202020204" pitchFamily="34" charset="77"/>
                <a:ea typeface="Consolas" charset="0"/>
                <a:cs typeface="Consolas" charset="0"/>
              </a:defRPr>
            </a:pPr>
            <a:endParaRPr lang="en-US"/>
          </a:p>
        </c:txPr>
        <c:crossAx val="82964528"/>
        <c:crosses val="autoZero"/>
        <c:crossBetween val="between"/>
        <c:majorUnit val="2.5"/>
        <c:minorUnit val="0.5"/>
      </c:valAx>
      <c:spPr>
        <a:noFill/>
        <a:ln>
          <a:noFill/>
        </a:ln>
        <a:effectLst/>
      </c:spPr>
    </c:plotArea>
    <c:legend>
      <c:legendPos val="r"/>
      <c:legendEntry>
        <c:idx val="0"/>
        <c:txPr>
          <a:bodyPr rot="0" spcFirstLastPara="1" vertOverflow="ellipsis" vert="horz" wrap="square" anchor="ctr" anchorCtr="1"/>
          <a:lstStyle/>
          <a:p>
            <a:pPr>
              <a:defRPr sz="1200" b="0" i="0" u="none" strike="noStrike" kern="1200" baseline="0">
                <a:solidFill>
                  <a:schemeClr val="tx1"/>
                </a:solidFill>
                <a:latin typeface="NeueHaasGroteskDisp Pro" panose="020B0504020202020204" pitchFamily="34" charset="0"/>
                <a:ea typeface="Helvetica" charset="0"/>
                <a:cs typeface="Helvetica" charset="0"/>
              </a:defRPr>
            </a:pPr>
            <a:endParaRPr lang="en-US"/>
          </a:p>
        </c:txPr>
      </c:legendEntry>
      <c:legendEntry>
        <c:idx val="1"/>
        <c:txPr>
          <a:bodyPr rot="0" spcFirstLastPara="1" vertOverflow="ellipsis" vert="horz" wrap="square" anchor="ctr" anchorCtr="1"/>
          <a:lstStyle/>
          <a:p>
            <a:pPr>
              <a:defRPr sz="1200" b="0" i="0" u="none" strike="noStrike" kern="1200" baseline="0">
                <a:solidFill>
                  <a:schemeClr val="tx1"/>
                </a:solidFill>
                <a:latin typeface="NeueHaasGroteskDisp Pro" panose="020B0504020202020204" pitchFamily="34" charset="0"/>
                <a:ea typeface="Helvetica" charset="0"/>
                <a:cs typeface="Helvetica" charset="0"/>
              </a:defRPr>
            </a:pPr>
            <a:endParaRPr lang="en-US"/>
          </a:p>
        </c:txPr>
      </c:legendEntry>
      <c:legendEntry>
        <c:idx val="2"/>
        <c:txPr>
          <a:bodyPr rot="0" spcFirstLastPara="1" vertOverflow="ellipsis" vert="horz" wrap="square" anchor="ctr" anchorCtr="1"/>
          <a:lstStyle/>
          <a:p>
            <a:pPr>
              <a:defRPr sz="1200" b="0" i="0" u="none" strike="noStrike" kern="1200" baseline="0">
                <a:solidFill>
                  <a:schemeClr val="tx1"/>
                </a:solidFill>
                <a:latin typeface="NeueHaasGroteskDisp Pro" panose="020B0504020202020204" pitchFamily="34" charset="0"/>
                <a:ea typeface="Helvetica" charset="0"/>
                <a:cs typeface="Helvetica" charset="0"/>
              </a:defRPr>
            </a:pPr>
            <a:endParaRPr lang="en-US"/>
          </a:p>
        </c:txPr>
      </c:legendEntry>
      <c:legendEntry>
        <c:idx val="3"/>
        <c:txPr>
          <a:bodyPr rot="0" spcFirstLastPara="1" vertOverflow="ellipsis" vert="horz" wrap="square" anchor="ctr" anchorCtr="1"/>
          <a:lstStyle/>
          <a:p>
            <a:pPr>
              <a:defRPr sz="1200" b="0" i="0" u="none" strike="noStrike" kern="1200" baseline="0">
                <a:solidFill>
                  <a:schemeClr val="tx1"/>
                </a:solidFill>
                <a:latin typeface="NeueHaasGroteskDisp Pro" panose="020B0504020202020204" pitchFamily="34" charset="0"/>
                <a:ea typeface="Helvetica" charset="0"/>
                <a:cs typeface="Helvetica" charset="0"/>
              </a:defRPr>
            </a:pPr>
            <a:endParaRPr lang="en-US"/>
          </a:p>
        </c:txPr>
      </c:legendEntry>
      <c:layout>
        <c:manualLayout>
          <c:xMode val="edge"/>
          <c:yMode val="edge"/>
          <c:x val="0.92348082770454842"/>
          <c:y val="0"/>
          <c:w val="7.6519199076166902E-2"/>
          <c:h val="0.22097445008607866"/>
        </c:manualLayout>
      </c:layout>
      <c:overlay val="0"/>
      <c:spPr>
        <a:noFill/>
        <a:ln>
          <a:noFill/>
        </a:ln>
        <a:effectLst/>
      </c:spPr>
      <c:txPr>
        <a:bodyPr rot="0" spcFirstLastPara="1" vertOverflow="ellipsis" vert="horz" wrap="square" anchor="ctr" anchorCtr="1"/>
        <a:lstStyle/>
        <a:p>
          <a:pPr>
            <a:defRPr sz="2000" b="1" i="0" u="none" strike="noStrike" kern="1200" baseline="0">
              <a:solidFill>
                <a:schemeClr val="tx1"/>
              </a:solidFill>
              <a:latin typeface="NeueHaasGroteskDisp Pro" panose="020B0504020202020204" pitchFamily="34" charset="0"/>
              <a:ea typeface="Helvetica" charset="0"/>
              <a:cs typeface="Helvetica"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NeueHaasGroteskDisp Pro" panose="020B05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NeueHaasGroteskDisp Pro" panose="020B0504020202020204" pitchFamily="34" charset="0"/>
              </a:defRPr>
            </a:lvl1pPr>
          </a:lstStyle>
          <a:p>
            <a:fld id="{33FF0AF0-5ACF-7C41-B142-4C6FA39092F2}" type="datetimeFigureOut">
              <a:rPr lang="en-US" smtClean="0"/>
              <a:pPr/>
              <a:t>5/14/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NeueHaasGroteskDisp Pro" panose="020B05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NeueHaasGroteskDisp Pro" panose="020B0504020202020204" pitchFamily="34" charset="0"/>
              </a:defRPr>
            </a:lvl1pPr>
          </a:lstStyle>
          <a:p>
            <a:fld id="{B43764FB-760E-5746-A806-4C140554306A}" type="slidenum">
              <a:rPr lang="en-US" smtClean="0"/>
              <a:pPr/>
              <a:t>‹#›</a:t>
            </a:fld>
            <a:endParaRPr lang="en-US" dirty="0"/>
          </a:p>
        </p:txBody>
      </p:sp>
    </p:spTree>
    <p:extLst>
      <p:ext uri="{BB962C8B-B14F-4D97-AF65-F5344CB8AC3E}">
        <p14:creationId xmlns:p14="http://schemas.microsoft.com/office/powerpoint/2010/main" val="1436022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NeueHaasGroteskDisp Pro" panose="020B0504020202020204" pitchFamily="34" charset="0"/>
        <a:ea typeface="+mn-ea"/>
        <a:cs typeface="+mn-cs"/>
      </a:defRPr>
    </a:lvl1pPr>
    <a:lvl2pPr marL="457200" algn="l" defTabSz="914400" rtl="0" eaLnBrk="1" latinLnBrk="0" hangingPunct="1">
      <a:defRPr sz="1200" kern="1200">
        <a:solidFill>
          <a:schemeClr val="tx1"/>
        </a:solidFill>
        <a:latin typeface="NeueHaasGroteskDisp Pro" panose="020B0504020202020204" pitchFamily="34" charset="0"/>
        <a:ea typeface="+mn-ea"/>
        <a:cs typeface="+mn-cs"/>
      </a:defRPr>
    </a:lvl2pPr>
    <a:lvl3pPr marL="914400" algn="l" defTabSz="914400" rtl="0" eaLnBrk="1" latinLnBrk="0" hangingPunct="1">
      <a:defRPr sz="1200" kern="1200">
        <a:solidFill>
          <a:schemeClr val="tx1"/>
        </a:solidFill>
        <a:latin typeface="NeueHaasGroteskDisp Pro" panose="020B0504020202020204" pitchFamily="34" charset="0"/>
        <a:ea typeface="+mn-ea"/>
        <a:cs typeface="+mn-cs"/>
      </a:defRPr>
    </a:lvl3pPr>
    <a:lvl4pPr marL="1371600" algn="l" defTabSz="914400" rtl="0" eaLnBrk="1" latinLnBrk="0" hangingPunct="1">
      <a:defRPr sz="1200" kern="1200">
        <a:solidFill>
          <a:schemeClr val="tx1"/>
        </a:solidFill>
        <a:latin typeface="NeueHaasGroteskDisp Pro" panose="020B0504020202020204" pitchFamily="34" charset="0"/>
        <a:ea typeface="+mn-ea"/>
        <a:cs typeface="+mn-cs"/>
      </a:defRPr>
    </a:lvl4pPr>
    <a:lvl5pPr marL="1828800" algn="l" defTabSz="914400" rtl="0" eaLnBrk="1" latinLnBrk="0" hangingPunct="1">
      <a:defRPr sz="1200" kern="1200">
        <a:solidFill>
          <a:schemeClr val="tx1"/>
        </a:solidFill>
        <a:latin typeface="NeueHaasGroteskDisp Pro" panose="020B05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www.diabetesatlas.org/"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can change photo as needed</a:t>
            </a:r>
          </a:p>
        </p:txBody>
      </p:sp>
      <p:sp>
        <p:nvSpPr>
          <p:cNvPr id="4" name="Slide Number Placeholder 3"/>
          <p:cNvSpPr>
            <a:spLocks noGrp="1"/>
          </p:cNvSpPr>
          <p:nvPr>
            <p:ph type="sldNum" sz="quarter" idx="5"/>
          </p:nvPr>
        </p:nvSpPr>
        <p:spPr/>
        <p:txBody>
          <a:bodyPr/>
          <a:lstStyle/>
          <a:p>
            <a:fld id="{B43764FB-760E-5746-A806-4C140554306A}" type="slidenum">
              <a:rPr lang="en-US" smtClean="0"/>
              <a:t>4</a:t>
            </a:fld>
            <a:endParaRPr lang="en-US"/>
          </a:p>
        </p:txBody>
      </p:sp>
    </p:spTree>
    <p:extLst>
      <p:ext uri="{BB962C8B-B14F-4D97-AF65-F5344CB8AC3E}">
        <p14:creationId xmlns:p14="http://schemas.microsoft.com/office/powerpoint/2010/main" val="32312324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3764FB-760E-5746-A806-4C140554306A}" type="slidenum">
              <a:rPr lang="en-US" smtClean="0"/>
              <a:t>28</a:t>
            </a:fld>
            <a:endParaRPr lang="en-US"/>
          </a:p>
        </p:txBody>
      </p:sp>
    </p:spTree>
    <p:extLst>
      <p:ext uri="{BB962C8B-B14F-4D97-AF65-F5344CB8AC3E}">
        <p14:creationId xmlns:p14="http://schemas.microsoft.com/office/powerpoint/2010/main" val="32457033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we plug into the bigger picture</a:t>
            </a:r>
          </a:p>
        </p:txBody>
      </p:sp>
      <p:sp>
        <p:nvSpPr>
          <p:cNvPr id="4" name="Slide Number Placeholder 3"/>
          <p:cNvSpPr>
            <a:spLocks noGrp="1"/>
          </p:cNvSpPr>
          <p:nvPr>
            <p:ph type="sldNum" sz="quarter" idx="5"/>
          </p:nvPr>
        </p:nvSpPr>
        <p:spPr/>
        <p:txBody>
          <a:bodyPr/>
          <a:lstStyle/>
          <a:p>
            <a:fld id="{B43764FB-760E-5746-A806-4C140554306A}" type="slidenum">
              <a:rPr lang="en-US" smtClean="0"/>
              <a:t>35</a:t>
            </a:fld>
            <a:endParaRPr lang="en-US"/>
          </a:p>
        </p:txBody>
      </p:sp>
    </p:spTree>
    <p:extLst>
      <p:ext uri="{BB962C8B-B14F-4D97-AF65-F5344CB8AC3E}">
        <p14:creationId xmlns:p14="http://schemas.microsoft.com/office/powerpoint/2010/main" val="25285280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ing discoveries at molecular level that ultimately have an impact at a population level</a:t>
            </a:r>
          </a:p>
          <a:p>
            <a:r>
              <a:rPr lang="en-US" dirty="0"/>
              <a:t>DASH diet looked affect of different mineral levels on blood pressure and led to a dietary level that led to right levels that this dietary pattern can reduce blood pressure.  This can impact whole populations</a:t>
            </a:r>
          </a:p>
          <a:p>
            <a:endParaRPr lang="en-US" dirty="0"/>
          </a:p>
        </p:txBody>
      </p:sp>
      <p:sp>
        <p:nvSpPr>
          <p:cNvPr id="4" name="Slide Number Placeholder 3"/>
          <p:cNvSpPr>
            <a:spLocks noGrp="1"/>
          </p:cNvSpPr>
          <p:nvPr>
            <p:ph type="sldNum" sz="quarter" idx="5"/>
          </p:nvPr>
        </p:nvSpPr>
        <p:spPr/>
        <p:txBody>
          <a:bodyPr/>
          <a:lstStyle/>
          <a:p>
            <a:fld id="{B43764FB-760E-5746-A806-4C140554306A}" type="slidenum">
              <a:rPr lang="en-US" smtClean="0"/>
              <a:t>36</a:t>
            </a:fld>
            <a:endParaRPr lang="en-US"/>
          </a:p>
        </p:txBody>
      </p:sp>
    </p:spTree>
    <p:extLst>
      <p:ext uri="{BB962C8B-B14F-4D97-AF65-F5344CB8AC3E}">
        <p14:creationId xmlns:p14="http://schemas.microsoft.com/office/powerpoint/2010/main" val="25518546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3764FB-760E-5746-A806-4C140554306A}" type="slidenum">
              <a:rPr lang="en-US" smtClean="0"/>
              <a:t>37</a:t>
            </a:fld>
            <a:endParaRPr lang="en-US"/>
          </a:p>
        </p:txBody>
      </p:sp>
    </p:spTree>
    <p:extLst>
      <p:ext uri="{BB962C8B-B14F-4D97-AF65-F5344CB8AC3E}">
        <p14:creationId xmlns:p14="http://schemas.microsoft.com/office/powerpoint/2010/main" val="26584728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chemeClr val="bg1">
                    <a:lumMod val="65000"/>
                  </a:schemeClr>
                </a:solidFill>
              </a:rPr>
              <a:t>Citation: IDF Atlas 7th Edition, 2015. Available at:  </a:t>
            </a:r>
            <a:r>
              <a:rPr lang="en-CA" sz="1200" dirty="0">
                <a:solidFill>
                  <a:schemeClr val="bg1">
                    <a:lumMod val="65000"/>
                  </a:schemeClr>
                </a:solidFill>
                <a:hlinkClick r:id="rId3">
                  <a:extLst>
                    <a:ext uri="{A12FA001-AC4F-418D-AE19-62706E023703}">
                      <ahyp:hlinkClr xmlns:ahyp="http://schemas.microsoft.com/office/drawing/2018/hyperlinkcolor" val="tx"/>
                    </a:ext>
                  </a:extLst>
                </a:hlinkClick>
              </a:rPr>
              <a:t>www.diabetesatlas.org</a:t>
            </a:r>
            <a:r>
              <a:rPr lang="en-US" sz="1200" dirty="0">
                <a:solidFill>
                  <a:schemeClr val="bg1">
                    <a:lumMod val="65000"/>
                  </a:schemeClr>
                </a:solidFill>
              </a:rPr>
              <a:t> (Last accessed: July 2017)</a:t>
            </a:r>
            <a:endParaRPr lang="en-CA" sz="1200" dirty="0">
              <a:solidFill>
                <a:schemeClr val="bg1">
                  <a:lumMod val="65000"/>
                </a:schemeClr>
              </a:solidFill>
            </a:endParaRPr>
          </a:p>
          <a:p>
            <a:endParaRPr lang="en-US" dirty="0"/>
          </a:p>
        </p:txBody>
      </p:sp>
      <p:sp>
        <p:nvSpPr>
          <p:cNvPr id="4" name="Slide Number Placeholder 3"/>
          <p:cNvSpPr>
            <a:spLocks noGrp="1"/>
          </p:cNvSpPr>
          <p:nvPr>
            <p:ph type="sldNum" sz="quarter" idx="5"/>
          </p:nvPr>
        </p:nvSpPr>
        <p:spPr/>
        <p:txBody>
          <a:bodyPr/>
          <a:lstStyle/>
          <a:p>
            <a:fld id="{B43764FB-760E-5746-A806-4C140554306A}" type="slidenum">
              <a:rPr lang="en-US" smtClean="0"/>
              <a:t>48</a:t>
            </a:fld>
            <a:endParaRPr lang="en-US"/>
          </a:p>
        </p:txBody>
      </p:sp>
    </p:spTree>
    <p:extLst>
      <p:ext uri="{BB962C8B-B14F-4D97-AF65-F5344CB8AC3E}">
        <p14:creationId xmlns:p14="http://schemas.microsoft.com/office/powerpoint/2010/main" val="27182394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a master slide for this B&amp;W template w/ logo in white; underneath it is purple</a:t>
            </a:r>
          </a:p>
        </p:txBody>
      </p:sp>
      <p:sp>
        <p:nvSpPr>
          <p:cNvPr id="4" name="Slide Number Placeholder 3"/>
          <p:cNvSpPr>
            <a:spLocks noGrp="1"/>
          </p:cNvSpPr>
          <p:nvPr>
            <p:ph type="sldNum" sz="quarter" idx="5"/>
          </p:nvPr>
        </p:nvSpPr>
        <p:spPr/>
        <p:txBody>
          <a:bodyPr/>
          <a:lstStyle/>
          <a:p>
            <a:fld id="{B43764FB-760E-5746-A806-4C140554306A}" type="slidenum">
              <a:rPr lang="en-US" smtClean="0"/>
              <a:t>5</a:t>
            </a:fld>
            <a:endParaRPr lang="en-US"/>
          </a:p>
        </p:txBody>
      </p:sp>
    </p:spTree>
    <p:extLst>
      <p:ext uri="{BB962C8B-B14F-4D97-AF65-F5344CB8AC3E}">
        <p14:creationId xmlns:p14="http://schemas.microsoft.com/office/powerpoint/2010/main" val="2172021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3764FB-760E-5746-A806-4C140554306A}" type="slidenum">
              <a:rPr lang="en-US" smtClean="0"/>
              <a:t>6</a:t>
            </a:fld>
            <a:endParaRPr lang="en-US"/>
          </a:p>
        </p:txBody>
      </p:sp>
    </p:spTree>
    <p:extLst>
      <p:ext uri="{BB962C8B-B14F-4D97-AF65-F5344CB8AC3E}">
        <p14:creationId xmlns:p14="http://schemas.microsoft.com/office/powerpoint/2010/main" val="222818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3764FB-760E-5746-A806-4C140554306A}" type="slidenum">
              <a:rPr lang="en-US" smtClean="0"/>
              <a:t>17</a:t>
            </a:fld>
            <a:endParaRPr lang="en-US"/>
          </a:p>
        </p:txBody>
      </p:sp>
    </p:spTree>
    <p:extLst>
      <p:ext uri="{BB962C8B-B14F-4D97-AF65-F5344CB8AC3E}">
        <p14:creationId xmlns:p14="http://schemas.microsoft.com/office/powerpoint/2010/main" val="3229414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3764FB-760E-5746-A806-4C140554306A}" type="slidenum">
              <a:rPr lang="en-US" smtClean="0"/>
              <a:t>18</a:t>
            </a:fld>
            <a:endParaRPr lang="en-US"/>
          </a:p>
        </p:txBody>
      </p:sp>
    </p:spTree>
    <p:extLst>
      <p:ext uri="{BB962C8B-B14F-4D97-AF65-F5344CB8AC3E}">
        <p14:creationId xmlns:p14="http://schemas.microsoft.com/office/powerpoint/2010/main" val="195344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3764FB-760E-5746-A806-4C140554306A}" type="slidenum">
              <a:rPr lang="en-US" smtClean="0"/>
              <a:t>19</a:t>
            </a:fld>
            <a:endParaRPr lang="en-US"/>
          </a:p>
        </p:txBody>
      </p:sp>
    </p:spTree>
    <p:extLst>
      <p:ext uri="{BB962C8B-B14F-4D97-AF65-F5344CB8AC3E}">
        <p14:creationId xmlns:p14="http://schemas.microsoft.com/office/powerpoint/2010/main" val="19853082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3764FB-760E-5746-A806-4C140554306A}" type="slidenum">
              <a:rPr lang="en-US" smtClean="0"/>
              <a:t>20</a:t>
            </a:fld>
            <a:endParaRPr lang="en-US"/>
          </a:p>
        </p:txBody>
      </p:sp>
    </p:spTree>
    <p:extLst>
      <p:ext uri="{BB962C8B-B14F-4D97-AF65-F5344CB8AC3E}">
        <p14:creationId xmlns:p14="http://schemas.microsoft.com/office/powerpoint/2010/main" val="13751516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a:defRPr/>
            </a:pPr>
            <a:endParaRPr lang="en-US" dirty="0">
              <a:solidFill>
                <a:schemeClr val="tx1">
                  <a:lumMod val="50000"/>
                  <a:lumOff val="50000"/>
                </a:schemeClr>
              </a:solidFill>
            </a:endParaRPr>
          </a:p>
        </p:txBody>
      </p:sp>
      <p:sp>
        <p:nvSpPr>
          <p:cNvPr id="4" name="Slide Number Placeholder 3"/>
          <p:cNvSpPr>
            <a:spLocks noGrp="1"/>
          </p:cNvSpPr>
          <p:nvPr>
            <p:ph type="sldNum" sz="quarter" idx="5"/>
          </p:nvPr>
        </p:nvSpPr>
        <p:spPr/>
        <p:txBody>
          <a:bodyPr/>
          <a:lstStyle/>
          <a:p>
            <a:fld id="{B43764FB-760E-5746-A806-4C140554306A}" type="slidenum">
              <a:rPr lang="en-US" smtClean="0"/>
              <a:t>22</a:t>
            </a:fld>
            <a:endParaRPr lang="en-US"/>
          </a:p>
        </p:txBody>
      </p:sp>
    </p:spTree>
    <p:extLst>
      <p:ext uri="{BB962C8B-B14F-4D97-AF65-F5344CB8AC3E}">
        <p14:creationId xmlns:p14="http://schemas.microsoft.com/office/powerpoint/2010/main" val="1232438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43764FB-760E-5746-A806-4C140554306A}" type="slidenum">
              <a:rPr lang="en-US" smtClean="0"/>
              <a:t>26</a:t>
            </a:fld>
            <a:endParaRPr lang="en-US"/>
          </a:p>
        </p:txBody>
      </p:sp>
    </p:spTree>
    <p:extLst>
      <p:ext uri="{BB962C8B-B14F-4D97-AF65-F5344CB8AC3E}">
        <p14:creationId xmlns:p14="http://schemas.microsoft.com/office/powerpoint/2010/main" val="33863987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0250F66-F611-224E-8708-01A8A385CC85}"/>
              </a:ext>
            </a:extLst>
          </p:cNvPr>
          <p:cNvSpPr/>
          <p:nvPr userDrawn="1"/>
        </p:nvSpPr>
        <p:spPr>
          <a:xfrm>
            <a:off x="0" y="0"/>
            <a:ext cx="12192000" cy="6858000"/>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pic>
        <p:nvPicPr>
          <p:cNvPr id="9" name="Picture 8">
            <a:extLst>
              <a:ext uri="{FF2B5EF4-FFF2-40B4-BE49-F238E27FC236}">
                <a16:creationId xmlns:a16="http://schemas.microsoft.com/office/drawing/2014/main" id="{DABA621F-5034-AF45-918A-1C4CBDD1458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1499" y="5892377"/>
            <a:ext cx="1900767" cy="512655"/>
          </a:xfrm>
          <a:prstGeom prst="rect">
            <a:avLst/>
          </a:prstGeom>
        </p:spPr>
      </p:pic>
      <p:sp>
        <p:nvSpPr>
          <p:cNvPr id="2" name="Title 1">
            <a:extLst>
              <a:ext uri="{FF2B5EF4-FFF2-40B4-BE49-F238E27FC236}">
                <a16:creationId xmlns:a16="http://schemas.microsoft.com/office/drawing/2014/main" id="{DD7057CE-F478-AE43-9535-6624AA2EAA81}"/>
              </a:ext>
            </a:extLst>
          </p:cNvPr>
          <p:cNvSpPr>
            <a:spLocks noGrp="1"/>
          </p:cNvSpPr>
          <p:nvPr>
            <p:ph type="ctrTitle" hasCustomPrompt="1"/>
          </p:nvPr>
        </p:nvSpPr>
        <p:spPr>
          <a:xfrm>
            <a:off x="499532" y="191532"/>
            <a:ext cx="9144000" cy="2387600"/>
          </a:xfrm>
        </p:spPr>
        <p:txBody>
          <a:bodyPr anchor="t">
            <a:noAutofit/>
          </a:bodyPr>
          <a:lstStyle>
            <a:lvl1pPr algn="l">
              <a:defRPr sz="17500" b="0" i="0" baseline="0">
                <a:solidFill>
                  <a:schemeClr val="bg1"/>
                </a:solidFill>
                <a:latin typeface="NeueHaasGroteskDisp Pro Md" panose="020B0604020202020204" pitchFamily="34" charset="0"/>
              </a:defRPr>
            </a:lvl1pPr>
          </a:lstStyle>
          <a:p>
            <a:r>
              <a:rPr lang="en-US" dirty="0"/>
              <a:t>Hello!</a:t>
            </a:r>
          </a:p>
        </p:txBody>
      </p:sp>
      <p:sp>
        <p:nvSpPr>
          <p:cNvPr id="4" name="Date Placeholder 3">
            <a:extLst>
              <a:ext uri="{FF2B5EF4-FFF2-40B4-BE49-F238E27FC236}">
                <a16:creationId xmlns:a16="http://schemas.microsoft.com/office/drawing/2014/main" id="{9FF10BE6-4030-7548-9B9B-F28626B09AD3}"/>
              </a:ext>
            </a:extLst>
          </p:cNvPr>
          <p:cNvSpPr>
            <a:spLocks noGrp="1"/>
          </p:cNvSpPr>
          <p:nvPr>
            <p:ph type="dt" sz="half" idx="10"/>
          </p:nvPr>
        </p:nvSpPr>
        <p:spPr>
          <a:xfrm>
            <a:off x="10117667" y="6054589"/>
            <a:ext cx="1485900" cy="365125"/>
          </a:xfrm>
        </p:spPr>
        <p:txBody>
          <a:bodyPr/>
          <a:lstStyle>
            <a:lvl1pPr algn="r">
              <a:defRPr b="0" i="0">
                <a:solidFill>
                  <a:schemeClr val="bg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Tree>
    <p:extLst>
      <p:ext uri="{BB962C8B-B14F-4D97-AF65-F5344CB8AC3E}">
        <p14:creationId xmlns:p14="http://schemas.microsoft.com/office/powerpoint/2010/main" val="30465201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128DA-AAC1-7941-A5C5-A8AA9CD3596E}"/>
              </a:ext>
            </a:extLst>
          </p:cNvPr>
          <p:cNvSpPr>
            <a:spLocks noGrp="1"/>
          </p:cNvSpPr>
          <p:nvPr>
            <p:ph type="title" hasCustomPrompt="1"/>
          </p:nvPr>
        </p:nvSpPr>
        <p:spPr>
          <a:xfrm>
            <a:off x="451020" y="445723"/>
            <a:ext cx="5051856" cy="1094451"/>
          </a:xfrm>
        </p:spPr>
        <p:txBody>
          <a:bodyPr anchor="t">
            <a:normAutofit/>
          </a:bodyPr>
          <a:lstStyle>
            <a:lvl1pPr>
              <a:defRPr sz="3600" b="0" i="0">
                <a:solidFill>
                  <a:srgbClr val="412181"/>
                </a:solidFill>
                <a:latin typeface="NeueHaasGroteskDisp Pro Md" panose="020B0604020202020204" pitchFamily="34" charset="0"/>
              </a:defRPr>
            </a:lvl1pPr>
          </a:lstStyle>
          <a:p>
            <a:pPr lvl="0"/>
            <a:r>
              <a:rPr lang="en-US" dirty="0"/>
              <a:t>Lorem ipsum dolor sit </a:t>
            </a:r>
            <a:r>
              <a:rPr lang="en-US" dirty="0" err="1"/>
              <a:t>amet</a:t>
            </a:r>
            <a:r>
              <a:rPr lang="en-US" dirty="0"/>
              <a:t>, </a:t>
            </a:r>
            <a:r>
              <a:rPr lang="en-US" dirty="0" err="1"/>
              <a:t>consectetur</a:t>
            </a:r>
            <a:r>
              <a:rPr lang="en-US" dirty="0"/>
              <a:t>.</a:t>
            </a:r>
          </a:p>
        </p:txBody>
      </p:sp>
      <p:sp>
        <p:nvSpPr>
          <p:cNvPr id="3" name="Content Placeholder 2">
            <a:extLst>
              <a:ext uri="{FF2B5EF4-FFF2-40B4-BE49-F238E27FC236}">
                <a16:creationId xmlns:a16="http://schemas.microsoft.com/office/drawing/2014/main" id="{2BA1426C-8D2E-064E-8877-CF481BC617CE}"/>
              </a:ext>
            </a:extLst>
          </p:cNvPr>
          <p:cNvSpPr>
            <a:spLocks noGrp="1"/>
          </p:cNvSpPr>
          <p:nvPr>
            <p:ph idx="1" hasCustomPrompt="1"/>
          </p:nvPr>
        </p:nvSpPr>
        <p:spPr>
          <a:xfrm>
            <a:off x="451020" y="1540175"/>
            <a:ext cx="5051856" cy="1532540"/>
          </a:xfrm>
        </p:spPr>
        <p:txBody>
          <a:bodyPr>
            <a:normAutofit/>
          </a:bodyPr>
          <a:lstStyle>
            <a:lvl1pPr marL="0" indent="0">
              <a:buNone/>
              <a:defRPr sz="1800" b="0" i="0">
                <a:solidFill>
                  <a:srgbClr val="412181"/>
                </a:solidFill>
                <a:latin typeface="NeueHaasGroteskDisp Pro" panose="020B050402020202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pspiscing</a:t>
            </a:r>
            <a:r>
              <a:rPr lang="en-US" dirty="0"/>
              <a:t> </a:t>
            </a:r>
            <a:r>
              <a:rPr lang="en-US" dirty="0" err="1"/>
              <a:t>elit</a:t>
            </a:r>
            <a:r>
              <a:rPr lang="en-US" dirty="0"/>
              <a:t>. </a:t>
            </a:r>
            <a:r>
              <a:rPr lang="en-US" dirty="0" err="1"/>
              <a:t>Quisque</a:t>
            </a:r>
            <a:r>
              <a:rPr lang="en-US" dirty="0"/>
              <a:t> </a:t>
            </a:r>
            <a:r>
              <a:rPr lang="en-US" dirty="0" err="1"/>
              <a:t>quis</a:t>
            </a:r>
            <a:r>
              <a:rPr lang="en-US" dirty="0"/>
              <a:t> </a:t>
            </a:r>
            <a:r>
              <a:rPr lang="en-US" dirty="0" err="1"/>
              <a:t>molestie</a:t>
            </a:r>
            <a:r>
              <a:rPr lang="en-US" dirty="0"/>
              <a:t> </a:t>
            </a:r>
            <a:r>
              <a:rPr lang="en-US" dirty="0" err="1"/>
              <a:t>neque</a:t>
            </a:r>
            <a:r>
              <a:rPr lang="en-US" dirty="0"/>
              <a:t>, vitae </a:t>
            </a:r>
            <a:r>
              <a:rPr lang="en-US" dirty="0" err="1"/>
              <a:t>ornare</a:t>
            </a:r>
            <a:r>
              <a:rPr lang="en-US" dirty="0"/>
              <a:t> </a:t>
            </a:r>
            <a:r>
              <a:rPr lang="en-US" dirty="0" err="1"/>
              <a:t>nibh</a:t>
            </a:r>
            <a:r>
              <a:rPr lang="en-US" dirty="0"/>
              <a:t>. Maecenas </a:t>
            </a:r>
            <a:r>
              <a:rPr lang="en-US" dirty="0" err="1"/>
              <a:t>enim</a:t>
            </a:r>
            <a:r>
              <a:rPr lang="en-US" dirty="0"/>
              <a:t> ipsum. </a:t>
            </a:r>
          </a:p>
        </p:txBody>
      </p:sp>
      <p:sp>
        <p:nvSpPr>
          <p:cNvPr id="23" name="Content Placeholder 2">
            <a:extLst>
              <a:ext uri="{FF2B5EF4-FFF2-40B4-BE49-F238E27FC236}">
                <a16:creationId xmlns:a16="http://schemas.microsoft.com/office/drawing/2014/main" id="{656F5D91-6CAE-2E40-B117-EE7885F1A3C7}"/>
              </a:ext>
            </a:extLst>
          </p:cNvPr>
          <p:cNvSpPr>
            <a:spLocks noGrp="1"/>
          </p:cNvSpPr>
          <p:nvPr>
            <p:ph idx="13"/>
          </p:nvPr>
        </p:nvSpPr>
        <p:spPr>
          <a:xfrm>
            <a:off x="6011518" y="0"/>
            <a:ext cx="6180481" cy="6858000"/>
          </a:xfrm>
        </p:spPr>
        <p:txBody>
          <a:bodyPr>
            <a:normAutofit/>
          </a:bodyPr>
          <a:lstStyle>
            <a:lvl1pPr marL="0" indent="0">
              <a:buNone/>
              <a:defRPr sz="3600">
                <a:solidFill>
                  <a:srgbClr val="412181"/>
                </a:solidFill>
              </a:defRPr>
            </a:lvl1pPr>
          </a:lstStyle>
          <a:p>
            <a:pPr lvl="0"/>
            <a:endParaRPr lang="en-US" dirty="0"/>
          </a:p>
        </p:txBody>
      </p:sp>
      <p:pic>
        <p:nvPicPr>
          <p:cNvPr id="13" name="Picture 12">
            <a:extLst>
              <a:ext uri="{FF2B5EF4-FFF2-40B4-BE49-F238E27FC236}">
                <a16:creationId xmlns:a16="http://schemas.microsoft.com/office/drawing/2014/main" id="{3F629758-7574-8C44-A552-B127E1AC32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2323" y="6219825"/>
            <a:ext cx="397595" cy="290378"/>
          </a:xfrm>
          <a:prstGeom prst="rect">
            <a:avLst/>
          </a:prstGeom>
        </p:spPr>
      </p:pic>
      <p:sp>
        <p:nvSpPr>
          <p:cNvPr id="14" name="Rectangle 13">
            <a:extLst>
              <a:ext uri="{FF2B5EF4-FFF2-40B4-BE49-F238E27FC236}">
                <a16:creationId xmlns:a16="http://schemas.microsoft.com/office/drawing/2014/main" id="{07B6A6E0-DF85-3449-9E84-1306B32B4903}"/>
              </a:ext>
            </a:extLst>
          </p:cNvPr>
          <p:cNvSpPr/>
          <p:nvPr userDrawn="1"/>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0" name="Date Placeholder 3">
            <a:extLst>
              <a:ext uri="{FF2B5EF4-FFF2-40B4-BE49-F238E27FC236}">
                <a16:creationId xmlns:a16="http://schemas.microsoft.com/office/drawing/2014/main" id="{4F503C7E-7EEC-7046-8F05-87382E4C8C88}"/>
              </a:ext>
            </a:extLst>
          </p:cNvPr>
          <p:cNvSpPr>
            <a:spLocks noGrp="1"/>
          </p:cNvSpPr>
          <p:nvPr>
            <p:ph type="dt" sz="half" idx="10"/>
          </p:nvPr>
        </p:nvSpPr>
        <p:spPr>
          <a:xfrm>
            <a:off x="8806249" y="6129337"/>
            <a:ext cx="1151238" cy="365125"/>
          </a:xfrm>
        </p:spPr>
        <p:txBody>
          <a:bodyPr/>
          <a:lstStyle>
            <a:lvl1pPr algn="r">
              <a:defRPr sz="1000" b="0" i="0">
                <a:solidFill>
                  <a:srgbClr val="41218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16" name="Slide Number Placeholder 5">
            <a:extLst>
              <a:ext uri="{FF2B5EF4-FFF2-40B4-BE49-F238E27FC236}">
                <a16:creationId xmlns:a16="http://schemas.microsoft.com/office/drawing/2014/main" id="{A297BD2C-0D26-D14A-9ED9-3699E35744B5}"/>
              </a:ext>
            </a:extLst>
          </p:cNvPr>
          <p:cNvSpPr>
            <a:spLocks noGrp="1"/>
          </p:cNvSpPr>
          <p:nvPr>
            <p:ph type="sldNum" sz="quarter" idx="12"/>
          </p:nvPr>
        </p:nvSpPr>
        <p:spPr>
          <a:xfrm>
            <a:off x="11236411" y="6129337"/>
            <a:ext cx="463378" cy="365125"/>
          </a:xfrm>
        </p:spPr>
        <p:txBody>
          <a:bodyPr/>
          <a:lstStyle>
            <a:lvl1pPr>
              <a:defRPr sz="1000" b="0" i="0">
                <a:solidFill>
                  <a:srgbClr val="412181"/>
                </a:solidFill>
                <a:latin typeface="NeueHaasGroteskDisp Pro" panose="020B0504020202020204" pitchFamily="34" charset="0"/>
              </a:defRPr>
            </a:lvl1pPr>
          </a:lstStyle>
          <a:p>
            <a:fld id="{7F43BC75-A8B3-524C-9CB1-17F14D0EA8E1}" type="slidenum">
              <a:rPr lang="en-US" smtClean="0"/>
              <a:pPr/>
              <a:t>‹#›</a:t>
            </a:fld>
            <a:endParaRPr lang="en-US" dirty="0">
              <a:latin typeface="NeueHaasGroteskDisp Pro" panose="020B0504020202020204" pitchFamily="34" charset="0"/>
            </a:endParaRPr>
          </a:p>
        </p:txBody>
      </p:sp>
      <p:sp>
        <p:nvSpPr>
          <p:cNvPr id="17" name="Footer Placeholder 4">
            <a:extLst>
              <a:ext uri="{FF2B5EF4-FFF2-40B4-BE49-F238E27FC236}">
                <a16:creationId xmlns:a16="http://schemas.microsoft.com/office/drawing/2014/main" id="{617FE73E-6A65-EC42-9F8D-77402157881D}"/>
              </a:ext>
            </a:extLst>
          </p:cNvPr>
          <p:cNvSpPr>
            <a:spLocks noGrp="1"/>
          </p:cNvSpPr>
          <p:nvPr>
            <p:ph type="ftr" sz="quarter" idx="11"/>
          </p:nvPr>
        </p:nvSpPr>
        <p:spPr>
          <a:xfrm>
            <a:off x="6069184" y="6129337"/>
            <a:ext cx="2078038" cy="365125"/>
          </a:xfrm>
        </p:spPr>
        <p:txBody>
          <a:bodyPr/>
          <a:lstStyle>
            <a:lvl1pPr algn="l">
              <a:defRPr sz="1000" b="0" i="0">
                <a:solidFill>
                  <a:srgbClr val="412181"/>
                </a:solidFill>
                <a:latin typeface="NeueHaasGroteskDisp Pro" panose="020B0504020202020204" pitchFamily="34" charset="0"/>
              </a:defRPr>
            </a:lvl1pPr>
          </a:lstStyle>
          <a:p>
            <a:endParaRPr lang="en-US" dirty="0">
              <a:latin typeface="NeueHaasGroteskDisp Pro" panose="020B0504020202020204" pitchFamily="34" charset="0"/>
            </a:endParaRPr>
          </a:p>
        </p:txBody>
      </p:sp>
    </p:spTree>
    <p:extLst>
      <p:ext uri="{BB962C8B-B14F-4D97-AF65-F5344CB8AC3E}">
        <p14:creationId xmlns:p14="http://schemas.microsoft.com/office/powerpoint/2010/main" val="32334125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3" name="Content Placeholder 2">
            <a:extLst>
              <a:ext uri="{FF2B5EF4-FFF2-40B4-BE49-F238E27FC236}">
                <a16:creationId xmlns:a16="http://schemas.microsoft.com/office/drawing/2014/main" id="{656F5D91-6CAE-2E40-B117-EE7885F1A3C7}"/>
              </a:ext>
            </a:extLst>
          </p:cNvPr>
          <p:cNvSpPr>
            <a:spLocks noGrp="1"/>
          </p:cNvSpPr>
          <p:nvPr>
            <p:ph idx="13"/>
          </p:nvPr>
        </p:nvSpPr>
        <p:spPr>
          <a:xfrm>
            <a:off x="0" y="0"/>
            <a:ext cx="12191999" cy="6858000"/>
          </a:xfrm>
        </p:spPr>
        <p:txBody>
          <a:bodyPr>
            <a:normAutofit/>
          </a:bodyPr>
          <a:lstStyle>
            <a:lvl1pPr marL="0" indent="0">
              <a:buNone/>
              <a:defRPr sz="3600">
                <a:solidFill>
                  <a:srgbClr val="412181"/>
                </a:solidFill>
              </a:defRPr>
            </a:lvl1pPr>
          </a:lstStyle>
          <a:p>
            <a:pPr lvl="0"/>
            <a:endParaRPr lang="en-US" dirty="0"/>
          </a:p>
        </p:txBody>
      </p:sp>
      <p:sp>
        <p:nvSpPr>
          <p:cNvPr id="10" name="Date Placeholder 3">
            <a:extLst>
              <a:ext uri="{FF2B5EF4-FFF2-40B4-BE49-F238E27FC236}">
                <a16:creationId xmlns:a16="http://schemas.microsoft.com/office/drawing/2014/main" id="{D3657129-3873-8048-8EB4-6869BEAF9F89}"/>
              </a:ext>
            </a:extLst>
          </p:cNvPr>
          <p:cNvSpPr>
            <a:spLocks noGrp="1"/>
          </p:cNvSpPr>
          <p:nvPr>
            <p:ph type="dt" sz="half" idx="10"/>
          </p:nvPr>
        </p:nvSpPr>
        <p:spPr>
          <a:xfrm>
            <a:off x="8806249" y="6129337"/>
            <a:ext cx="1151238" cy="365125"/>
          </a:xfrm>
        </p:spPr>
        <p:txBody>
          <a:bodyPr/>
          <a:lstStyle>
            <a:lvl1pPr algn="r">
              <a:defRPr sz="1000" b="0" i="0">
                <a:solidFill>
                  <a:schemeClr val="bg1"/>
                </a:solidFill>
                <a:latin typeface="NeueHaasGroteskDisp Pro" panose="020B0504020202020204" pitchFamily="34" charset="77"/>
              </a:defRPr>
            </a:lvl1pPr>
          </a:lstStyle>
          <a:p>
            <a:fld id="{A3CB876C-AC0D-434B-B385-00E0BB194C18}" type="datetimeFigureOut">
              <a:rPr lang="en-US" smtClean="0"/>
              <a:pPr/>
              <a:t>5/14/2021</a:t>
            </a:fld>
            <a:endParaRPr lang="en-US" dirty="0"/>
          </a:p>
        </p:txBody>
      </p:sp>
      <p:sp>
        <p:nvSpPr>
          <p:cNvPr id="16" name="Slide Number Placeholder 5">
            <a:extLst>
              <a:ext uri="{FF2B5EF4-FFF2-40B4-BE49-F238E27FC236}">
                <a16:creationId xmlns:a16="http://schemas.microsoft.com/office/drawing/2014/main" id="{D16FC8DD-04A7-6749-9B95-0786DF7BADB7}"/>
              </a:ext>
            </a:extLst>
          </p:cNvPr>
          <p:cNvSpPr>
            <a:spLocks noGrp="1"/>
          </p:cNvSpPr>
          <p:nvPr>
            <p:ph type="sldNum" sz="quarter" idx="12"/>
          </p:nvPr>
        </p:nvSpPr>
        <p:spPr>
          <a:xfrm>
            <a:off x="11236411" y="6129337"/>
            <a:ext cx="463378" cy="365125"/>
          </a:xfrm>
        </p:spPr>
        <p:txBody>
          <a:bodyPr/>
          <a:lstStyle>
            <a:lvl1pPr>
              <a:defRPr sz="1000" b="0" i="0">
                <a:solidFill>
                  <a:schemeClr val="bg1"/>
                </a:solidFill>
                <a:latin typeface="NeueHaasGroteskDisp Pro" panose="020B0504020202020204" pitchFamily="34" charset="77"/>
              </a:defRPr>
            </a:lvl1pPr>
          </a:lstStyle>
          <a:p>
            <a:fld id="{7F43BC75-A8B3-524C-9CB1-17F14D0EA8E1}" type="slidenum">
              <a:rPr lang="en-US" smtClean="0"/>
              <a:pPr/>
              <a:t>‹#›</a:t>
            </a:fld>
            <a:endParaRPr lang="en-US" dirty="0"/>
          </a:p>
        </p:txBody>
      </p:sp>
      <p:sp>
        <p:nvSpPr>
          <p:cNvPr id="17" name="Rectangle 16">
            <a:extLst>
              <a:ext uri="{FF2B5EF4-FFF2-40B4-BE49-F238E27FC236}">
                <a16:creationId xmlns:a16="http://schemas.microsoft.com/office/drawing/2014/main" id="{04BF4B29-6BAF-5949-AE89-93040BCD5D05}"/>
              </a:ext>
            </a:extLst>
          </p:cNvPr>
          <p:cNvSpPr/>
          <p:nvPr userDrawn="1"/>
        </p:nvSpPr>
        <p:spPr>
          <a:xfrm flipV="1">
            <a:off x="572323" y="6053452"/>
            <a:ext cx="11051266" cy="18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pic>
        <p:nvPicPr>
          <p:cNvPr id="18" name="Picture 17">
            <a:extLst>
              <a:ext uri="{FF2B5EF4-FFF2-40B4-BE49-F238E27FC236}">
                <a16:creationId xmlns:a16="http://schemas.microsoft.com/office/drawing/2014/main" id="{3363A37B-6314-3942-ACEB-527D04981B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2323" y="6217338"/>
            <a:ext cx="397595" cy="290379"/>
          </a:xfrm>
          <a:prstGeom prst="rect">
            <a:avLst/>
          </a:prstGeom>
        </p:spPr>
      </p:pic>
      <p:sp>
        <p:nvSpPr>
          <p:cNvPr id="19" name="Footer Placeholder 4">
            <a:extLst>
              <a:ext uri="{FF2B5EF4-FFF2-40B4-BE49-F238E27FC236}">
                <a16:creationId xmlns:a16="http://schemas.microsoft.com/office/drawing/2014/main" id="{BA1350D6-C60F-6B47-8695-2FB2A0D7A661}"/>
              </a:ext>
            </a:extLst>
          </p:cNvPr>
          <p:cNvSpPr>
            <a:spLocks noGrp="1"/>
          </p:cNvSpPr>
          <p:nvPr>
            <p:ph type="ftr" sz="quarter" idx="11"/>
          </p:nvPr>
        </p:nvSpPr>
        <p:spPr>
          <a:xfrm>
            <a:off x="6069184" y="6129337"/>
            <a:ext cx="2078038" cy="365125"/>
          </a:xfrm>
        </p:spPr>
        <p:txBody>
          <a:bodyPr/>
          <a:lstStyle>
            <a:lvl1pPr algn="l">
              <a:defRPr sz="1000" b="0" i="0">
                <a:solidFill>
                  <a:schemeClr val="bg1"/>
                </a:solidFill>
                <a:latin typeface="NeueHaasGroteskDisp Pro" panose="020B0504020202020204" pitchFamily="34" charset="77"/>
              </a:defRPr>
            </a:lvl1pPr>
          </a:lstStyle>
          <a:p>
            <a:endParaRPr lang="en-US" dirty="0"/>
          </a:p>
        </p:txBody>
      </p:sp>
    </p:spTree>
    <p:extLst>
      <p:ext uri="{BB962C8B-B14F-4D97-AF65-F5344CB8AC3E}">
        <p14:creationId xmlns:p14="http://schemas.microsoft.com/office/powerpoint/2010/main" val="473790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128DA-AAC1-7941-A5C5-A8AA9CD3596E}"/>
              </a:ext>
            </a:extLst>
          </p:cNvPr>
          <p:cNvSpPr>
            <a:spLocks noGrp="1"/>
          </p:cNvSpPr>
          <p:nvPr>
            <p:ph type="title" hasCustomPrompt="1"/>
          </p:nvPr>
        </p:nvSpPr>
        <p:spPr>
          <a:xfrm>
            <a:off x="451020" y="445723"/>
            <a:ext cx="5051856" cy="1094451"/>
          </a:xfrm>
        </p:spPr>
        <p:txBody>
          <a:bodyPr anchor="t">
            <a:normAutofit/>
          </a:bodyPr>
          <a:lstStyle>
            <a:lvl1pPr>
              <a:defRPr sz="3600" b="0" i="0">
                <a:solidFill>
                  <a:srgbClr val="412181"/>
                </a:solidFill>
                <a:latin typeface="NeueHaasGroteskDisp Pro Md" panose="020B0604020202020204" pitchFamily="34" charset="0"/>
              </a:defRPr>
            </a:lvl1pPr>
          </a:lstStyle>
          <a:p>
            <a:pPr lvl="0"/>
            <a:r>
              <a:rPr lang="en-US" dirty="0"/>
              <a:t>Lorem ipsum dolor sit </a:t>
            </a:r>
            <a:r>
              <a:rPr lang="en-US" dirty="0" err="1"/>
              <a:t>amet</a:t>
            </a:r>
            <a:r>
              <a:rPr lang="en-US" dirty="0"/>
              <a:t>, </a:t>
            </a:r>
            <a:r>
              <a:rPr lang="en-US" dirty="0" err="1"/>
              <a:t>consectetur</a:t>
            </a:r>
            <a:r>
              <a:rPr lang="en-US" dirty="0"/>
              <a:t>.</a:t>
            </a:r>
          </a:p>
        </p:txBody>
      </p:sp>
      <p:sp>
        <p:nvSpPr>
          <p:cNvPr id="3" name="Content Placeholder 2">
            <a:extLst>
              <a:ext uri="{FF2B5EF4-FFF2-40B4-BE49-F238E27FC236}">
                <a16:creationId xmlns:a16="http://schemas.microsoft.com/office/drawing/2014/main" id="{2BA1426C-8D2E-064E-8877-CF481BC617CE}"/>
              </a:ext>
            </a:extLst>
          </p:cNvPr>
          <p:cNvSpPr>
            <a:spLocks noGrp="1"/>
          </p:cNvSpPr>
          <p:nvPr>
            <p:ph idx="1" hasCustomPrompt="1"/>
          </p:nvPr>
        </p:nvSpPr>
        <p:spPr>
          <a:xfrm>
            <a:off x="451020" y="1540174"/>
            <a:ext cx="5051856" cy="3436939"/>
          </a:xfrm>
        </p:spPr>
        <p:txBody>
          <a:bodyPr>
            <a:normAutofit/>
          </a:bodyPr>
          <a:lstStyle>
            <a:lvl1pPr marL="0" indent="0">
              <a:buNone/>
              <a:defRPr sz="1800" b="0" i="0">
                <a:solidFill>
                  <a:srgbClr val="412181"/>
                </a:solidFill>
                <a:latin typeface="NeueHaasGroteskDisp Pro" panose="020B0504020202020204" pitchFamily="34" charset="0"/>
              </a:defRPr>
            </a:lvl1pPr>
          </a:lstStyle>
          <a:p>
            <a:pPr marL="285750" indent="-285750">
              <a:buClr>
                <a:srgbClr val="412181"/>
              </a:buClr>
              <a:buFont typeface="NeueHaasGroteskDisp Pro"/>
              <a:buChar char="–"/>
            </a:pPr>
            <a:r>
              <a:rPr lang="en-US" dirty="0"/>
              <a:t>Lorem ipsum dolor sit </a:t>
            </a:r>
            <a:r>
              <a:rPr lang="en-US" dirty="0" err="1"/>
              <a:t>amet</a:t>
            </a:r>
            <a:r>
              <a:rPr lang="en-US" dirty="0"/>
              <a:t>, </a:t>
            </a:r>
            <a:r>
              <a:rPr lang="en-US" dirty="0" err="1"/>
              <a:t>consectetur</a:t>
            </a:r>
            <a:r>
              <a:rPr lang="en-US" dirty="0"/>
              <a:t> </a:t>
            </a:r>
            <a:r>
              <a:rPr lang="en-US" dirty="0" err="1"/>
              <a:t>apspiscing</a:t>
            </a:r>
            <a:r>
              <a:rPr lang="en-US" dirty="0"/>
              <a:t> </a:t>
            </a:r>
            <a:r>
              <a:rPr lang="en-US" dirty="0" err="1"/>
              <a:t>quisque</a:t>
            </a:r>
            <a:r>
              <a:rPr lang="en-US" dirty="0"/>
              <a:t> </a:t>
            </a:r>
            <a:r>
              <a:rPr lang="en-US" dirty="0" err="1"/>
              <a:t>quis</a:t>
            </a:r>
            <a:r>
              <a:rPr lang="en-US" dirty="0"/>
              <a:t> </a:t>
            </a:r>
            <a:r>
              <a:rPr lang="en-US" dirty="0" err="1"/>
              <a:t>molestie</a:t>
            </a:r>
            <a:r>
              <a:rPr lang="en-US" dirty="0"/>
              <a:t> </a:t>
            </a:r>
            <a:r>
              <a:rPr lang="en-US" dirty="0" err="1"/>
              <a:t>neque</a:t>
            </a:r>
            <a:endParaRPr lang="en-US" dirty="0"/>
          </a:p>
          <a:p>
            <a:pPr marL="285750" indent="-285750">
              <a:buClr>
                <a:srgbClr val="412181"/>
              </a:buClr>
              <a:buFont typeface="NeueHaasGroteskDisp Pro"/>
              <a:buChar char="–"/>
            </a:pPr>
            <a:r>
              <a:rPr lang="en-US" dirty="0"/>
              <a:t>Maecenas </a:t>
            </a:r>
            <a:r>
              <a:rPr lang="en-US" dirty="0" err="1"/>
              <a:t>enim</a:t>
            </a:r>
            <a:r>
              <a:rPr lang="en-US" dirty="0"/>
              <a:t> ipsum. </a:t>
            </a:r>
          </a:p>
          <a:p>
            <a:pPr marL="285750" indent="-285750">
              <a:buClr>
                <a:srgbClr val="412181"/>
              </a:buClr>
              <a:buFont typeface="NeueHaasGroteskDisp Pro"/>
              <a:buChar char="–"/>
            </a:pPr>
            <a:r>
              <a:rPr lang="en-US" dirty="0"/>
              <a:t>Lorem ipsum dolor sit </a:t>
            </a:r>
            <a:r>
              <a:rPr lang="en-US" dirty="0" err="1"/>
              <a:t>amet</a:t>
            </a:r>
            <a:r>
              <a:rPr lang="en-US" dirty="0"/>
              <a:t>, </a:t>
            </a:r>
            <a:r>
              <a:rPr lang="en-US" dirty="0" err="1"/>
              <a:t>consectetur</a:t>
            </a:r>
            <a:r>
              <a:rPr lang="en-US" dirty="0"/>
              <a:t> </a:t>
            </a:r>
            <a:r>
              <a:rPr lang="en-US" dirty="0" err="1"/>
              <a:t>apspiscing</a:t>
            </a:r>
            <a:r>
              <a:rPr lang="en-US" dirty="0"/>
              <a:t> </a:t>
            </a:r>
            <a:r>
              <a:rPr lang="en-US" dirty="0" err="1"/>
              <a:t>quisque</a:t>
            </a:r>
            <a:r>
              <a:rPr lang="en-US" dirty="0"/>
              <a:t> </a:t>
            </a:r>
            <a:r>
              <a:rPr lang="en-US" dirty="0" err="1"/>
              <a:t>quis</a:t>
            </a:r>
            <a:r>
              <a:rPr lang="en-US" dirty="0"/>
              <a:t> </a:t>
            </a:r>
            <a:r>
              <a:rPr lang="en-US" dirty="0" err="1"/>
              <a:t>molestie</a:t>
            </a:r>
            <a:r>
              <a:rPr lang="en-US" dirty="0"/>
              <a:t> </a:t>
            </a:r>
            <a:r>
              <a:rPr lang="en-US" dirty="0" err="1"/>
              <a:t>neque</a:t>
            </a:r>
            <a:endParaRPr lang="en-US" dirty="0"/>
          </a:p>
          <a:p>
            <a:pPr marL="285750" indent="-285750">
              <a:buClr>
                <a:srgbClr val="412181"/>
              </a:buClr>
              <a:buFont typeface="NeueHaasGroteskDisp Pro"/>
              <a:buChar char="–"/>
            </a:pPr>
            <a:r>
              <a:rPr lang="en-US" dirty="0"/>
              <a:t>Maecenas </a:t>
            </a:r>
            <a:r>
              <a:rPr lang="en-US" dirty="0" err="1"/>
              <a:t>enim</a:t>
            </a:r>
            <a:r>
              <a:rPr lang="en-US" dirty="0"/>
              <a:t> ipsum. </a:t>
            </a:r>
          </a:p>
          <a:p>
            <a:pPr marL="285750" indent="-285750">
              <a:buClr>
                <a:srgbClr val="412181"/>
              </a:buClr>
              <a:buFont typeface="NeueHaasGroteskDisp Pro"/>
              <a:buChar char="–"/>
            </a:pPr>
            <a:endParaRPr lang="en-US" dirty="0"/>
          </a:p>
        </p:txBody>
      </p:sp>
      <p:sp>
        <p:nvSpPr>
          <p:cNvPr id="23" name="Content Placeholder 2">
            <a:extLst>
              <a:ext uri="{FF2B5EF4-FFF2-40B4-BE49-F238E27FC236}">
                <a16:creationId xmlns:a16="http://schemas.microsoft.com/office/drawing/2014/main" id="{656F5D91-6CAE-2E40-B117-EE7885F1A3C7}"/>
              </a:ext>
            </a:extLst>
          </p:cNvPr>
          <p:cNvSpPr>
            <a:spLocks noGrp="1"/>
          </p:cNvSpPr>
          <p:nvPr>
            <p:ph idx="13"/>
          </p:nvPr>
        </p:nvSpPr>
        <p:spPr>
          <a:xfrm>
            <a:off x="6161947" y="578314"/>
            <a:ext cx="5461641" cy="5329540"/>
          </a:xfrm>
        </p:spPr>
        <p:txBody>
          <a:bodyPr>
            <a:normAutofit/>
          </a:bodyPr>
          <a:lstStyle>
            <a:lvl1pPr marL="0" indent="0">
              <a:buNone/>
              <a:defRPr sz="3600">
                <a:solidFill>
                  <a:srgbClr val="412181"/>
                </a:solidFill>
              </a:defRPr>
            </a:lvl1pPr>
          </a:lstStyle>
          <a:p>
            <a:pPr lvl="0"/>
            <a:endParaRPr lang="en-US" dirty="0"/>
          </a:p>
        </p:txBody>
      </p:sp>
      <p:sp>
        <p:nvSpPr>
          <p:cNvPr id="11" name="Date Placeholder 3">
            <a:extLst>
              <a:ext uri="{FF2B5EF4-FFF2-40B4-BE49-F238E27FC236}">
                <a16:creationId xmlns:a16="http://schemas.microsoft.com/office/drawing/2014/main" id="{24499259-6A97-364B-BE20-EBA2B81A5E8B}"/>
              </a:ext>
            </a:extLst>
          </p:cNvPr>
          <p:cNvSpPr>
            <a:spLocks noGrp="1"/>
          </p:cNvSpPr>
          <p:nvPr>
            <p:ph type="dt" sz="half" idx="10"/>
          </p:nvPr>
        </p:nvSpPr>
        <p:spPr>
          <a:xfrm>
            <a:off x="8806249" y="6129337"/>
            <a:ext cx="1151238" cy="365125"/>
          </a:xfrm>
        </p:spPr>
        <p:txBody>
          <a:bodyPr/>
          <a:lstStyle>
            <a:lvl1pPr algn="r">
              <a:defRPr sz="1000" b="0" i="0">
                <a:solidFill>
                  <a:srgbClr val="41218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12" name="Slide Number Placeholder 5">
            <a:extLst>
              <a:ext uri="{FF2B5EF4-FFF2-40B4-BE49-F238E27FC236}">
                <a16:creationId xmlns:a16="http://schemas.microsoft.com/office/drawing/2014/main" id="{8E6FACD9-8201-9844-867C-CD6655E40B22}"/>
              </a:ext>
            </a:extLst>
          </p:cNvPr>
          <p:cNvSpPr>
            <a:spLocks noGrp="1"/>
          </p:cNvSpPr>
          <p:nvPr>
            <p:ph type="sldNum" sz="quarter" idx="12"/>
          </p:nvPr>
        </p:nvSpPr>
        <p:spPr>
          <a:xfrm>
            <a:off x="11236411" y="6129337"/>
            <a:ext cx="463378" cy="365125"/>
          </a:xfrm>
        </p:spPr>
        <p:txBody>
          <a:bodyPr/>
          <a:lstStyle>
            <a:lvl1pPr>
              <a:defRPr sz="1000" b="0" i="0">
                <a:solidFill>
                  <a:srgbClr val="412181"/>
                </a:solidFill>
                <a:latin typeface="NeueHaasGroteskDisp Pro" panose="020B0504020202020204" pitchFamily="34" charset="0"/>
              </a:defRPr>
            </a:lvl1pPr>
          </a:lstStyle>
          <a:p>
            <a:fld id="{7F43BC75-A8B3-524C-9CB1-17F14D0EA8E1}" type="slidenum">
              <a:rPr lang="en-US" smtClean="0"/>
              <a:pPr/>
              <a:t>‹#›</a:t>
            </a:fld>
            <a:endParaRPr lang="en-US" dirty="0">
              <a:latin typeface="NeueHaasGroteskDisp Pro" panose="020B0504020202020204" pitchFamily="34" charset="0"/>
            </a:endParaRPr>
          </a:p>
        </p:txBody>
      </p:sp>
      <p:pic>
        <p:nvPicPr>
          <p:cNvPr id="13" name="Picture 12">
            <a:extLst>
              <a:ext uri="{FF2B5EF4-FFF2-40B4-BE49-F238E27FC236}">
                <a16:creationId xmlns:a16="http://schemas.microsoft.com/office/drawing/2014/main" id="{3F629758-7574-8C44-A552-B127E1AC32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2323" y="6219825"/>
            <a:ext cx="397595" cy="290378"/>
          </a:xfrm>
          <a:prstGeom prst="rect">
            <a:avLst/>
          </a:prstGeom>
        </p:spPr>
      </p:pic>
      <p:sp>
        <p:nvSpPr>
          <p:cNvPr id="14" name="Rectangle 13">
            <a:extLst>
              <a:ext uri="{FF2B5EF4-FFF2-40B4-BE49-F238E27FC236}">
                <a16:creationId xmlns:a16="http://schemas.microsoft.com/office/drawing/2014/main" id="{07B6A6E0-DF85-3449-9E84-1306B32B4903}"/>
              </a:ext>
            </a:extLst>
          </p:cNvPr>
          <p:cNvSpPr/>
          <p:nvPr userDrawn="1"/>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5" name="Footer Placeholder 4">
            <a:extLst>
              <a:ext uri="{FF2B5EF4-FFF2-40B4-BE49-F238E27FC236}">
                <a16:creationId xmlns:a16="http://schemas.microsoft.com/office/drawing/2014/main" id="{06305F22-A2B2-EF43-839A-816FDB369584}"/>
              </a:ext>
            </a:extLst>
          </p:cNvPr>
          <p:cNvSpPr>
            <a:spLocks noGrp="1"/>
          </p:cNvSpPr>
          <p:nvPr>
            <p:ph type="ftr" sz="quarter" idx="11"/>
          </p:nvPr>
        </p:nvSpPr>
        <p:spPr>
          <a:xfrm>
            <a:off x="6069184" y="6129337"/>
            <a:ext cx="2078038" cy="365125"/>
          </a:xfrm>
        </p:spPr>
        <p:txBody>
          <a:bodyPr/>
          <a:lstStyle>
            <a:lvl1pPr algn="l">
              <a:defRPr sz="1000" b="0" i="0">
                <a:solidFill>
                  <a:srgbClr val="412181"/>
                </a:solidFill>
                <a:latin typeface="NeueHaasGroteskDisp Pro" panose="020B0504020202020204" pitchFamily="34" charset="0"/>
              </a:defRPr>
            </a:lvl1pPr>
          </a:lstStyle>
          <a:p>
            <a:endParaRPr lang="en-US" dirty="0">
              <a:latin typeface="NeueHaasGroteskDisp Pro" panose="020B0504020202020204" pitchFamily="34" charset="0"/>
            </a:endParaRPr>
          </a:p>
        </p:txBody>
      </p:sp>
    </p:spTree>
    <p:extLst>
      <p:ext uri="{BB962C8B-B14F-4D97-AF65-F5344CB8AC3E}">
        <p14:creationId xmlns:p14="http://schemas.microsoft.com/office/powerpoint/2010/main" val="27386912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9D8B28D-62F9-354A-B581-227CA4148C7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62875" y="5578283"/>
            <a:ext cx="2610613" cy="1140842"/>
          </a:xfrm>
          <a:prstGeom prst="rect">
            <a:avLst/>
          </a:prstGeom>
        </p:spPr>
      </p:pic>
    </p:spTree>
    <p:extLst>
      <p:ext uri="{BB962C8B-B14F-4D97-AF65-F5344CB8AC3E}">
        <p14:creationId xmlns:p14="http://schemas.microsoft.com/office/powerpoint/2010/main" val="21204857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0250F66-F611-224E-8708-01A8A385CC85}"/>
              </a:ext>
            </a:extLst>
          </p:cNvPr>
          <p:cNvSpPr/>
          <p:nvPr userDrawn="1"/>
        </p:nvSpPr>
        <p:spPr>
          <a:xfrm>
            <a:off x="0" y="0"/>
            <a:ext cx="12192000" cy="6858000"/>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2" name="Title 1">
            <a:extLst>
              <a:ext uri="{FF2B5EF4-FFF2-40B4-BE49-F238E27FC236}">
                <a16:creationId xmlns:a16="http://schemas.microsoft.com/office/drawing/2014/main" id="{DD7057CE-F478-AE43-9535-6624AA2EAA81}"/>
              </a:ext>
            </a:extLst>
          </p:cNvPr>
          <p:cNvSpPr>
            <a:spLocks noGrp="1"/>
          </p:cNvSpPr>
          <p:nvPr>
            <p:ph type="ctrTitle" hasCustomPrompt="1"/>
          </p:nvPr>
        </p:nvSpPr>
        <p:spPr>
          <a:xfrm>
            <a:off x="499532" y="191532"/>
            <a:ext cx="9144000" cy="2387600"/>
          </a:xfrm>
        </p:spPr>
        <p:txBody>
          <a:bodyPr anchor="t">
            <a:noAutofit/>
          </a:bodyPr>
          <a:lstStyle>
            <a:lvl1pPr algn="l">
              <a:defRPr sz="17500" b="0" i="0" baseline="0">
                <a:solidFill>
                  <a:schemeClr val="bg1"/>
                </a:solidFill>
                <a:latin typeface="NeueHaasGroteskDisp Pro Md" panose="020B0604020202020204" pitchFamily="34" charset="0"/>
              </a:defRPr>
            </a:lvl1pPr>
          </a:lstStyle>
          <a:p>
            <a:r>
              <a:rPr lang="en-US" dirty="0"/>
              <a:t>Hello!</a:t>
            </a:r>
          </a:p>
        </p:txBody>
      </p:sp>
      <p:pic>
        <p:nvPicPr>
          <p:cNvPr id="8" name="Picture 7" descr="Text&#10;&#10;Description automatically generated">
            <a:extLst>
              <a:ext uri="{FF2B5EF4-FFF2-40B4-BE49-F238E27FC236}">
                <a16:creationId xmlns:a16="http://schemas.microsoft.com/office/drawing/2014/main" id="{9ECCFF2C-04A0-4028-B9A2-F9FA229BFC7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7185" y="5592173"/>
            <a:ext cx="2449393" cy="1074295"/>
          </a:xfrm>
          <a:prstGeom prst="rect">
            <a:avLst/>
          </a:prstGeom>
        </p:spPr>
      </p:pic>
      <p:sp>
        <p:nvSpPr>
          <p:cNvPr id="4" name="Date Placeholder 3">
            <a:extLst>
              <a:ext uri="{FF2B5EF4-FFF2-40B4-BE49-F238E27FC236}">
                <a16:creationId xmlns:a16="http://schemas.microsoft.com/office/drawing/2014/main" id="{9FF10BE6-4030-7548-9B9B-F28626B09AD3}"/>
              </a:ext>
            </a:extLst>
          </p:cNvPr>
          <p:cNvSpPr>
            <a:spLocks noGrp="1"/>
          </p:cNvSpPr>
          <p:nvPr>
            <p:ph type="dt" sz="half" idx="10"/>
          </p:nvPr>
        </p:nvSpPr>
        <p:spPr>
          <a:xfrm>
            <a:off x="10117667" y="6054589"/>
            <a:ext cx="1485900" cy="365125"/>
          </a:xfrm>
        </p:spPr>
        <p:txBody>
          <a:bodyPr/>
          <a:lstStyle>
            <a:lvl1pPr algn="r">
              <a:defRPr b="0" i="0">
                <a:solidFill>
                  <a:schemeClr val="bg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Tree>
    <p:extLst>
      <p:ext uri="{BB962C8B-B14F-4D97-AF65-F5344CB8AC3E}">
        <p14:creationId xmlns:p14="http://schemas.microsoft.com/office/powerpoint/2010/main" val="33965846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128DA-AAC1-7941-A5C5-A8AA9CD3596E}"/>
              </a:ext>
            </a:extLst>
          </p:cNvPr>
          <p:cNvSpPr>
            <a:spLocks noGrp="1"/>
          </p:cNvSpPr>
          <p:nvPr>
            <p:ph type="title" hasCustomPrompt="1"/>
          </p:nvPr>
        </p:nvSpPr>
        <p:spPr>
          <a:xfrm>
            <a:off x="451020" y="228407"/>
            <a:ext cx="10515600" cy="1325563"/>
          </a:xfrm>
        </p:spPr>
        <p:txBody>
          <a:bodyPr>
            <a:normAutofit/>
          </a:bodyPr>
          <a:lstStyle>
            <a:lvl1pPr>
              <a:defRPr sz="8000" b="0" i="0">
                <a:solidFill>
                  <a:srgbClr val="412181"/>
                </a:solidFill>
                <a:latin typeface="NeueHaasGroteskDisp Pro Md" panose="020B0604020202020204" pitchFamily="34" charset="0"/>
              </a:defRPr>
            </a:lvl1pPr>
          </a:lstStyle>
          <a:p>
            <a:r>
              <a:rPr lang="en-US" dirty="0"/>
              <a:t>Contents</a:t>
            </a:r>
          </a:p>
        </p:txBody>
      </p:sp>
      <p:sp>
        <p:nvSpPr>
          <p:cNvPr id="3" name="Content Placeholder 2">
            <a:extLst>
              <a:ext uri="{FF2B5EF4-FFF2-40B4-BE49-F238E27FC236}">
                <a16:creationId xmlns:a16="http://schemas.microsoft.com/office/drawing/2014/main" id="{2BA1426C-8D2E-064E-8877-CF481BC617CE}"/>
              </a:ext>
            </a:extLst>
          </p:cNvPr>
          <p:cNvSpPr>
            <a:spLocks noGrp="1"/>
          </p:cNvSpPr>
          <p:nvPr>
            <p:ph idx="1" hasCustomPrompt="1"/>
          </p:nvPr>
        </p:nvSpPr>
        <p:spPr>
          <a:xfrm>
            <a:off x="451020" y="1960561"/>
            <a:ext cx="10515600" cy="3838877"/>
          </a:xfrm>
        </p:spPr>
        <p:txBody>
          <a:bodyPr>
            <a:normAutofit/>
          </a:bodyPr>
          <a:lstStyle>
            <a:lvl1pPr marL="0" indent="0">
              <a:buNone/>
              <a:defRPr sz="3600" b="0" i="0">
                <a:solidFill>
                  <a:srgbClr val="412181"/>
                </a:solidFill>
                <a:latin typeface="NeueHaasGroteskDisp Pro Md" panose="020B0604020202020204" pitchFamily="34" charset="0"/>
              </a:defRPr>
            </a:lvl1pPr>
          </a:lstStyle>
          <a:p>
            <a:pPr lvl="0"/>
            <a:r>
              <a:rPr lang="en-US" dirty="0"/>
              <a:t>03	Introductions</a:t>
            </a:r>
          </a:p>
          <a:p>
            <a:pPr lvl="0"/>
            <a:r>
              <a:rPr lang="en-US" dirty="0"/>
              <a:t>06	Survey results</a:t>
            </a:r>
          </a:p>
          <a:p>
            <a:pPr lvl="0"/>
            <a:r>
              <a:rPr lang="en-US" dirty="0"/>
              <a:t>10	Trial findings &amp; stats</a:t>
            </a:r>
          </a:p>
          <a:p>
            <a:pPr lvl="0"/>
            <a:r>
              <a:rPr lang="en-US" dirty="0"/>
              <a:t>14	The future of Pennington</a:t>
            </a:r>
          </a:p>
          <a:p>
            <a:pPr lvl="0"/>
            <a:r>
              <a:rPr lang="en-US" dirty="0"/>
              <a:t>19	Updates from the board</a:t>
            </a:r>
          </a:p>
        </p:txBody>
      </p:sp>
      <p:sp>
        <p:nvSpPr>
          <p:cNvPr id="4" name="Date Placeholder 3">
            <a:extLst>
              <a:ext uri="{FF2B5EF4-FFF2-40B4-BE49-F238E27FC236}">
                <a16:creationId xmlns:a16="http://schemas.microsoft.com/office/drawing/2014/main" id="{4D075CFB-177D-7947-8DEC-FA6B49109DF2}"/>
              </a:ext>
            </a:extLst>
          </p:cNvPr>
          <p:cNvSpPr>
            <a:spLocks noGrp="1"/>
          </p:cNvSpPr>
          <p:nvPr>
            <p:ph type="dt" sz="half" idx="10"/>
          </p:nvPr>
        </p:nvSpPr>
        <p:spPr>
          <a:xfrm>
            <a:off x="8806249" y="6129337"/>
            <a:ext cx="1151238" cy="365125"/>
          </a:xfrm>
        </p:spPr>
        <p:txBody>
          <a:bodyPr/>
          <a:lstStyle>
            <a:lvl1pPr algn="r">
              <a:defRPr sz="1000" b="0" i="0">
                <a:solidFill>
                  <a:srgbClr val="412181"/>
                </a:solidFill>
                <a:latin typeface="NeueHaasGroteskDisp Pro" panose="020B0504020202020204" pitchFamily="34" charset="77"/>
              </a:defRPr>
            </a:lvl1pPr>
          </a:lstStyle>
          <a:p>
            <a:fld id="{A3CB876C-AC0D-434B-B385-00E0BB194C18}" type="datetimeFigureOut">
              <a:rPr lang="en-US" smtClean="0"/>
              <a:pPr/>
              <a:t>5/14/2021</a:t>
            </a:fld>
            <a:endParaRPr lang="en-US" dirty="0"/>
          </a:p>
        </p:txBody>
      </p:sp>
      <p:sp>
        <p:nvSpPr>
          <p:cNvPr id="6" name="Slide Number Placeholder 5">
            <a:extLst>
              <a:ext uri="{FF2B5EF4-FFF2-40B4-BE49-F238E27FC236}">
                <a16:creationId xmlns:a16="http://schemas.microsoft.com/office/drawing/2014/main" id="{44A438A9-DE32-124B-B7C9-170F6AD6D1B6}"/>
              </a:ext>
            </a:extLst>
          </p:cNvPr>
          <p:cNvSpPr>
            <a:spLocks noGrp="1"/>
          </p:cNvSpPr>
          <p:nvPr>
            <p:ph type="sldNum" sz="quarter" idx="12"/>
          </p:nvPr>
        </p:nvSpPr>
        <p:spPr>
          <a:xfrm>
            <a:off x="11236411" y="6129337"/>
            <a:ext cx="463378" cy="365125"/>
          </a:xfrm>
        </p:spPr>
        <p:txBody>
          <a:bodyPr/>
          <a:lstStyle>
            <a:lvl1pPr>
              <a:defRPr sz="1000" b="0" i="0">
                <a:solidFill>
                  <a:srgbClr val="412181"/>
                </a:solidFill>
                <a:latin typeface="NeueHaasGroteskDisp Pro" panose="020B0504020202020204" pitchFamily="34" charset="77"/>
              </a:defRPr>
            </a:lvl1pPr>
          </a:lstStyle>
          <a:p>
            <a:fld id="{7F43BC75-A8B3-524C-9CB1-17F14D0EA8E1}" type="slidenum">
              <a:rPr lang="en-US" smtClean="0"/>
              <a:pPr/>
              <a:t>‹#›</a:t>
            </a:fld>
            <a:endParaRPr lang="en-US" dirty="0"/>
          </a:p>
        </p:txBody>
      </p:sp>
      <p:pic>
        <p:nvPicPr>
          <p:cNvPr id="9" name="Picture 8">
            <a:extLst>
              <a:ext uri="{FF2B5EF4-FFF2-40B4-BE49-F238E27FC236}">
                <a16:creationId xmlns:a16="http://schemas.microsoft.com/office/drawing/2014/main" id="{279D8F88-2F8D-3F47-A591-9D17046A6A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2323" y="6219825"/>
            <a:ext cx="397595" cy="290378"/>
          </a:xfrm>
          <a:prstGeom prst="rect">
            <a:avLst/>
          </a:prstGeom>
        </p:spPr>
      </p:pic>
      <p:sp>
        <p:nvSpPr>
          <p:cNvPr id="10" name="Rectangle 9">
            <a:extLst>
              <a:ext uri="{FF2B5EF4-FFF2-40B4-BE49-F238E27FC236}">
                <a16:creationId xmlns:a16="http://schemas.microsoft.com/office/drawing/2014/main" id="{3CF9A9AE-0546-0F40-B486-A528127F579B}"/>
              </a:ext>
            </a:extLst>
          </p:cNvPr>
          <p:cNvSpPr/>
          <p:nvPr userDrawn="1"/>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1" name="Footer Placeholder 4">
            <a:extLst>
              <a:ext uri="{FF2B5EF4-FFF2-40B4-BE49-F238E27FC236}">
                <a16:creationId xmlns:a16="http://schemas.microsoft.com/office/drawing/2014/main" id="{E2574A10-E302-A146-9EA4-DB5D69527141}"/>
              </a:ext>
            </a:extLst>
          </p:cNvPr>
          <p:cNvSpPr>
            <a:spLocks noGrp="1"/>
          </p:cNvSpPr>
          <p:nvPr>
            <p:ph type="ftr" sz="quarter" idx="11"/>
          </p:nvPr>
        </p:nvSpPr>
        <p:spPr>
          <a:xfrm>
            <a:off x="6069184" y="6129337"/>
            <a:ext cx="2078038" cy="365125"/>
          </a:xfrm>
        </p:spPr>
        <p:txBody>
          <a:bodyPr/>
          <a:lstStyle>
            <a:lvl1pPr algn="l">
              <a:defRPr sz="1000" b="0" i="0">
                <a:solidFill>
                  <a:srgbClr val="412181"/>
                </a:solidFill>
                <a:latin typeface="NeueHaasGroteskDisp Pro" panose="020B0504020202020204" pitchFamily="34" charset="77"/>
              </a:defRPr>
            </a:lvl1pPr>
          </a:lstStyle>
          <a:p>
            <a:endParaRPr lang="en-US" dirty="0"/>
          </a:p>
        </p:txBody>
      </p:sp>
    </p:spTree>
    <p:extLst>
      <p:ext uri="{BB962C8B-B14F-4D97-AF65-F5344CB8AC3E}">
        <p14:creationId xmlns:p14="http://schemas.microsoft.com/office/powerpoint/2010/main" val="1396467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89F6F3D-8304-FD40-862D-F6AC1FEAE7C4}"/>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2" name="Title 1">
            <a:extLst>
              <a:ext uri="{FF2B5EF4-FFF2-40B4-BE49-F238E27FC236}">
                <a16:creationId xmlns:a16="http://schemas.microsoft.com/office/drawing/2014/main" id="{364128DA-AAC1-7941-A5C5-A8AA9CD3596E}"/>
              </a:ext>
            </a:extLst>
          </p:cNvPr>
          <p:cNvSpPr>
            <a:spLocks noGrp="1"/>
          </p:cNvSpPr>
          <p:nvPr>
            <p:ph type="title" hasCustomPrompt="1"/>
          </p:nvPr>
        </p:nvSpPr>
        <p:spPr>
          <a:xfrm>
            <a:off x="393355" y="-267116"/>
            <a:ext cx="6542904" cy="5315658"/>
          </a:xfrm>
        </p:spPr>
        <p:txBody>
          <a:bodyPr anchor="t">
            <a:noAutofit/>
          </a:bodyPr>
          <a:lstStyle>
            <a:lvl1pPr>
              <a:defRPr sz="45000" b="0" i="0">
                <a:solidFill>
                  <a:schemeClr val="bg1"/>
                </a:solidFill>
                <a:latin typeface="NeueHaasGroteskDisp Pro Md" panose="020B0604020202020204" pitchFamily="34" charset="0"/>
              </a:defRPr>
            </a:lvl1pPr>
          </a:lstStyle>
          <a:p>
            <a:r>
              <a:rPr lang="en-US" dirty="0"/>
              <a:t>15</a:t>
            </a:r>
          </a:p>
        </p:txBody>
      </p:sp>
      <p:sp>
        <p:nvSpPr>
          <p:cNvPr id="3" name="Content Placeholder 2">
            <a:extLst>
              <a:ext uri="{FF2B5EF4-FFF2-40B4-BE49-F238E27FC236}">
                <a16:creationId xmlns:a16="http://schemas.microsoft.com/office/drawing/2014/main" id="{2BA1426C-8D2E-064E-8877-CF481BC617CE}"/>
              </a:ext>
            </a:extLst>
          </p:cNvPr>
          <p:cNvSpPr>
            <a:spLocks noGrp="1"/>
          </p:cNvSpPr>
          <p:nvPr>
            <p:ph idx="1" hasCustomPrompt="1"/>
          </p:nvPr>
        </p:nvSpPr>
        <p:spPr>
          <a:xfrm>
            <a:off x="7463526" y="446508"/>
            <a:ext cx="2934732" cy="1107462"/>
          </a:xfrm>
        </p:spPr>
        <p:txBody>
          <a:bodyPr>
            <a:normAutofit/>
          </a:bodyPr>
          <a:lstStyle>
            <a:lvl1pPr marL="0" indent="0">
              <a:buNone/>
              <a:defRPr sz="3600" b="0" i="0">
                <a:solidFill>
                  <a:schemeClr val="bg1"/>
                </a:solidFill>
                <a:latin typeface="NeueHaasGroteskDisp Pro Md" panose="020B0604020202020204" pitchFamily="34" charset="0"/>
              </a:defRPr>
            </a:lvl1pPr>
          </a:lstStyle>
          <a:p>
            <a:pPr lvl="0"/>
            <a:r>
              <a:rPr lang="en-US" dirty="0"/>
              <a:t>Multi-chapter divider slide</a:t>
            </a:r>
          </a:p>
        </p:txBody>
      </p:sp>
      <p:sp>
        <p:nvSpPr>
          <p:cNvPr id="4" name="Date Placeholder 3">
            <a:extLst>
              <a:ext uri="{FF2B5EF4-FFF2-40B4-BE49-F238E27FC236}">
                <a16:creationId xmlns:a16="http://schemas.microsoft.com/office/drawing/2014/main" id="{4D075CFB-177D-7947-8DEC-FA6B49109DF2}"/>
              </a:ext>
            </a:extLst>
          </p:cNvPr>
          <p:cNvSpPr>
            <a:spLocks noGrp="1"/>
          </p:cNvSpPr>
          <p:nvPr>
            <p:ph type="dt" sz="half" idx="10"/>
          </p:nvPr>
        </p:nvSpPr>
        <p:spPr>
          <a:xfrm>
            <a:off x="8806249" y="6129337"/>
            <a:ext cx="1151238" cy="365125"/>
          </a:xfrm>
        </p:spPr>
        <p:txBody>
          <a:bodyPr/>
          <a:lstStyle>
            <a:lvl1pPr algn="r">
              <a:defRPr sz="1000" b="0" i="0">
                <a:solidFill>
                  <a:schemeClr val="bg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6" name="Slide Number Placeholder 5">
            <a:extLst>
              <a:ext uri="{FF2B5EF4-FFF2-40B4-BE49-F238E27FC236}">
                <a16:creationId xmlns:a16="http://schemas.microsoft.com/office/drawing/2014/main" id="{44A438A9-DE32-124B-B7C9-170F6AD6D1B6}"/>
              </a:ext>
            </a:extLst>
          </p:cNvPr>
          <p:cNvSpPr>
            <a:spLocks noGrp="1"/>
          </p:cNvSpPr>
          <p:nvPr>
            <p:ph type="sldNum" sz="quarter" idx="12"/>
          </p:nvPr>
        </p:nvSpPr>
        <p:spPr>
          <a:xfrm>
            <a:off x="11236411" y="6129337"/>
            <a:ext cx="463378" cy="365125"/>
          </a:xfrm>
        </p:spPr>
        <p:txBody>
          <a:bodyPr/>
          <a:lstStyle>
            <a:lvl1pPr>
              <a:defRPr sz="1000" b="0" i="0">
                <a:solidFill>
                  <a:schemeClr val="bg1"/>
                </a:solidFill>
                <a:latin typeface="NeueHaasGroteskDisp Pro" panose="020B0504020202020204" pitchFamily="34" charset="0"/>
              </a:defRPr>
            </a:lvl1pPr>
          </a:lstStyle>
          <a:p>
            <a:fld id="{7F43BC75-A8B3-524C-9CB1-17F14D0EA8E1}" type="slidenum">
              <a:rPr lang="en-US" smtClean="0"/>
              <a:pPr/>
              <a:t>‹#›</a:t>
            </a:fld>
            <a:endParaRPr lang="en-US" dirty="0">
              <a:latin typeface="NeueHaasGroteskDisp Pro" panose="020B0504020202020204" pitchFamily="34" charset="0"/>
            </a:endParaRPr>
          </a:p>
        </p:txBody>
      </p:sp>
      <p:sp>
        <p:nvSpPr>
          <p:cNvPr id="10" name="Rectangle 9">
            <a:extLst>
              <a:ext uri="{FF2B5EF4-FFF2-40B4-BE49-F238E27FC236}">
                <a16:creationId xmlns:a16="http://schemas.microsoft.com/office/drawing/2014/main" id="{3CF9A9AE-0546-0F40-B486-A528127F579B}"/>
              </a:ext>
            </a:extLst>
          </p:cNvPr>
          <p:cNvSpPr/>
          <p:nvPr userDrawn="1"/>
        </p:nvSpPr>
        <p:spPr>
          <a:xfrm flipV="1">
            <a:off x="572323" y="6053452"/>
            <a:ext cx="11051266" cy="18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pic>
        <p:nvPicPr>
          <p:cNvPr id="12" name="Picture 11">
            <a:extLst>
              <a:ext uri="{FF2B5EF4-FFF2-40B4-BE49-F238E27FC236}">
                <a16:creationId xmlns:a16="http://schemas.microsoft.com/office/drawing/2014/main" id="{7BED70E8-8E60-2B42-B03C-37EE6D281B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2323" y="6217338"/>
            <a:ext cx="397595" cy="290379"/>
          </a:xfrm>
          <a:prstGeom prst="rect">
            <a:avLst/>
          </a:prstGeom>
        </p:spPr>
      </p:pic>
      <p:sp>
        <p:nvSpPr>
          <p:cNvPr id="13" name="Content Placeholder 2">
            <a:extLst>
              <a:ext uri="{FF2B5EF4-FFF2-40B4-BE49-F238E27FC236}">
                <a16:creationId xmlns:a16="http://schemas.microsoft.com/office/drawing/2014/main" id="{14796738-BC3A-4240-920D-5FD2BADFE5E5}"/>
              </a:ext>
            </a:extLst>
          </p:cNvPr>
          <p:cNvSpPr>
            <a:spLocks noGrp="1"/>
          </p:cNvSpPr>
          <p:nvPr>
            <p:ph idx="13" hasCustomPrompt="1"/>
          </p:nvPr>
        </p:nvSpPr>
        <p:spPr>
          <a:xfrm>
            <a:off x="7463525" y="1550379"/>
            <a:ext cx="3954115" cy="1107462"/>
          </a:xfrm>
        </p:spPr>
        <p:txBody>
          <a:bodyPr>
            <a:noAutofit/>
          </a:bodyPr>
          <a:lstStyle>
            <a:lvl1pPr marL="0" indent="0">
              <a:buNone/>
              <a:defRPr sz="2000" b="0" i="0">
                <a:solidFill>
                  <a:schemeClr val="bg1"/>
                </a:solidFill>
                <a:latin typeface="NeueHaasGroteskDisp Pro" panose="020B050402020202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pspiscing</a:t>
            </a:r>
            <a:r>
              <a:rPr lang="en-US" dirty="0"/>
              <a:t> </a:t>
            </a:r>
            <a:r>
              <a:rPr lang="en-US" dirty="0" err="1"/>
              <a:t>elit</a:t>
            </a:r>
            <a:r>
              <a:rPr lang="en-US" dirty="0"/>
              <a:t>. </a:t>
            </a:r>
            <a:r>
              <a:rPr lang="en-US" dirty="0" err="1"/>
              <a:t>Quisque</a:t>
            </a:r>
            <a:r>
              <a:rPr lang="en-US" dirty="0"/>
              <a:t> </a:t>
            </a:r>
            <a:r>
              <a:rPr lang="en-US" dirty="0" err="1"/>
              <a:t>quis</a:t>
            </a:r>
            <a:r>
              <a:rPr lang="en-US" dirty="0"/>
              <a:t> </a:t>
            </a:r>
            <a:r>
              <a:rPr lang="en-US" dirty="0" err="1"/>
              <a:t>molestie</a:t>
            </a:r>
            <a:r>
              <a:rPr lang="en-US" dirty="0"/>
              <a:t> </a:t>
            </a:r>
            <a:r>
              <a:rPr lang="en-US" dirty="0" err="1"/>
              <a:t>neque</a:t>
            </a:r>
            <a:r>
              <a:rPr lang="en-US" dirty="0"/>
              <a:t>, vitae </a:t>
            </a:r>
            <a:r>
              <a:rPr lang="en-US" dirty="0" err="1"/>
              <a:t>ornare</a:t>
            </a:r>
            <a:r>
              <a:rPr lang="en-US" dirty="0"/>
              <a:t> </a:t>
            </a:r>
            <a:r>
              <a:rPr lang="en-US" dirty="0" err="1"/>
              <a:t>nibh</a:t>
            </a:r>
            <a:r>
              <a:rPr lang="en-US" dirty="0"/>
              <a:t>. Maecenas </a:t>
            </a:r>
            <a:r>
              <a:rPr lang="en-US" dirty="0" err="1"/>
              <a:t>enim</a:t>
            </a:r>
            <a:r>
              <a:rPr lang="en-US" dirty="0"/>
              <a:t> ipsum. </a:t>
            </a:r>
          </a:p>
        </p:txBody>
      </p:sp>
      <p:sp>
        <p:nvSpPr>
          <p:cNvPr id="17" name="Footer Placeholder 4">
            <a:extLst>
              <a:ext uri="{FF2B5EF4-FFF2-40B4-BE49-F238E27FC236}">
                <a16:creationId xmlns:a16="http://schemas.microsoft.com/office/drawing/2014/main" id="{9A693427-F3EB-F841-B6E2-C838312DEFFC}"/>
              </a:ext>
            </a:extLst>
          </p:cNvPr>
          <p:cNvSpPr>
            <a:spLocks noGrp="1"/>
          </p:cNvSpPr>
          <p:nvPr>
            <p:ph type="ftr" sz="quarter" idx="11"/>
          </p:nvPr>
        </p:nvSpPr>
        <p:spPr>
          <a:xfrm>
            <a:off x="6069184" y="6129337"/>
            <a:ext cx="2078038" cy="365125"/>
          </a:xfrm>
        </p:spPr>
        <p:txBody>
          <a:bodyPr/>
          <a:lstStyle>
            <a:lvl1pPr algn="l">
              <a:defRPr sz="1000" b="0" i="0">
                <a:solidFill>
                  <a:schemeClr val="bg1"/>
                </a:solidFill>
                <a:latin typeface="NeueHaasGroteskDisp Pro" panose="020B0504020202020204" pitchFamily="34" charset="0"/>
              </a:defRPr>
            </a:lvl1pPr>
          </a:lstStyle>
          <a:p>
            <a:r>
              <a:rPr lang="en-US" dirty="0"/>
              <a:t>Footer</a:t>
            </a:r>
            <a:endParaRPr lang="en-US" dirty="0">
              <a:latin typeface="NeueHaasGroteskDisp Pro" panose="020B0504020202020204" pitchFamily="34" charset="0"/>
            </a:endParaRPr>
          </a:p>
        </p:txBody>
      </p:sp>
    </p:spTree>
    <p:extLst>
      <p:ext uri="{BB962C8B-B14F-4D97-AF65-F5344CB8AC3E}">
        <p14:creationId xmlns:p14="http://schemas.microsoft.com/office/powerpoint/2010/main" val="15696158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89F6F3D-8304-FD40-862D-F6AC1FEAE7C4}"/>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HaasGroteskDisp Pro Md" panose="020B0504020202020204" pitchFamily="34" charset="77"/>
            </a:endParaRPr>
          </a:p>
        </p:txBody>
      </p:sp>
      <p:sp>
        <p:nvSpPr>
          <p:cNvPr id="2" name="Title 1">
            <a:extLst>
              <a:ext uri="{FF2B5EF4-FFF2-40B4-BE49-F238E27FC236}">
                <a16:creationId xmlns:a16="http://schemas.microsoft.com/office/drawing/2014/main" id="{364128DA-AAC1-7941-A5C5-A8AA9CD3596E}"/>
              </a:ext>
            </a:extLst>
          </p:cNvPr>
          <p:cNvSpPr>
            <a:spLocks noGrp="1"/>
          </p:cNvSpPr>
          <p:nvPr>
            <p:ph type="title" hasCustomPrompt="1"/>
          </p:nvPr>
        </p:nvSpPr>
        <p:spPr>
          <a:xfrm>
            <a:off x="393355" y="377157"/>
            <a:ext cx="5859164" cy="5315658"/>
          </a:xfrm>
        </p:spPr>
        <p:txBody>
          <a:bodyPr anchor="t">
            <a:noAutofit/>
          </a:bodyPr>
          <a:lstStyle>
            <a:lvl1pPr>
              <a:defRPr sz="12500" b="0" i="0">
                <a:solidFill>
                  <a:schemeClr val="bg1"/>
                </a:solidFill>
                <a:latin typeface="NeueHaasGroteskDisp Pro Md" panose="020B0604020202020204" pitchFamily="34" charset="0"/>
              </a:defRPr>
            </a:lvl1pPr>
          </a:lstStyle>
          <a:p>
            <a:r>
              <a:rPr lang="en-US" dirty="0"/>
              <a:t>Section break</a:t>
            </a:r>
          </a:p>
        </p:txBody>
      </p:sp>
      <p:sp>
        <p:nvSpPr>
          <p:cNvPr id="4" name="Date Placeholder 3">
            <a:extLst>
              <a:ext uri="{FF2B5EF4-FFF2-40B4-BE49-F238E27FC236}">
                <a16:creationId xmlns:a16="http://schemas.microsoft.com/office/drawing/2014/main" id="{4D075CFB-177D-7947-8DEC-FA6B49109DF2}"/>
              </a:ext>
            </a:extLst>
          </p:cNvPr>
          <p:cNvSpPr>
            <a:spLocks noGrp="1"/>
          </p:cNvSpPr>
          <p:nvPr>
            <p:ph type="dt" sz="half" idx="10"/>
          </p:nvPr>
        </p:nvSpPr>
        <p:spPr>
          <a:xfrm>
            <a:off x="8806249" y="6129337"/>
            <a:ext cx="1151238" cy="365125"/>
          </a:xfrm>
        </p:spPr>
        <p:txBody>
          <a:bodyPr/>
          <a:lstStyle>
            <a:lvl1pPr algn="r">
              <a:defRPr sz="1000" b="0" i="0">
                <a:solidFill>
                  <a:schemeClr val="bg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6" name="Slide Number Placeholder 5">
            <a:extLst>
              <a:ext uri="{FF2B5EF4-FFF2-40B4-BE49-F238E27FC236}">
                <a16:creationId xmlns:a16="http://schemas.microsoft.com/office/drawing/2014/main" id="{44A438A9-DE32-124B-B7C9-170F6AD6D1B6}"/>
              </a:ext>
            </a:extLst>
          </p:cNvPr>
          <p:cNvSpPr>
            <a:spLocks noGrp="1"/>
          </p:cNvSpPr>
          <p:nvPr>
            <p:ph type="sldNum" sz="quarter" idx="12"/>
          </p:nvPr>
        </p:nvSpPr>
        <p:spPr>
          <a:xfrm>
            <a:off x="11236411" y="6129337"/>
            <a:ext cx="463378" cy="365125"/>
          </a:xfrm>
        </p:spPr>
        <p:txBody>
          <a:bodyPr/>
          <a:lstStyle>
            <a:lvl1pPr>
              <a:defRPr sz="1000" b="0" i="0">
                <a:solidFill>
                  <a:schemeClr val="bg1"/>
                </a:solidFill>
                <a:latin typeface="NeueHaasGroteskDisp Pro" panose="020B0504020202020204" pitchFamily="34" charset="0"/>
              </a:defRPr>
            </a:lvl1pPr>
          </a:lstStyle>
          <a:p>
            <a:fld id="{7F43BC75-A8B3-524C-9CB1-17F14D0EA8E1}" type="slidenum">
              <a:rPr lang="en-US" smtClean="0"/>
              <a:pPr/>
              <a:t>‹#›</a:t>
            </a:fld>
            <a:endParaRPr lang="en-US" dirty="0">
              <a:latin typeface="NeueHaasGroteskDisp Pro" panose="020B0504020202020204" pitchFamily="34" charset="0"/>
            </a:endParaRPr>
          </a:p>
        </p:txBody>
      </p:sp>
      <p:sp>
        <p:nvSpPr>
          <p:cNvPr id="10" name="Rectangle 9">
            <a:extLst>
              <a:ext uri="{FF2B5EF4-FFF2-40B4-BE49-F238E27FC236}">
                <a16:creationId xmlns:a16="http://schemas.microsoft.com/office/drawing/2014/main" id="{3CF9A9AE-0546-0F40-B486-A528127F579B}"/>
              </a:ext>
            </a:extLst>
          </p:cNvPr>
          <p:cNvSpPr/>
          <p:nvPr userDrawn="1"/>
        </p:nvSpPr>
        <p:spPr>
          <a:xfrm flipV="1">
            <a:off x="572323" y="6053452"/>
            <a:ext cx="11051266" cy="18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pic>
        <p:nvPicPr>
          <p:cNvPr id="12" name="Picture 11">
            <a:extLst>
              <a:ext uri="{FF2B5EF4-FFF2-40B4-BE49-F238E27FC236}">
                <a16:creationId xmlns:a16="http://schemas.microsoft.com/office/drawing/2014/main" id="{7BED70E8-8E60-2B42-B03C-37EE6D281B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2323" y="6217338"/>
            <a:ext cx="397595" cy="290379"/>
          </a:xfrm>
          <a:prstGeom prst="rect">
            <a:avLst/>
          </a:prstGeom>
        </p:spPr>
      </p:pic>
      <p:sp>
        <p:nvSpPr>
          <p:cNvPr id="16" name="Footer Placeholder 4">
            <a:extLst>
              <a:ext uri="{FF2B5EF4-FFF2-40B4-BE49-F238E27FC236}">
                <a16:creationId xmlns:a16="http://schemas.microsoft.com/office/drawing/2014/main" id="{F9D8C575-0D9C-4B44-BDE1-8A7100729051}"/>
              </a:ext>
            </a:extLst>
          </p:cNvPr>
          <p:cNvSpPr>
            <a:spLocks noGrp="1"/>
          </p:cNvSpPr>
          <p:nvPr>
            <p:ph type="ftr" sz="quarter" idx="11"/>
          </p:nvPr>
        </p:nvSpPr>
        <p:spPr>
          <a:xfrm>
            <a:off x="6069184" y="6129337"/>
            <a:ext cx="2078038" cy="365125"/>
          </a:xfrm>
        </p:spPr>
        <p:txBody>
          <a:bodyPr/>
          <a:lstStyle>
            <a:lvl1pPr algn="l">
              <a:defRPr sz="1000" b="0" i="0">
                <a:solidFill>
                  <a:schemeClr val="bg1"/>
                </a:solidFill>
                <a:latin typeface="NeueHaasGroteskDisp Pro" panose="020B0504020202020204" pitchFamily="34" charset="0"/>
              </a:defRPr>
            </a:lvl1pPr>
          </a:lstStyle>
          <a:p>
            <a:r>
              <a:rPr lang="en-US" dirty="0"/>
              <a:t>Footer</a:t>
            </a:r>
            <a:endParaRPr lang="en-US" dirty="0">
              <a:latin typeface="NeueHaasGroteskDisp Pro" panose="020B0504020202020204" pitchFamily="34" charset="0"/>
            </a:endParaRPr>
          </a:p>
        </p:txBody>
      </p:sp>
    </p:spTree>
    <p:extLst>
      <p:ext uri="{BB962C8B-B14F-4D97-AF65-F5344CB8AC3E}">
        <p14:creationId xmlns:p14="http://schemas.microsoft.com/office/powerpoint/2010/main" val="12347094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841D5F-1518-7845-B5FE-339C2F633A5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66A9A94-C696-3D40-84DC-2742B535FAE9}"/>
              </a:ext>
            </a:extLst>
          </p:cNvPr>
          <p:cNvSpPr>
            <a:spLocks noGrp="1"/>
          </p:cNvSpPr>
          <p:nvPr>
            <p:ph type="dt" sz="half" idx="10"/>
          </p:nvPr>
        </p:nvSpPr>
        <p:spPr/>
        <p:txBody>
          <a:bodyPr/>
          <a:lstStyle/>
          <a:p>
            <a:fld id="{A3CB876C-AC0D-434B-B385-00E0BB194C18}" type="datetimeFigureOut">
              <a:rPr lang="en-US" smtClean="0"/>
              <a:t>5/14/2021</a:t>
            </a:fld>
            <a:endParaRPr lang="en-US"/>
          </a:p>
        </p:txBody>
      </p:sp>
      <p:sp>
        <p:nvSpPr>
          <p:cNvPr id="4" name="Footer Placeholder 3">
            <a:extLst>
              <a:ext uri="{FF2B5EF4-FFF2-40B4-BE49-F238E27FC236}">
                <a16:creationId xmlns:a16="http://schemas.microsoft.com/office/drawing/2014/main" id="{8DAB01D0-2074-3D4E-B417-8D1DBF799B0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0ECC6F-3492-474E-A7EB-5E82B1DE9F25}"/>
              </a:ext>
            </a:extLst>
          </p:cNvPr>
          <p:cNvSpPr>
            <a:spLocks noGrp="1"/>
          </p:cNvSpPr>
          <p:nvPr>
            <p:ph type="sldNum" sz="quarter" idx="12"/>
          </p:nvPr>
        </p:nvSpPr>
        <p:spPr/>
        <p:txBody>
          <a:bodyPr/>
          <a:lstStyle/>
          <a:p>
            <a:fld id="{7F43BC75-A8B3-524C-9CB1-17F14D0EA8E1}" type="slidenum">
              <a:rPr lang="en-US" smtClean="0"/>
              <a:t>‹#›</a:t>
            </a:fld>
            <a:endParaRPr lang="en-US"/>
          </a:p>
        </p:txBody>
      </p:sp>
      <p:sp>
        <p:nvSpPr>
          <p:cNvPr id="6" name="Rectangle 5">
            <a:extLst>
              <a:ext uri="{FF2B5EF4-FFF2-40B4-BE49-F238E27FC236}">
                <a16:creationId xmlns:a16="http://schemas.microsoft.com/office/drawing/2014/main" id="{82E6E17D-4660-B848-A940-E1959F054039}"/>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NeueHaasGroteskDisp Pro Md" panose="020B0504020202020204" pitchFamily="34" charset="77"/>
            </a:endParaRPr>
          </a:p>
        </p:txBody>
      </p:sp>
    </p:spTree>
    <p:extLst>
      <p:ext uri="{BB962C8B-B14F-4D97-AF65-F5344CB8AC3E}">
        <p14:creationId xmlns:p14="http://schemas.microsoft.com/office/powerpoint/2010/main" val="18574006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B239900-230D-AA47-BEEE-31267C47F3E4}"/>
              </a:ext>
            </a:extLst>
          </p:cNvPr>
          <p:cNvSpPr/>
          <p:nvPr userDrawn="1"/>
        </p:nvSpPr>
        <p:spPr>
          <a:xfrm>
            <a:off x="0" y="0"/>
            <a:ext cx="12192000" cy="6858000"/>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8" name="Date Placeholder 3">
            <a:extLst>
              <a:ext uri="{FF2B5EF4-FFF2-40B4-BE49-F238E27FC236}">
                <a16:creationId xmlns:a16="http://schemas.microsoft.com/office/drawing/2014/main" id="{EF3E2590-C874-1D4B-A641-2B119AE78246}"/>
              </a:ext>
            </a:extLst>
          </p:cNvPr>
          <p:cNvSpPr>
            <a:spLocks noGrp="1"/>
          </p:cNvSpPr>
          <p:nvPr>
            <p:ph type="dt" sz="half" idx="10"/>
          </p:nvPr>
        </p:nvSpPr>
        <p:spPr>
          <a:xfrm>
            <a:off x="8806249" y="6129337"/>
            <a:ext cx="1151238" cy="365125"/>
          </a:xfrm>
        </p:spPr>
        <p:txBody>
          <a:bodyPr/>
          <a:lstStyle>
            <a:lvl1pPr algn="r">
              <a:defRPr sz="1000" b="0" i="0">
                <a:solidFill>
                  <a:schemeClr val="bg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20" name="Slide Number Placeholder 5">
            <a:extLst>
              <a:ext uri="{FF2B5EF4-FFF2-40B4-BE49-F238E27FC236}">
                <a16:creationId xmlns:a16="http://schemas.microsoft.com/office/drawing/2014/main" id="{B97BC768-8004-DA45-A77A-1E35C4A7D086}"/>
              </a:ext>
            </a:extLst>
          </p:cNvPr>
          <p:cNvSpPr>
            <a:spLocks noGrp="1"/>
          </p:cNvSpPr>
          <p:nvPr>
            <p:ph type="sldNum" sz="quarter" idx="12"/>
          </p:nvPr>
        </p:nvSpPr>
        <p:spPr>
          <a:xfrm>
            <a:off x="11236411" y="6129337"/>
            <a:ext cx="463378" cy="365125"/>
          </a:xfrm>
        </p:spPr>
        <p:txBody>
          <a:bodyPr/>
          <a:lstStyle>
            <a:lvl1pPr>
              <a:defRPr sz="1000" b="0" i="0">
                <a:solidFill>
                  <a:schemeClr val="bg1"/>
                </a:solidFill>
                <a:latin typeface="NeueHaasGroteskDisp Pro" panose="020B0504020202020204" pitchFamily="34" charset="0"/>
              </a:defRPr>
            </a:lvl1pPr>
          </a:lstStyle>
          <a:p>
            <a:fld id="{7F43BC75-A8B3-524C-9CB1-17F14D0EA8E1}" type="slidenum">
              <a:rPr lang="en-US" smtClean="0"/>
              <a:pPr/>
              <a:t>‹#›</a:t>
            </a:fld>
            <a:endParaRPr lang="en-US" dirty="0">
              <a:latin typeface="NeueHaasGroteskDisp Pro" panose="020B0504020202020204" pitchFamily="34" charset="0"/>
            </a:endParaRPr>
          </a:p>
        </p:txBody>
      </p:sp>
      <p:sp>
        <p:nvSpPr>
          <p:cNvPr id="21" name="Rectangle 20">
            <a:extLst>
              <a:ext uri="{FF2B5EF4-FFF2-40B4-BE49-F238E27FC236}">
                <a16:creationId xmlns:a16="http://schemas.microsoft.com/office/drawing/2014/main" id="{061F72F4-6EDD-4247-B830-5B6D21215CAC}"/>
              </a:ext>
            </a:extLst>
          </p:cNvPr>
          <p:cNvSpPr/>
          <p:nvPr userDrawn="1"/>
        </p:nvSpPr>
        <p:spPr>
          <a:xfrm flipV="1">
            <a:off x="572323" y="6062713"/>
            <a:ext cx="11051266" cy="18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pic>
        <p:nvPicPr>
          <p:cNvPr id="22" name="Picture 21">
            <a:extLst>
              <a:ext uri="{FF2B5EF4-FFF2-40B4-BE49-F238E27FC236}">
                <a16:creationId xmlns:a16="http://schemas.microsoft.com/office/drawing/2014/main" id="{A92FE0F3-CC86-A643-AF5A-F1C8567C009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2323" y="6217338"/>
            <a:ext cx="397595" cy="290379"/>
          </a:xfrm>
          <a:prstGeom prst="rect">
            <a:avLst/>
          </a:prstGeom>
        </p:spPr>
      </p:pic>
      <p:sp>
        <p:nvSpPr>
          <p:cNvPr id="2" name="Title 1">
            <a:extLst>
              <a:ext uri="{FF2B5EF4-FFF2-40B4-BE49-F238E27FC236}">
                <a16:creationId xmlns:a16="http://schemas.microsoft.com/office/drawing/2014/main" id="{364128DA-AAC1-7941-A5C5-A8AA9CD3596E}"/>
              </a:ext>
            </a:extLst>
          </p:cNvPr>
          <p:cNvSpPr>
            <a:spLocks noGrp="1"/>
          </p:cNvSpPr>
          <p:nvPr>
            <p:ph type="title" hasCustomPrompt="1"/>
          </p:nvPr>
        </p:nvSpPr>
        <p:spPr>
          <a:xfrm>
            <a:off x="451020" y="445723"/>
            <a:ext cx="5051856" cy="1094451"/>
          </a:xfrm>
        </p:spPr>
        <p:txBody>
          <a:bodyPr anchor="t">
            <a:normAutofit/>
          </a:bodyPr>
          <a:lstStyle>
            <a:lvl1pPr>
              <a:defRPr sz="3600" b="0" i="0">
                <a:solidFill>
                  <a:schemeClr val="bg1"/>
                </a:solidFill>
                <a:latin typeface="NeueHaasGroteskDisp Pro Md" panose="020B0604020202020204" pitchFamily="34" charset="0"/>
              </a:defRPr>
            </a:lvl1pPr>
          </a:lstStyle>
          <a:p>
            <a:pPr lvl="0"/>
            <a:r>
              <a:rPr lang="en-US" dirty="0"/>
              <a:t>Lorem ipsum dolor sit </a:t>
            </a:r>
            <a:r>
              <a:rPr lang="en-US" dirty="0" err="1"/>
              <a:t>amet</a:t>
            </a:r>
            <a:r>
              <a:rPr lang="en-US" dirty="0"/>
              <a:t>, </a:t>
            </a:r>
            <a:r>
              <a:rPr lang="en-US" dirty="0" err="1"/>
              <a:t>consectetur</a:t>
            </a:r>
            <a:r>
              <a:rPr lang="en-US" dirty="0"/>
              <a:t>.</a:t>
            </a:r>
          </a:p>
        </p:txBody>
      </p:sp>
      <p:sp>
        <p:nvSpPr>
          <p:cNvPr id="3" name="Content Placeholder 2">
            <a:extLst>
              <a:ext uri="{FF2B5EF4-FFF2-40B4-BE49-F238E27FC236}">
                <a16:creationId xmlns:a16="http://schemas.microsoft.com/office/drawing/2014/main" id="{2BA1426C-8D2E-064E-8877-CF481BC617CE}"/>
              </a:ext>
            </a:extLst>
          </p:cNvPr>
          <p:cNvSpPr>
            <a:spLocks noGrp="1"/>
          </p:cNvSpPr>
          <p:nvPr>
            <p:ph idx="1" hasCustomPrompt="1"/>
          </p:nvPr>
        </p:nvSpPr>
        <p:spPr>
          <a:xfrm>
            <a:off x="451020" y="1540175"/>
            <a:ext cx="5051856" cy="1532540"/>
          </a:xfrm>
        </p:spPr>
        <p:txBody>
          <a:bodyPr>
            <a:normAutofit/>
          </a:bodyPr>
          <a:lstStyle>
            <a:lvl1pPr marL="0" indent="0">
              <a:buNone/>
              <a:defRPr sz="1800" b="0" i="0">
                <a:solidFill>
                  <a:schemeClr val="bg1"/>
                </a:solidFill>
                <a:latin typeface="NeueHaasGroteskDisp Pro" panose="020B050402020202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pspiscing</a:t>
            </a:r>
            <a:r>
              <a:rPr lang="en-US" dirty="0"/>
              <a:t> </a:t>
            </a:r>
            <a:r>
              <a:rPr lang="en-US" dirty="0" err="1"/>
              <a:t>elit</a:t>
            </a:r>
            <a:r>
              <a:rPr lang="en-US" dirty="0"/>
              <a:t>. </a:t>
            </a:r>
            <a:r>
              <a:rPr lang="en-US" dirty="0" err="1"/>
              <a:t>Quisque</a:t>
            </a:r>
            <a:r>
              <a:rPr lang="en-US" dirty="0"/>
              <a:t> </a:t>
            </a:r>
            <a:r>
              <a:rPr lang="en-US" dirty="0" err="1"/>
              <a:t>quis</a:t>
            </a:r>
            <a:r>
              <a:rPr lang="en-US" dirty="0"/>
              <a:t> </a:t>
            </a:r>
            <a:r>
              <a:rPr lang="en-US" dirty="0" err="1"/>
              <a:t>molestie</a:t>
            </a:r>
            <a:r>
              <a:rPr lang="en-US" dirty="0"/>
              <a:t> </a:t>
            </a:r>
            <a:r>
              <a:rPr lang="en-US" dirty="0" err="1"/>
              <a:t>neque</a:t>
            </a:r>
            <a:r>
              <a:rPr lang="en-US" dirty="0"/>
              <a:t>, vitae </a:t>
            </a:r>
            <a:r>
              <a:rPr lang="en-US" dirty="0" err="1"/>
              <a:t>ornare</a:t>
            </a:r>
            <a:r>
              <a:rPr lang="en-US" dirty="0"/>
              <a:t> </a:t>
            </a:r>
            <a:r>
              <a:rPr lang="en-US" dirty="0" err="1"/>
              <a:t>nibh</a:t>
            </a:r>
            <a:r>
              <a:rPr lang="en-US" dirty="0"/>
              <a:t>. Maecenas </a:t>
            </a:r>
            <a:r>
              <a:rPr lang="en-US" dirty="0" err="1"/>
              <a:t>enim</a:t>
            </a:r>
            <a:r>
              <a:rPr lang="en-US" dirty="0"/>
              <a:t> ipsum. </a:t>
            </a:r>
          </a:p>
        </p:txBody>
      </p:sp>
      <p:sp>
        <p:nvSpPr>
          <p:cNvPr id="23" name="Content Placeholder 2">
            <a:extLst>
              <a:ext uri="{FF2B5EF4-FFF2-40B4-BE49-F238E27FC236}">
                <a16:creationId xmlns:a16="http://schemas.microsoft.com/office/drawing/2014/main" id="{656F5D91-6CAE-2E40-B117-EE7885F1A3C7}"/>
              </a:ext>
            </a:extLst>
          </p:cNvPr>
          <p:cNvSpPr>
            <a:spLocks noGrp="1"/>
          </p:cNvSpPr>
          <p:nvPr>
            <p:ph idx="13"/>
          </p:nvPr>
        </p:nvSpPr>
        <p:spPr>
          <a:xfrm>
            <a:off x="6161947" y="578314"/>
            <a:ext cx="5461641" cy="5329540"/>
          </a:xfrm>
        </p:spPr>
        <p:txBody>
          <a:bodyPr>
            <a:normAutofit/>
          </a:bodyPr>
          <a:lstStyle>
            <a:lvl1pPr marL="0" indent="0">
              <a:buNone/>
              <a:defRPr sz="3600">
                <a:solidFill>
                  <a:schemeClr val="bg1"/>
                </a:solidFill>
              </a:defRPr>
            </a:lvl1pPr>
          </a:lstStyle>
          <a:p>
            <a:pPr lvl="0"/>
            <a:endParaRPr lang="en-US" dirty="0"/>
          </a:p>
        </p:txBody>
      </p:sp>
      <p:sp>
        <p:nvSpPr>
          <p:cNvPr id="25" name="Footer Placeholder 4">
            <a:extLst>
              <a:ext uri="{FF2B5EF4-FFF2-40B4-BE49-F238E27FC236}">
                <a16:creationId xmlns:a16="http://schemas.microsoft.com/office/drawing/2014/main" id="{E908FA83-7B39-BE45-BF5C-D56B6D1E2C9A}"/>
              </a:ext>
            </a:extLst>
          </p:cNvPr>
          <p:cNvSpPr>
            <a:spLocks noGrp="1"/>
          </p:cNvSpPr>
          <p:nvPr>
            <p:ph type="ftr" sz="quarter" idx="11"/>
          </p:nvPr>
        </p:nvSpPr>
        <p:spPr>
          <a:xfrm>
            <a:off x="6069184" y="6129337"/>
            <a:ext cx="2078038" cy="365125"/>
          </a:xfrm>
        </p:spPr>
        <p:txBody>
          <a:bodyPr/>
          <a:lstStyle>
            <a:lvl1pPr algn="l">
              <a:defRPr sz="1000" b="0" i="0">
                <a:solidFill>
                  <a:schemeClr val="bg1"/>
                </a:solidFill>
                <a:latin typeface="NeueHaasGroteskDisp Pro" panose="020B0504020202020204" pitchFamily="34" charset="0"/>
              </a:defRPr>
            </a:lvl1pPr>
          </a:lstStyle>
          <a:p>
            <a:endParaRPr lang="en-US" dirty="0">
              <a:latin typeface="NeueHaasGroteskDisp Pro" panose="020B0504020202020204" pitchFamily="34" charset="0"/>
            </a:endParaRPr>
          </a:p>
        </p:txBody>
      </p:sp>
    </p:spTree>
    <p:extLst>
      <p:ext uri="{BB962C8B-B14F-4D97-AF65-F5344CB8AC3E}">
        <p14:creationId xmlns:p14="http://schemas.microsoft.com/office/powerpoint/2010/main" val="3244765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B239900-230D-AA47-BEEE-31267C47F3E4}"/>
              </a:ext>
            </a:extLst>
          </p:cNvPr>
          <p:cNvSpPr/>
          <p:nvPr userDrawn="1"/>
        </p:nvSpPr>
        <p:spPr>
          <a:xfrm>
            <a:off x="0" y="0"/>
            <a:ext cx="12192000" cy="6858000"/>
          </a:xfrm>
          <a:prstGeom prst="rect">
            <a:avLst/>
          </a:prstGeom>
          <a:solidFill>
            <a:srgbClr val="FDCF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2" name="Title 1">
            <a:extLst>
              <a:ext uri="{FF2B5EF4-FFF2-40B4-BE49-F238E27FC236}">
                <a16:creationId xmlns:a16="http://schemas.microsoft.com/office/drawing/2014/main" id="{364128DA-AAC1-7941-A5C5-A8AA9CD3596E}"/>
              </a:ext>
            </a:extLst>
          </p:cNvPr>
          <p:cNvSpPr>
            <a:spLocks noGrp="1"/>
          </p:cNvSpPr>
          <p:nvPr>
            <p:ph type="title" hasCustomPrompt="1"/>
          </p:nvPr>
        </p:nvSpPr>
        <p:spPr>
          <a:xfrm>
            <a:off x="451020" y="445723"/>
            <a:ext cx="5051856" cy="1094451"/>
          </a:xfrm>
        </p:spPr>
        <p:txBody>
          <a:bodyPr anchor="t">
            <a:normAutofit/>
          </a:bodyPr>
          <a:lstStyle>
            <a:lvl1pPr>
              <a:defRPr sz="3600" b="0" i="0">
                <a:solidFill>
                  <a:srgbClr val="412181"/>
                </a:solidFill>
                <a:latin typeface="NeueHaasGroteskDisp Pro Md" panose="020B0604020202020204" pitchFamily="34" charset="0"/>
              </a:defRPr>
            </a:lvl1pPr>
          </a:lstStyle>
          <a:p>
            <a:pPr lvl="0"/>
            <a:r>
              <a:rPr lang="en-US" dirty="0"/>
              <a:t>Lorem ipsum dolor sit </a:t>
            </a:r>
            <a:r>
              <a:rPr lang="en-US" dirty="0" err="1"/>
              <a:t>amet</a:t>
            </a:r>
            <a:r>
              <a:rPr lang="en-US" dirty="0"/>
              <a:t>, </a:t>
            </a:r>
            <a:r>
              <a:rPr lang="en-US" dirty="0" err="1"/>
              <a:t>consectetur</a:t>
            </a:r>
            <a:r>
              <a:rPr lang="en-US" dirty="0"/>
              <a:t>.</a:t>
            </a:r>
          </a:p>
        </p:txBody>
      </p:sp>
      <p:sp>
        <p:nvSpPr>
          <p:cNvPr id="3" name="Content Placeholder 2">
            <a:extLst>
              <a:ext uri="{FF2B5EF4-FFF2-40B4-BE49-F238E27FC236}">
                <a16:creationId xmlns:a16="http://schemas.microsoft.com/office/drawing/2014/main" id="{2BA1426C-8D2E-064E-8877-CF481BC617CE}"/>
              </a:ext>
            </a:extLst>
          </p:cNvPr>
          <p:cNvSpPr>
            <a:spLocks noGrp="1"/>
          </p:cNvSpPr>
          <p:nvPr>
            <p:ph idx="1" hasCustomPrompt="1"/>
          </p:nvPr>
        </p:nvSpPr>
        <p:spPr>
          <a:xfrm>
            <a:off x="451020" y="1540175"/>
            <a:ext cx="5051856" cy="1532540"/>
          </a:xfrm>
        </p:spPr>
        <p:txBody>
          <a:bodyPr>
            <a:normAutofit/>
          </a:bodyPr>
          <a:lstStyle>
            <a:lvl1pPr marL="0" indent="0">
              <a:buNone/>
              <a:defRPr sz="1800" b="0" i="0">
                <a:solidFill>
                  <a:srgbClr val="412181"/>
                </a:solidFill>
                <a:latin typeface="NeueHaasGroteskDisp Pro" panose="020B050402020202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pspiscing</a:t>
            </a:r>
            <a:r>
              <a:rPr lang="en-US" dirty="0"/>
              <a:t> </a:t>
            </a:r>
            <a:r>
              <a:rPr lang="en-US" dirty="0" err="1"/>
              <a:t>elit</a:t>
            </a:r>
            <a:r>
              <a:rPr lang="en-US" dirty="0"/>
              <a:t>. </a:t>
            </a:r>
            <a:r>
              <a:rPr lang="en-US" dirty="0" err="1"/>
              <a:t>Quisque</a:t>
            </a:r>
            <a:r>
              <a:rPr lang="en-US" dirty="0"/>
              <a:t> </a:t>
            </a:r>
            <a:r>
              <a:rPr lang="en-US" dirty="0" err="1"/>
              <a:t>quis</a:t>
            </a:r>
            <a:r>
              <a:rPr lang="en-US" dirty="0"/>
              <a:t> </a:t>
            </a:r>
            <a:r>
              <a:rPr lang="en-US" dirty="0" err="1"/>
              <a:t>molestie</a:t>
            </a:r>
            <a:r>
              <a:rPr lang="en-US" dirty="0"/>
              <a:t> </a:t>
            </a:r>
            <a:r>
              <a:rPr lang="en-US" dirty="0" err="1"/>
              <a:t>neque</a:t>
            </a:r>
            <a:r>
              <a:rPr lang="en-US" dirty="0"/>
              <a:t>, vitae </a:t>
            </a:r>
            <a:r>
              <a:rPr lang="en-US" dirty="0" err="1"/>
              <a:t>ornare</a:t>
            </a:r>
            <a:r>
              <a:rPr lang="en-US" dirty="0"/>
              <a:t> </a:t>
            </a:r>
            <a:r>
              <a:rPr lang="en-US" dirty="0" err="1"/>
              <a:t>nibh</a:t>
            </a:r>
            <a:r>
              <a:rPr lang="en-US" dirty="0"/>
              <a:t>. Maecenas </a:t>
            </a:r>
            <a:r>
              <a:rPr lang="en-US" dirty="0" err="1"/>
              <a:t>enim</a:t>
            </a:r>
            <a:r>
              <a:rPr lang="en-US" dirty="0"/>
              <a:t> ipsum. </a:t>
            </a:r>
          </a:p>
        </p:txBody>
      </p:sp>
      <p:sp>
        <p:nvSpPr>
          <p:cNvPr id="11" name="Date Placeholder 3">
            <a:extLst>
              <a:ext uri="{FF2B5EF4-FFF2-40B4-BE49-F238E27FC236}">
                <a16:creationId xmlns:a16="http://schemas.microsoft.com/office/drawing/2014/main" id="{8259EA34-F58E-6248-A5F2-638F457F0BFD}"/>
              </a:ext>
            </a:extLst>
          </p:cNvPr>
          <p:cNvSpPr>
            <a:spLocks noGrp="1"/>
          </p:cNvSpPr>
          <p:nvPr>
            <p:ph type="dt" sz="half" idx="10"/>
          </p:nvPr>
        </p:nvSpPr>
        <p:spPr>
          <a:xfrm>
            <a:off x="8806249" y="6129337"/>
            <a:ext cx="1151238" cy="365125"/>
          </a:xfrm>
        </p:spPr>
        <p:txBody>
          <a:bodyPr/>
          <a:lstStyle>
            <a:lvl1pPr algn="r">
              <a:defRPr sz="1000" b="0" i="0">
                <a:solidFill>
                  <a:srgbClr val="41218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12" name="Slide Number Placeholder 5">
            <a:extLst>
              <a:ext uri="{FF2B5EF4-FFF2-40B4-BE49-F238E27FC236}">
                <a16:creationId xmlns:a16="http://schemas.microsoft.com/office/drawing/2014/main" id="{9D2B7CC4-BC4B-534D-9643-D99D2A6DA9ED}"/>
              </a:ext>
            </a:extLst>
          </p:cNvPr>
          <p:cNvSpPr>
            <a:spLocks noGrp="1"/>
          </p:cNvSpPr>
          <p:nvPr>
            <p:ph type="sldNum" sz="quarter" idx="12"/>
          </p:nvPr>
        </p:nvSpPr>
        <p:spPr>
          <a:xfrm>
            <a:off x="11236411" y="6129337"/>
            <a:ext cx="463378" cy="365125"/>
          </a:xfrm>
        </p:spPr>
        <p:txBody>
          <a:bodyPr/>
          <a:lstStyle>
            <a:lvl1pPr>
              <a:defRPr sz="1000" b="0" i="0">
                <a:solidFill>
                  <a:srgbClr val="412181"/>
                </a:solidFill>
                <a:latin typeface="NeueHaasGroteskDisp Pro" panose="020B0504020202020204" pitchFamily="34" charset="0"/>
              </a:defRPr>
            </a:lvl1pPr>
          </a:lstStyle>
          <a:p>
            <a:fld id="{7F43BC75-A8B3-524C-9CB1-17F14D0EA8E1}" type="slidenum">
              <a:rPr lang="en-US" smtClean="0"/>
              <a:pPr/>
              <a:t>‹#›</a:t>
            </a:fld>
            <a:endParaRPr lang="en-US" dirty="0">
              <a:latin typeface="NeueHaasGroteskDisp Pro" panose="020B0504020202020204" pitchFamily="34" charset="0"/>
            </a:endParaRPr>
          </a:p>
        </p:txBody>
      </p:sp>
      <p:pic>
        <p:nvPicPr>
          <p:cNvPr id="13" name="Picture 12">
            <a:extLst>
              <a:ext uri="{FF2B5EF4-FFF2-40B4-BE49-F238E27FC236}">
                <a16:creationId xmlns:a16="http://schemas.microsoft.com/office/drawing/2014/main" id="{F32841B5-697E-FA4D-95DA-4909AD2AD5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2323" y="6219825"/>
            <a:ext cx="397595" cy="290378"/>
          </a:xfrm>
          <a:prstGeom prst="rect">
            <a:avLst/>
          </a:prstGeom>
        </p:spPr>
      </p:pic>
      <p:sp>
        <p:nvSpPr>
          <p:cNvPr id="14" name="Rectangle 13">
            <a:extLst>
              <a:ext uri="{FF2B5EF4-FFF2-40B4-BE49-F238E27FC236}">
                <a16:creationId xmlns:a16="http://schemas.microsoft.com/office/drawing/2014/main" id="{B99B3AE5-8CF7-9542-82B1-2C5CD6B70FBE}"/>
              </a:ext>
            </a:extLst>
          </p:cNvPr>
          <p:cNvSpPr/>
          <p:nvPr userDrawn="1"/>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5" name="Footer Placeholder 4">
            <a:extLst>
              <a:ext uri="{FF2B5EF4-FFF2-40B4-BE49-F238E27FC236}">
                <a16:creationId xmlns:a16="http://schemas.microsoft.com/office/drawing/2014/main" id="{FF41D39F-FC7C-1D45-9765-CCDC2214295B}"/>
              </a:ext>
            </a:extLst>
          </p:cNvPr>
          <p:cNvSpPr>
            <a:spLocks noGrp="1"/>
          </p:cNvSpPr>
          <p:nvPr>
            <p:ph type="ftr" sz="quarter" idx="11"/>
          </p:nvPr>
        </p:nvSpPr>
        <p:spPr>
          <a:xfrm>
            <a:off x="6069184" y="6129337"/>
            <a:ext cx="2078038" cy="365125"/>
          </a:xfrm>
        </p:spPr>
        <p:txBody>
          <a:bodyPr/>
          <a:lstStyle>
            <a:lvl1pPr algn="l">
              <a:defRPr sz="1000" b="0" i="0">
                <a:solidFill>
                  <a:srgbClr val="412181"/>
                </a:solidFill>
                <a:latin typeface="NeueHaasGroteskDisp Pro" panose="020B0504020202020204" pitchFamily="34" charset="0"/>
              </a:defRPr>
            </a:lvl1pPr>
          </a:lstStyle>
          <a:p>
            <a:endParaRPr lang="en-US" dirty="0">
              <a:latin typeface="NeueHaasGroteskDisp Pro" panose="020B0504020202020204" pitchFamily="34" charset="0"/>
            </a:endParaRPr>
          </a:p>
        </p:txBody>
      </p:sp>
    </p:spTree>
    <p:extLst>
      <p:ext uri="{BB962C8B-B14F-4D97-AF65-F5344CB8AC3E}">
        <p14:creationId xmlns:p14="http://schemas.microsoft.com/office/powerpoint/2010/main" val="33833119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128DA-AAC1-7941-A5C5-A8AA9CD3596E}"/>
              </a:ext>
            </a:extLst>
          </p:cNvPr>
          <p:cNvSpPr>
            <a:spLocks noGrp="1"/>
          </p:cNvSpPr>
          <p:nvPr>
            <p:ph type="title" hasCustomPrompt="1"/>
          </p:nvPr>
        </p:nvSpPr>
        <p:spPr>
          <a:xfrm>
            <a:off x="451020" y="445723"/>
            <a:ext cx="5051856" cy="1094451"/>
          </a:xfrm>
        </p:spPr>
        <p:txBody>
          <a:bodyPr anchor="t">
            <a:normAutofit/>
          </a:bodyPr>
          <a:lstStyle>
            <a:lvl1pPr>
              <a:defRPr sz="3600" b="0" i="0">
                <a:solidFill>
                  <a:srgbClr val="412181"/>
                </a:solidFill>
                <a:latin typeface="NeueHaasGroteskDisp Pro Md" panose="020B0604020202020204" pitchFamily="34" charset="0"/>
              </a:defRPr>
            </a:lvl1pPr>
          </a:lstStyle>
          <a:p>
            <a:pPr lvl="0"/>
            <a:r>
              <a:rPr lang="en-US" dirty="0"/>
              <a:t>Lorem ipsum dolor sit </a:t>
            </a:r>
            <a:r>
              <a:rPr lang="en-US" dirty="0" err="1"/>
              <a:t>amet</a:t>
            </a:r>
            <a:r>
              <a:rPr lang="en-US" dirty="0"/>
              <a:t>, </a:t>
            </a:r>
            <a:r>
              <a:rPr lang="en-US" dirty="0" err="1"/>
              <a:t>consectetur</a:t>
            </a:r>
            <a:r>
              <a:rPr lang="en-US" dirty="0"/>
              <a:t>.</a:t>
            </a:r>
          </a:p>
        </p:txBody>
      </p:sp>
      <p:sp>
        <p:nvSpPr>
          <p:cNvPr id="3" name="Content Placeholder 2">
            <a:extLst>
              <a:ext uri="{FF2B5EF4-FFF2-40B4-BE49-F238E27FC236}">
                <a16:creationId xmlns:a16="http://schemas.microsoft.com/office/drawing/2014/main" id="{2BA1426C-8D2E-064E-8877-CF481BC617CE}"/>
              </a:ext>
            </a:extLst>
          </p:cNvPr>
          <p:cNvSpPr>
            <a:spLocks noGrp="1"/>
          </p:cNvSpPr>
          <p:nvPr>
            <p:ph idx="1" hasCustomPrompt="1"/>
          </p:nvPr>
        </p:nvSpPr>
        <p:spPr>
          <a:xfrm>
            <a:off x="451020" y="1540175"/>
            <a:ext cx="5051856" cy="1532540"/>
          </a:xfrm>
        </p:spPr>
        <p:txBody>
          <a:bodyPr>
            <a:normAutofit/>
          </a:bodyPr>
          <a:lstStyle>
            <a:lvl1pPr marL="0" indent="0">
              <a:buNone/>
              <a:defRPr sz="1800" b="0" i="0">
                <a:solidFill>
                  <a:srgbClr val="412181"/>
                </a:solidFill>
                <a:latin typeface="NeueHaasGroteskDisp Pro" panose="020B050402020202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pspiscing</a:t>
            </a:r>
            <a:r>
              <a:rPr lang="en-US" dirty="0"/>
              <a:t> </a:t>
            </a:r>
            <a:r>
              <a:rPr lang="en-US" dirty="0" err="1"/>
              <a:t>elit</a:t>
            </a:r>
            <a:r>
              <a:rPr lang="en-US" dirty="0"/>
              <a:t>. </a:t>
            </a:r>
            <a:r>
              <a:rPr lang="en-US" dirty="0" err="1"/>
              <a:t>Quisque</a:t>
            </a:r>
            <a:r>
              <a:rPr lang="en-US" dirty="0"/>
              <a:t> </a:t>
            </a:r>
            <a:r>
              <a:rPr lang="en-US" dirty="0" err="1"/>
              <a:t>quis</a:t>
            </a:r>
            <a:r>
              <a:rPr lang="en-US" dirty="0"/>
              <a:t> </a:t>
            </a:r>
            <a:r>
              <a:rPr lang="en-US" dirty="0" err="1"/>
              <a:t>molestie</a:t>
            </a:r>
            <a:r>
              <a:rPr lang="en-US" dirty="0"/>
              <a:t> </a:t>
            </a:r>
            <a:r>
              <a:rPr lang="en-US" dirty="0" err="1"/>
              <a:t>neque</a:t>
            </a:r>
            <a:r>
              <a:rPr lang="en-US" dirty="0"/>
              <a:t>, vitae </a:t>
            </a:r>
            <a:r>
              <a:rPr lang="en-US" dirty="0" err="1"/>
              <a:t>ornare</a:t>
            </a:r>
            <a:r>
              <a:rPr lang="en-US" dirty="0"/>
              <a:t> </a:t>
            </a:r>
            <a:r>
              <a:rPr lang="en-US" dirty="0" err="1"/>
              <a:t>nibh</a:t>
            </a:r>
            <a:r>
              <a:rPr lang="en-US" dirty="0"/>
              <a:t>. Maecenas </a:t>
            </a:r>
            <a:r>
              <a:rPr lang="en-US" dirty="0" err="1"/>
              <a:t>enim</a:t>
            </a:r>
            <a:r>
              <a:rPr lang="en-US" dirty="0"/>
              <a:t> ipsum. </a:t>
            </a:r>
          </a:p>
        </p:txBody>
      </p:sp>
      <p:sp>
        <p:nvSpPr>
          <p:cNvPr id="23" name="Content Placeholder 2">
            <a:extLst>
              <a:ext uri="{FF2B5EF4-FFF2-40B4-BE49-F238E27FC236}">
                <a16:creationId xmlns:a16="http://schemas.microsoft.com/office/drawing/2014/main" id="{656F5D91-6CAE-2E40-B117-EE7885F1A3C7}"/>
              </a:ext>
            </a:extLst>
          </p:cNvPr>
          <p:cNvSpPr>
            <a:spLocks noGrp="1"/>
          </p:cNvSpPr>
          <p:nvPr>
            <p:ph idx="13"/>
          </p:nvPr>
        </p:nvSpPr>
        <p:spPr>
          <a:xfrm>
            <a:off x="6161947" y="578314"/>
            <a:ext cx="5461641" cy="5329540"/>
          </a:xfrm>
        </p:spPr>
        <p:txBody>
          <a:bodyPr>
            <a:normAutofit/>
          </a:bodyPr>
          <a:lstStyle>
            <a:lvl1pPr marL="0" indent="0">
              <a:buNone/>
              <a:defRPr sz="3600">
                <a:solidFill>
                  <a:srgbClr val="412181"/>
                </a:solidFill>
              </a:defRPr>
            </a:lvl1pPr>
          </a:lstStyle>
          <a:p>
            <a:pPr lvl="0"/>
            <a:endParaRPr lang="en-US" dirty="0"/>
          </a:p>
        </p:txBody>
      </p:sp>
      <p:pic>
        <p:nvPicPr>
          <p:cNvPr id="13" name="Picture 12">
            <a:extLst>
              <a:ext uri="{FF2B5EF4-FFF2-40B4-BE49-F238E27FC236}">
                <a16:creationId xmlns:a16="http://schemas.microsoft.com/office/drawing/2014/main" id="{3F629758-7574-8C44-A552-B127E1AC32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2323" y="6219825"/>
            <a:ext cx="397595" cy="290378"/>
          </a:xfrm>
          <a:prstGeom prst="rect">
            <a:avLst/>
          </a:prstGeom>
        </p:spPr>
      </p:pic>
      <p:sp>
        <p:nvSpPr>
          <p:cNvPr id="14" name="Rectangle 13">
            <a:extLst>
              <a:ext uri="{FF2B5EF4-FFF2-40B4-BE49-F238E27FC236}">
                <a16:creationId xmlns:a16="http://schemas.microsoft.com/office/drawing/2014/main" id="{07B6A6E0-DF85-3449-9E84-1306B32B4903}"/>
              </a:ext>
            </a:extLst>
          </p:cNvPr>
          <p:cNvSpPr/>
          <p:nvPr userDrawn="1"/>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0" name="Date Placeholder 3">
            <a:extLst>
              <a:ext uri="{FF2B5EF4-FFF2-40B4-BE49-F238E27FC236}">
                <a16:creationId xmlns:a16="http://schemas.microsoft.com/office/drawing/2014/main" id="{13FC2096-C1EC-DF4B-8F9F-38E41053E74F}"/>
              </a:ext>
            </a:extLst>
          </p:cNvPr>
          <p:cNvSpPr>
            <a:spLocks noGrp="1"/>
          </p:cNvSpPr>
          <p:nvPr>
            <p:ph type="dt" sz="half" idx="10"/>
          </p:nvPr>
        </p:nvSpPr>
        <p:spPr>
          <a:xfrm>
            <a:off x="8806249" y="6129337"/>
            <a:ext cx="1151238" cy="365125"/>
          </a:xfrm>
        </p:spPr>
        <p:txBody>
          <a:bodyPr/>
          <a:lstStyle>
            <a:lvl1pPr algn="r">
              <a:defRPr sz="1000" b="0" i="0">
                <a:solidFill>
                  <a:srgbClr val="41218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16" name="Slide Number Placeholder 5">
            <a:extLst>
              <a:ext uri="{FF2B5EF4-FFF2-40B4-BE49-F238E27FC236}">
                <a16:creationId xmlns:a16="http://schemas.microsoft.com/office/drawing/2014/main" id="{063A6DA2-8586-7345-840B-A8C401E98AA4}"/>
              </a:ext>
            </a:extLst>
          </p:cNvPr>
          <p:cNvSpPr>
            <a:spLocks noGrp="1"/>
          </p:cNvSpPr>
          <p:nvPr>
            <p:ph type="sldNum" sz="quarter" idx="12"/>
          </p:nvPr>
        </p:nvSpPr>
        <p:spPr>
          <a:xfrm>
            <a:off x="11236411" y="6129337"/>
            <a:ext cx="463378" cy="365125"/>
          </a:xfrm>
        </p:spPr>
        <p:txBody>
          <a:bodyPr/>
          <a:lstStyle>
            <a:lvl1pPr>
              <a:defRPr sz="1000" b="0" i="0">
                <a:solidFill>
                  <a:srgbClr val="412181"/>
                </a:solidFill>
                <a:latin typeface="NeueHaasGroteskDisp Pro" panose="020B0504020202020204" pitchFamily="34" charset="0"/>
              </a:defRPr>
            </a:lvl1pPr>
          </a:lstStyle>
          <a:p>
            <a:fld id="{7F43BC75-A8B3-524C-9CB1-17F14D0EA8E1}" type="slidenum">
              <a:rPr lang="en-US" smtClean="0"/>
              <a:pPr/>
              <a:t>‹#›</a:t>
            </a:fld>
            <a:endParaRPr lang="en-US" dirty="0">
              <a:latin typeface="NeueHaasGroteskDisp Pro" panose="020B0504020202020204" pitchFamily="34" charset="0"/>
            </a:endParaRPr>
          </a:p>
        </p:txBody>
      </p:sp>
      <p:sp>
        <p:nvSpPr>
          <p:cNvPr id="17" name="Footer Placeholder 4">
            <a:extLst>
              <a:ext uri="{FF2B5EF4-FFF2-40B4-BE49-F238E27FC236}">
                <a16:creationId xmlns:a16="http://schemas.microsoft.com/office/drawing/2014/main" id="{514EA556-63C8-CA4B-A78F-E6C7E7B4D35E}"/>
              </a:ext>
            </a:extLst>
          </p:cNvPr>
          <p:cNvSpPr>
            <a:spLocks noGrp="1"/>
          </p:cNvSpPr>
          <p:nvPr>
            <p:ph type="ftr" sz="quarter" idx="11"/>
          </p:nvPr>
        </p:nvSpPr>
        <p:spPr>
          <a:xfrm>
            <a:off x="6069184" y="6129337"/>
            <a:ext cx="2078038" cy="365125"/>
          </a:xfrm>
        </p:spPr>
        <p:txBody>
          <a:bodyPr/>
          <a:lstStyle>
            <a:lvl1pPr algn="l">
              <a:defRPr sz="1000" b="0" i="0">
                <a:solidFill>
                  <a:srgbClr val="412181"/>
                </a:solidFill>
                <a:latin typeface="NeueHaasGroteskDisp Pro" panose="020B0504020202020204" pitchFamily="34" charset="0"/>
              </a:defRPr>
            </a:lvl1pPr>
          </a:lstStyle>
          <a:p>
            <a:endParaRPr lang="en-US" dirty="0">
              <a:latin typeface="NeueHaasGroteskDisp Pro" panose="020B0504020202020204" pitchFamily="34" charset="0"/>
            </a:endParaRPr>
          </a:p>
        </p:txBody>
      </p:sp>
    </p:spTree>
    <p:extLst>
      <p:ext uri="{BB962C8B-B14F-4D97-AF65-F5344CB8AC3E}">
        <p14:creationId xmlns:p14="http://schemas.microsoft.com/office/powerpoint/2010/main" val="617191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60626F8-C5C3-E543-A35C-75165DE659C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8D7A55B5-5F55-7643-B97E-FECF6236495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B7F78EE-099C-9843-8FC4-09ABAD2C9CC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NeueHaasGroteskDisp Pro" panose="020B0504020202020204" pitchFamily="34" charset="0"/>
              </a:defRPr>
            </a:lvl1pPr>
          </a:lstStyle>
          <a:p>
            <a:fld id="{A3CB876C-AC0D-434B-B385-00E0BB194C18}" type="datetimeFigureOut">
              <a:rPr lang="en-US" smtClean="0"/>
              <a:pPr/>
              <a:t>5/14/2021</a:t>
            </a:fld>
            <a:endParaRPr lang="en-US" dirty="0"/>
          </a:p>
        </p:txBody>
      </p:sp>
      <p:sp>
        <p:nvSpPr>
          <p:cNvPr id="5" name="Footer Placeholder 4">
            <a:extLst>
              <a:ext uri="{FF2B5EF4-FFF2-40B4-BE49-F238E27FC236}">
                <a16:creationId xmlns:a16="http://schemas.microsoft.com/office/drawing/2014/main" id="{0EE9ABDD-7C02-AA4B-AACA-9E545DD9AB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NeueHaasGroteskDisp Pro" panose="020B05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68E9CFA9-C6B3-0E42-9F99-394BFC2F79C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NeueHaasGroteskDisp Pro" panose="020B0504020202020204" pitchFamily="34" charset="0"/>
              </a:defRPr>
            </a:lvl1pPr>
          </a:lstStyle>
          <a:p>
            <a:fld id="{7F43BC75-A8B3-524C-9CB1-17F14D0EA8E1}" type="slidenum">
              <a:rPr lang="en-US" smtClean="0"/>
              <a:pPr/>
              <a:t>‹#›</a:t>
            </a:fld>
            <a:endParaRPr lang="en-US" dirty="0"/>
          </a:p>
        </p:txBody>
      </p:sp>
    </p:spTree>
    <p:extLst>
      <p:ext uri="{BB962C8B-B14F-4D97-AF65-F5344CB8AC3E}">
        <p14:creationId xmlns:p14="http://schemas.microsoft.com/office/powerpoint/2010/main" val="3828255324"/>
      </p:ext>
    </p:extLst>
  </p:cSld>
  <p:clrMap bg1="lt1" tx1="dk1" bg2="lt2" tx2="dk2" accent1="accent1" accent2="accent2" accent3="accent3" accent4="accent4" accent5="accent5" accent6="accent6" hlink="hlink" folHlink="folHlink"/>
  <p:sldLayoutIdLst>
    <p:sldLayoutId id="2147483649" r:id="rId1"/>
    <p:sldLayoutId id="2147483668" r:id="rId2"/>
    <p:sldLayoutId id="2147483650" r:id="rId3"/>
    <p:sldLayoutId id="2147483660" r:id="rId4"/>
    <p:sldLayoutId id="2147483661" r:id="rId5"/>
    <p:sldLayoutId id="2147483670" r:id="rId6"/>
    <p:sldLayoutId id="2147483662" r:id="rId7"/>
    <p:sldLayoutId id="2147483663" r:id="rId8"/>
    <p:sldLayoutId id="2147483664" r:id="rId9"/>
    <p:sldLayoutId id="2147483665" r:id="rId10"/>
    <p:sldLayoutId id="2147483666" r:id="rId11"/>
    <p:sldLayoutId id="2147483667" r:id="rId12"/>
    <p:sldLayoutId id="2147483669" r:id="rId13"/>
  </p:sldLayoutIdLst>
  <p:txStyles>
    <p:titleStyle>
      <a:lvl1pPr algn="l" defTabSz="914400" rtl="0" eaLnBrk="1" latinLnBrk="0" hangingPunct="1">
        <a:lnSpc>
          <a:spcPct val="90000"/>
        </a:lnSpc>
        <a:spcBef>
          <a:spcPct val="0"/>
        </a:spcBef>
        <a:buNone/>
        <a:defRPr sz="4400" kern="1200">
          <a:solidFill>
            <a:schemeClr val="tx1"/>
          </a:solidFill>
          <a:latin typeface="NeueHaasGroteskDisp Pro"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NeueHaasGroteskDisp Pro" panose="020B0604020202020204" pitchFamily="34" charset="0"/>
        <a:buChar char="•"/>
        <a:defRPr sz="2800" kern="1200">
          <a:solidFill>
            <a:schemeClr val="tx1"/>
          </a:solidFill>
          <a:latin typeface="NeueHaasGroteskDisp Pro" panose="020B0504020202020204" pitchFamily="34" charset="0"/>
          <a:ea typeface="+mn-ea"/>
          <a:cs typeface="+mn-cs"/>
        </a:defRPr>
      </a:lvl1pPr>
      <a:lvl2pPr marL="685800" indent="-228600" algn="l" defTabSz="914400" rtl="0" eaLnBrk="1" latinLnBrk="0" hangingPunct="1">
        <a:lnSpc>
          <a:spcPct val="90000"/>
        </a:lnSpc>
        <a:spcBef>
          <a:spcPts val="500"/>
        </a:spcBef>
        <a:buFont typeface="NeueHaasGroteskDisp Pro" panose="020B0604020202020204" pitchFamily="34" charset="0"/>
        <a:buChar char="•"/>
        <a:defRPr sz="2400" kern="1200">
          <a:solidFill>
            <a:schemeClr val="tx1"/>
          </a:solidFill>
          <a:latin typeface="NeueHaasGroteskDisp Pro" panose="020B0504020202020204" pitchFamily="34" charset="0"/>
          <a:ea typeface="+mn-ea"/>
          <a:cs typeface="+mn-cs"/>
        </a:defRPr>
      </a:lvl2pPr>
      <a:lvl3pPr marL="1143000" indent="-228600" algn="l" defTabSz="914400" rtl="0" eaLnBrk="1" latinLnBrk="0" hangingPunct="1">
        <a:lnSpc>
          <a:spcPct val="90000"/>
        </a:lnSpc>
        <a:spcBef>
          <a:spcPts val="500"/>
        </a:spcBef>
        <a:buFont typeface="NeueHaasGroteskDisp Pro" panose="020B0604020202020204" pitchFamily="34" charset="0"/>
        <a:buChar char="•"/>
        <a:defRPr sz="2000" kern="1200">
          <a:solidFill>
            <a:schemeClr val="tx1"/>
          </a:solidFill>
          <a:latin typeface="NeueHaasGroteskDisp Pro" panose="020B0504020202020204" pitchFamily="34" charset="0"/>
          <a:ea typeface="+mn-ea"/>
          <a:cs typeface="+mn-cs"/>
        </a:defRPr>
      </a:lvl3pPr>
      <a:lvl4pPr marL="16002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NeueHaasGroteskDisp Pro" panose="020B0504020202020204" pitchFamily="34" charset="0"/>
          <a:ea typeface="+mn-ea"/>
          <a:cs typeface="+mn-cs"/>
        </a:defRPr>
      </a:lvl4pPr>
      <a:lvl5pPr marL="20574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NeueHaasGroteskDisp Pro" panose="020B0504020202020204" pitchFamily="34" charset="0"/>
          <a:ea typeface="+mn-ea"/>
          <a:cs typeface="+mn-cs"/>
        </a:defRPr>
      </a:lvl5pPr>
      <a:lvl6pPr marL="25146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3.emf"/></Relationships>
</file>

<file path=ppt/slides/_rels/slide1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4.emf"/></Relationships>
</file>

<file path=ppt/slides/_rels/slide1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4.emf"/></Relationships>
</file>

<file path=ppt/slides/_rels/slide2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8.jpe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tiff"/><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image" Target="../media/image6.jpeg"/><Relationship Id="rId1" Type="http://schemas.openxmlformats.org/officeDocument/2006/relationships/slideLayout" Target="../slideLayouts/slideLayout13.xml"/><Relationship Id="rId5" Type="http://schemas.openxmlformats.org/officeDocument/2006/relationships/image" Target="../media/image9.sv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8" Type="http://schemas.openxmlformats.org/officeDocument/2006/relationships/image" Target="../media/image31.tiff"/><Relationship Id="rId13" Type="http://schemas.openxmlformats.org/officeDocument/2006/relationships/image" Target="../media/image36.tiff"/><Relationship Id="rId3" Type="http://schemas.openxmlformats.org/officeDocument/2006/relationships/image" Target="../media/image26.tiff"/><Relationship Id="rId7" Type="http://schemas.openxmlformats.org/officeDocument/2006/relationships/image" Target="../media/image30.tiff"/><Relationship Id="rId12" Type="http://schemas.openxmlformats.org/officeDocument/2006/relationships/image" Target="../media/image35.tiff"/><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29.tiff"/><Relationship Id="rId11" Type="http://schemas.openxmlformats.org/officeDocument/2006/relationships/image" Target="../media/image34.tiff"/><Relationship Id="rId5" Type="http://schemas.openxmlformats.org/officeDocument/2006/relationships/image" Target="../media/image28.tiff"/><Relationship Id="rId15" Type="http://schemas.openxmlformats.org/officeDocument/2006/relationships/hyperlink" Target="https://doi.org/10.1093/ajcn/nqaa179" TargetMode="External"/><Relationship Id="rId10" Type="http://schemas.openxmlformats.org/officeDocument/2006/relationships/image" Target="../media/image33.tiff"/><Relationship Id="rId4" Type="http://schemas.openxmlformats.org/officeDocument/2006/relationships/image" Target="../media/image27.tiff"/><Relationship Id="rId9" Type="http://schemas.openxmlformats.org/officeDocument/2006/relationships/image" Target="../media/image32.tiff"/><Relationship Id="rId14" Type="http://schemas.openxmlformats.org/officeDocument/2006/relationships/image" Target="../media/image37.tiff"/></Relationships>
</file>

<file path=ppt/slides/_rels/slide36.xml.rels><?xml version="1.0" encoding="UTF-8" standalone="yes"?>
<Relationships xmlns="http://schemas.openxmlformats.org/package/2006/relationships"><Relationship Id="rId3" Type="http://schemas.openxmlformats.org/officeDocument/2006/relationships/image" Target="../media/image38.tiff"/><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4.emf"/><Relationship Id="rId4" Type="http://schemas.openxmlformats.org/officeDocument/2006/relationships/image" Target="../media/image39.jpeg"/></Relationships>
</file>

<file path=ppt/slides/_rels/slide37.xml.rels><?xml version="1.0" encoding="UTF-8" standalone="yes"?>
<Relationships xmlns="http://schemas.openxmlformats.org/package/2006/relationships"><Relationship Id="rId3" Type="http://schemas.openxmlformats.org/officeDocument/2006/relationships/image" Target="../media/image40.tiff"/><Relationship Id="rId2" Type="http://schemas.openxmlformats.org/officeDocument/2006/relationships/notesSlide" Target="../notesSlides/notesSlide13.xml"/><Relationship Id="rId1" Type="http://schemas.openxmlformats.org/officeDocument/2006/relationships/slideLayout" Target="../slideLayouts/slideLayout10.xml"/><Relationship Id="rId5" Type="http://schemas.openxmlformats.org/officeDocument/2006/relationships/image" Target="../media/image3.emf"/><Relationship Id="rId4" Type="http://schemas.openxmlformats.org/officeDocument/2006/relationships/image" Target="../media/image41.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Layout" Target="../slideLayouts/slideLayout10.xml"/><Relationship Id="rId5" Type="http://schemas.openxmlformats.org/officeDocument/2006/relationships/image" Target="../media/image3.emf"/><Relationship Id="rId4" Type="http://schemas.openxmlformats.org/officeDocument/2006/relationships/image" Target="../media/image45.png"/></Relationships>
</file>

<file path=ppt/slides/_rels/slide45.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7.emf"/><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image" Target="../media/image48.tiff"/><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26" Type="http://schemas.openxmlformats.org/officeDocument/2006/relationships/tags" Target="../tags/tag26.xml"/><Relationship Id="rId117" Type="http://schemas.openxmlformats.org/officeDocument/2006/relationships/tags" Target="../tags/tag117.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38" Type="http://schemas.openxmlformats.org/officeDocument/2006/relationships/tags" Target="../tags/tag138.xml"/><Relationship Id="rId154" Type="http://schemas.openxmlformats.org/officeDocument/2006/relationships/tags" Target="../tags/tag154.xml"/><Relationship Id="rId159" Type="http://schemas.openxmlformats.org/officeDocument/2006/relationships/tags" Target="../tags/tag159.xml"/><Relationship Id="rId170" Type="http://schemas.openxmlformats.org/officeDocument/2006/relationships/tags" Target="../tags/tag170.xml"/><Relationship Id="rId16" Type="http://schemas.openxmlformats.org/officeDocument/2006/relationships/tags" Target="../tags/tag16.xml"/><Relationship Id="rId107" Type="http://schemas.openxmlformats.org/officeDocument/2006/relationships/tags" Target="../tags/tag107.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28" Type="http://schemas.openxmlformats.org/officeDocument/2006/relationships/tags" Target="../tags/tag128.xml"/><Relationship Id="rId144" Type="http://schemas.openxmlformats.org/officeDocument/2006/relationships/tags" Target="../tags/tag144.xml"/><Relationship Id="rId149" Type="http://schemas.openxmlformats.org/officeDocument/2006/relationships/tags" Target="../tags/tag14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tags" Target="../tags/tag95.xml"/><Relationship Id="rId160" Type="http://schemas.openxmlformats.org/officeDocument/2006/relationships/tags" Target="../tags/tag160.xml"/><Relationship Id="rId165" Type="http://schemas.openxmlformats.org/officeDocument/2006/relationships/tags" Target="../tags/tag165.xml"/><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113" Type="http://schemas.openxmlformats.org/officeDocument/2006/relationships/tags" Target="../tags/tag113.xml"/><Relationship Id="rId118" Type="http://schemas.openxmlformats.org/officeDocument/2006/relationships/tags" Target="../tags/tag118.xml"/><Relationship Id="rId134" Type="http://schemas.openxmlformats.org/officeDocument/2006/relationships/tags" Target="../tags/tag134.xml"/><Relationship Id="rId139" Type="http://schemas.openxmlformats.org/officeDocument/2006/relationships/tags" Target="../tags/tag139.xml"/><Relationship Id="rId80" Type="http://schemas.openxmlformats.org/officeDocument/2006/relationships/tags" Target="../tags/tag80.xml"/><Relationship Id="rId85" Type="http://schemas.openxmlformats.org/officeDocument/2006/relationships/tags" Target="../tags/tag85.xml"/><Relationship Id="rId150" Type="http://schemas.openxmlformats.org/officeDocument/2006/relationships/tags" Target="../tags/tag150.xml"/><Relationship Id="rId155" Type="http://schemas.openxmlformats.org/officeDocument/2006/relationships/tags" Target="../tags/tag155.xml"/><Relationship Id="rId171" Type="http://schemas.openxmlformats.org/officeDocument/2006/relationships/tags" Target="../tags/tag171.xml"/><Relationship Id="rId12" Type="http://schemas.openxmlformats.org/officeDocument/2006/relationships/tags" Target="../tags/tag12.xml"/><Relationship Id="rId17" Type="http://schemas.openxmlformats.org/officeDocument/2006/relationships/tags" Target="../tags/tag17.xml"/><Relationship Id="rId33" Type="http://schemas.openxmlformats.org/officeDocument/2006/relationships/tags" Target="../tags/tag33.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08" Type="http://schemas.openxmlformats.org/officeDocument/2006/relationships/tags" Target="../tags/tag108.xml"/><Relationship Id="rId124" Type="http://schemas.openxmlformats.org/officeDocument/2006/relationships/tags" Target="../tags/tag124.xml"/><Relationship Id="rId129" Type="http://schemas.openxmlformats.org/officeDocument/2006/relationships/tags" Target="../tags/tag129.xml"/><Relationship Id="rId54" Type="http://schemas.openxmlformats.org/officeDocument/2006/relationships/tags" Target="../tags/tag54.xml"/><Relationship Id="rId70" Type="http://schemas.openxmlformats.org/officeDocument/2006/relationships/tags" Target="../tags/tag70.xml"/><Relationship Id="rId75" Type="http://schemas.openxmlformats.org/officeDocument/2006/relationships/tags" Target="../tags/tag75.xml"/><Relationship Id="rId91" Type="http://schemas.openxmlformats.org/officeDocument/2006/relationships/tags" Target="../tags/tag91.xml"/><Relationship Id="rId96" Type="http://schemas.openxmlformats.org/officeDocument/2006/relationships/tags" Target="../tags/tag96.xml"/><Relationship Id="rId140" Type="http://schemas.openxmlformats.org/officeDocument/2006/relationships/tags" Target="../tags/tag140.xml"/><Relationship Id="rId145" Type="http://schemas.openxmlformats.org/officeDocument/2006/relationships/tags" Target="../tags/tag145.xml"/><Relationship Id="rId161" Type="http://schemas.openxmlformats.org/officeDocument/2006/relationships/tags" Target="../tags/tag161.xml"/><Relationship Id="rId166" Type="http://schemas.openxmlformats.org/officeDocument/2006/relationships/tags" Target="../tags/tag166.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6" Type="http://schemas.openxmlformats.org/officeDocument/2006/relationships/tags" Target="../tags/tag106.xml"/><Relationship Id="rId114" Type="http://schemas.openxmlformats.org/officeDocument/2006/relationships/tags" Target="../tags/tag114.xml"/><Relationship Id="rId119" Type="http://schemas.openxmlformats.org/officeDocument/2006/relationships/tags" Target="../tags/tag119.xml"/><Relationship Id="rId127" Type="http://schemas.openxmlformats.org/officeDocument/2006/relationships/tags" Target="../tags/tag12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30" Type="http://schemas.openxmlformats.org/officeDocument/2006/relationships/tags" Target="../tags/tag130.xml"/><Relationship Id="rId135" Type="http://schemas.openxmlformats.org/officeDocument/2006/relationships/tags" Target="../tags/tag135.xml"/><Relationship Id="rId143" Type="http://schemas.openxmlformats.org/officeDocument/2006/relationships/tags" Target="../tags/tag143.xml"/><Relationship Id="rId148" Type="http://schemas.openxmlformats.org/officeDocument/2006/relationships/tags" Target="../tags/tag148.xml"/><Relationship Id="rId151" Type="http://schemas.openxmlformats.org/officeDocument/2006/relationships/tags" Target="../tags/tag151.xml"/><Relationship Id="rId156" Type="http://schemas.openxmlformats.org/officeDocument/2006/relationships/tags" Target="../tags/tag156.xml"/><Relationship Id="rId164" Type="http://schemas.openxmlformats.org/officeDocument/2006/relationships/tags" Target="../tags/tag164.xml"/><Relationship Id="rId169" Type="http://schemas.openxmlformats.org/officeDocument/2006/relationships/tags" Target="../tags/tag169.xml"/><Relationship Id="rId4" Type="http://schemas.openxmlformats.org/officeDocument/2006/relationships/tags" Target="../tags/tag4.xml"/><Relationship Id="rId9" Type="http://schemas.openxmlformats.org/officeDocument/2006/relationships/tags" Target="../tags/tag9.xml"/><Relationship Id="rId172" Type="http://schemas.openxmlformats.org/officeDocument/2006/relationships/slideLayout" Target="../slideLayouts/slideLayout3.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109" Type="http://schemas.openxmlformats.org/officeDocument/2006/relationships/tags" Target="../tags/tag10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tags" Target="../tags/tag104.xml"/><Relationship Id="rId120" Type="http://schemas.openxmlformats.org/officeDocument/2006/relationships/tags" Target="../tags/tag120.xml"/><Relationship Id="rId125" Type="http://schemas.openxmlformats.org/officeDocument/2006/relationships/tags" Target="../tags/tag125.xml"/><Relationship Id="rId141" Type="http://schemas.openxmlformats.org/officeDocument/2006/relationships/tags" Target="../tags/tag141.xml"/><Relationship Id="rId146" Type="http://schemas.openxmlformats.org/officeDocument/2006/relationships/tags" Target="../tags/tag146.xml"/><Relationship Id="rId167" Type="http://schemas.openxmlformats.org/officeDocument/2006/relationships/tags" Target="../tags/tag167.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162" Type="http://schemas.openxmlformats.org/officeDocument/2006/relationships/tags" Target="../tags/tag162.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15" Type="http://schemas.openxmlformats.org/officeDocument/2006/relationships/tags" Target="../tags/tag115.xml"/><Relationship Id="rId131" Type="http://schemas.openxmlformats.org/officeDocument/2006/relationships/tags" Target="../tags/tag131.xml"/><Relationship Id="rId136" Type="http://schemas.openxmlformats.org/officeDocument/2006/relationships/tags" Target="../tags/tag136.xml"/><Relationship Id="rId157" Type="http://schemas.openxmlformats.org/officeDocument/2006/relationships/tags" Target="../tags/tag157.xml"/><Relationship Id="rId61" Type="http://schemas.openxmlformats.org/officeDocument/2006/relationships/tags" Target="../tags/tag61.xml"/><Relationship Id="rId82" Type="http://schemas.openxmlformats.org/officeDocument/2006/relationships/tags" Target="../tags/tag82.xml"/><Relationship Id="rId152" Type="http://schemas.openxmlformats.org/officeDocument/2006/relationships/tags" Target="../tags/tag152.xml"/><Relationship Id="rId173" Type="http://schemas.openxmlformats.org/officeDocument/2006/relationships/notesSlide" Target="../notesSlides/notesSlide14.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3" Type="http://schemas.openxmlformats.org/officeDocument/2006/relationships/tags" Target="../tags/tag3.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s>
</file>

<file path=ppt/slides/_rels/slide49.xml.rels><?xml version="1.0" encoding="UTF-8" standalone="yes"?>
<Relationships xmlns="http://schemas.openxmlformats.org/package/2006/relationships"><Relationship Id="rId2" Type="http://schemas.openxmlformats.org/officeDocument/2006/relationships/hyperlink" Target="mailto:creativemedia@pbrc.edu" TargetMode="Externa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428D3-A6E2-4D53-99AE-740D17A5F22E}"/>
              </a:ext>
            </a:extLst>
          </p:cNvPr>
          <p:cNvSpPr>
            <a:spLocks noGrp="1"/>
          </p:cNvSpPr>
          <p:nvPr>
            <p:ph type="title"/>
          </p:nvPr>
        </p:nvSpPr>
        <p:spPr/>
        <p:txBody>
          <a:bodyPr/>
          <a:lstStyle/>
          <a:p>
            <a:r>
              <a:rPr lang="en-US" dirty="0"/>
              <a:t>Contents</a:t>
            </a:r>
          </a:p>
        </p:txBody>
      </p:sp>
      <p:sp>
        <p:nvSpPr>
          <p:cNvPr id="3" name="Content Placeholder 2">
            <a:extLst>
              <a:ext uri="{FF2B5EF4-FFF2-40B4-BE49-F238E27FC236}">
                <a16:creationId xmlns:a16="http://schemas.microsoft.com/office/drawing/2014/main" id="{54F5D289-C30D-4FE2-9E95-273A85B4C81E}"/>
              </a:ext>
            </a:extLst>
          </p:cNvPr>
          <p:cNvSpPr>
            <a:spLocks noGrp="1"/>
          </p:cNvSpPr>
          <p:nvPr>
            <p:ph idx="1"/>
          </p:nvPr>
        </p:nvSpPr>
        <p:spPr/>
        <p:txBody>
          <a:bodyPr>
            <a:normAutofit fontScale="92500" lnSpcReduction="20000"/>
          </a:bodyPr>
          <a:lstStyle/>
          <a:p>
            <a:r>
              <a:rPr lang="en-US" sz="3200" dirty="0">
                <a:latin typeface="NeueHaasGroteskDisp Pro" panose="020B0504020202020204" pitchFamily="34" charset="77"/>
              </a:rPr>
              <a:t>02-06	Titles</a:t>
            </a:r>
          </a:p>
          <a:p>
            <a:r>
              <a:rPr lang="en-US" sz="3200" dirty="0">
                <a:latin typeface="NeueHaasGroteskDisp Pro" panose="020B0504020202020204" pitchFamily="34" charset="77"/>
              </a:rPr>
              <a:t>07-09	Transitions </a:t>
            </a:r>
          </a:p>
          <a:p>
            <a:r>
              <a:rPr lang="en-US" sz="3200" dirty="0">
                <a:latin typeface="NeueHaasGroteskDisp Pro" panose="020B0504020202020204" pitchFamily="34" charset="77"/>
              </a:rPr>
              <a:t>10-16		Text only</a:t>
            </a:r>
          </a:p>
          <a:p>
            <a:r>
              <a:rPr lang="en-US" sz="3200" dirty="0">
                <a:latin typeface="NeueHaasGroteskDisp Pro" panose="020B0504020202020204" pitchFamily="34" charset="77"/>
              </a:rPr>
              <a:t>17-22		Full page image</a:t>
            </a:r>
          </a:p>
          <a:p>
            <a:r>
              <a:rPr lang="en-US" sz="3200" dirty="0">
                <a:latin typeface="NeueHaasGroteskDisp Pro" panose="020B0504020202020204" pitchFamily="34" charset="77"/>
              </a:rPr>
              <a:t>23-37	Text and image or graphic</a:t>
            </a:r>
          </a:p>
          <a:p>
            <a:r>
              <a:rPr lang="en-US" sz="3200" dirty="0">
                <a:latin typeface="NeueHaasGroteskDisp Pro" panose="020B0504020202020204" pitchFamily="34" charset="77"/>
              </a:rPr>
              <a:t>38-42	Tables and charts</a:t>
            </a:r>
          </a:p>
          <a:p>
            <a:r>
              <a:rPr lang="en-US" sz="3200" dirty="0">
                <a:latin typeface="NeueHaasGroteskDisp Pro" panose="020B0504020202020204" pitchFamily="34" charset="77"/>
              </a:rPr>
              <a:t>43-48	Maps</a:t>
            </a:r>
          </a:p>
          <a:p>
            <a:r>
              <a:rPr lang="en-US" sz="3200" dirty="0">
                <a:latin typeface="NeueHaasGroteskDisp Pro" panose="020B0504020202020204" pitchFamily="34" charset="77"/>
              </a:rPr>
              <a:t>49		Notes</a:t>
            </a:r>
          </a:p>
        </p:txBody>
      </p:sp>
      <p:sp>
        <p:nvSpPr>
          <p:cNvPr id="4" name="Date Placeholder 3">
            <a:extLst>
              <a:ext uri="{FF2B5EF4-FFF2-40B4-BE49-F238E27FC236}">
                <a16:creationId xmlns:a16="http://schemas.microsoft.com/office/drawing/2014/main" id="{8BF0B9D7-6D4E-42BE-9F37-2077CB40DA9E}"/>
              </a:ext>
            </a:extLst>
          </p:cNvPr>
          <p:cNvSpPr>
            <a:spLocks noGrp="1"/>
          </p:cNvSpPr>
          <p:nvPr>
            <p:ph type="dt" sz="half" idx="10"/>
          </p:nvPr>
        </p:nvSpPr>
        <p:spPr>
          <a:xfrm>
            <a:off x="8806249" y="6129337"/>
            <a:ext cx="1151238" cy="365125"/>
          </a:xfrm>
        </p:spPr>
        <p:txBody>
          <a:bodyPr/>
          <a:lstStyle>
            <a:lvl1pPr algn="r">
              <a:defRPr sz="1000" b="0" i="0">
                <a:solidFill>
                  <a:srgbClr val="41218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5" name="Slide Number Placeholder 5">
            <a:extLst>
              <a:ext uri="{FF2B5EF4-FFF2-40B4-BE49-F238E27FC236}">
                <a16:creationId xmlns:a16="http://schemas.microsoft.com/office/drawing/2014/main" id="{A00EDF59-C274-45D6-AF4F-10F6568D83CF}"/>
              </a:ext>
            </a:extLst>
          </p:cNvPr>
          <p:cNvSpPr>
            <a:spLocks noGrp="1"/>
          </p:cNvSpPr>
          <p:nvPr>
            <p:ph type="sldNum" sz="quarter" idx="12"/>
          </p:nvPr>
        </p:nvSpPr>
        <p:spPr>
          <a:xfrm>
            <a:off x="11236411" y="6129337"/>
            <a:ext cx="463378" cy="365125"/>
          </a:xfrm>
        </p:spPr>
        <p:txBody>
          <a:bodyPr/>
          <a:lstStyle>
            <a:lvl1pPr>
              <a:defRPr sz="1000" b="0" i="0">
                <a:solidFill>
                  <a:srgbClr val="412181"/>
                </a:solidFill>
                <a:latin typeface="NeueHaasGroteskDisp Pro" panose="020B0504020202020204" pitchFamily="34" charset="0"/>
              </a:defRPr>
            </a:lvl1pPr>
          </a:lstStyle>
          <a:p>
            <a:fld id="{7F43BC75-A8B3-524C-9CB1-17F14D0EA8E1}" type="slidenum">
              <a:rPr lang="en-US" smtClean="0"/>
              <a:pPr/>
              <a:t>1</a:t>
            </a:fld>
            <a:endParaRPr lang="en-US" dirty="0">
              <a:latin typeface="NeueHaasGroteskDisp Pro" panose="020B0504020202020204" pitchFamily="34" charset="0"/>
            </a:endParaRPr>
          </a:p>
        </p:txBody>
      </p:sp>
      <p:sp>
        <p:nvSpPr>
          <p:cNvPr id="6" name="Footer Placeholder 4">
            <a:extLst>
              <a:ext uri="{FF2B5EF4-FFF2-40B4-BE49-F238E27FC236}">
                <a16:creationId xmlns:a16="http://schemas.microsoft.com/office/drawing/2014/main" id="{35BCBA31-0712-4181-A969-AECBF39FAEF6}"/>
              </a:ext>
            </a:extLst>
          </p:cNvPr>
          <p:cNvSpPr>
            <a:spLocks noGrp="1"/>
          </p:cNvSpPr>
          <p:nvPr>
            <p:ph type="ftr" sz="quarter" idx="11"/>
          </p:nvPr>
        </p:nvSpPr>
        <p:spPr>
          <a:xfrm>
            <a:off x="6069184" y="6129337"/>
            <a:ext cx="2078038" cy="365125"/>
          </a:xfrm>
        </p:spPr>
        <p:txBody>
          <a:bodyPr/>
          <a:lstStyle>
            <a:lvl1pPr algn="l">
              <a:defRPr sz="1000" b="0" i="0">
                <a:solidFill>
                  <a:srgbClr val="412181"/>
                </a:solidFill>
                <a:latin typeface="NeueHaasGroteskDisp Pro" panose="020B0504020202020204" pitchFamily="34" charset="0"/>
              </a:defRPr>
            </a:lvl1pPr>
          </a:lstStyle>
          <a:p>
            <a:endParaRPr lang="en-US" dirty="0">
              <a:latin typeface="NeueHaasGroteskDisp Pro" panose="020B0504020202020204" pitchFamily="34" charset="0"/>
            </a:endParaRPr>
          </a:p>
        </p:txBody>
      </p:sp>
    </p:spTree>
    <p:extLst>
      <p:ext uri="{BB962C8B-B14F-4D97-AF65-F5344CB8AC3E}">
        <p14:creationId xmlns:p14="http://schemas.microsoft.com/office/powerpoint/2010/main" val="4609637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36004-9FE8-3645-85D5-EB884C5EFCC2}"/>
              </a:ext>
            </a:extLst>
          </p:cNvPr>
          <p:cNvSpPr>
            <a:spLocks noGrp="1"/>
          </p:cNvSpPr>
          <p:nvPr>
            <p:ph type="title"/>
          </p:nvPr>
        </p:nvSpPr>
        <p:spPr>
          <a:xfrm>
            <a:off x="451020" y="300977"/>
            <a:ext cx="10515600" cy="1325563"/>
          </a:xfrm>
        </p:spPr>
        <p:txBody>
          <a:bodyPr anchor="t">
            <a:noAutofit/>
          </a:bodyPr>
          <a:lstStyle/>
          <a:p>
            <a:pPr algn="l"/>
            <a:r>
              <a:rPr lang="en-US" sz="7000" dirty="0"/>
              <a:t>Major topic headline</a:t>
            </a:r>
          </a:p>
        </p:txBody>
      </p:sp>
      <p:sp>
        <p:nvSpPr>
          <p:cNvPr id="3" name="Content Placeholder 2">
            <a:extLst>
              <a:ext uri="{FF2B5EF4-FFF2-40B4-BE49-F238E27FC236}">
                <a16:creationId xmlns:a16="http://schemas.microsoft.com/office/drawing/2014/main" id="{89A8195A-FD0A-D240-A579-206BB4BB98BE}"/>
              </a:ext>
            </a:extLst>
          </p:cNvPr>
          <p:cNvSpPr>
            <a:spLocks noGrp="1"/>
          </p:cNvSpPr>
          <p:nvPr>
            <p:ph idx="1"/>
          </p:nvPr>
        </p:nvSpPr>
        <p:spPr>
          <a:xfrm>
            <a:off x="451020" y="1960561"/>
            <a:ext cx="10515600" cy="3992183"/>
          </a:xfrm>
        </p:spPr>
        <p:txBody>
          <a:bodyPr>
            <a:normAutofit/>
          </a:bodyPr>
          <a:lstStyle/>
          <a:p>
            <a:r>
              <a:rPr lang="en-US" dirty="0">
                <a:sym typeface="Neue Haas Grotesk Display Std 55 Roman"/>
              </a:rPr>
              <a:t>To solve for….</a:t>
            </a:r>
          </a:p>
          <a:p>
            <a:r>
              <a:rPr lang="en-US" dirty="0">
                <a:sym typeface="Neue Haas Grotesk Display Std 55 Roman"/>
              </a:rPr>
              <a:t>We are asking for…</a:t>
            </a:r>
          </a:p>
          <a:p>
            <a:r>
              <a:rPr lang="en-US" dirty="0">
                <a:sym typeface="Neue Haas Grotesk Display Std 55 Roman"/>
              </a:rPr>
              <a:t>That will be put to use by…</a:t>
            </a:r>
          </a:p>
          <a:p>
            <a:r>
              <a:rPr lang="en-US" dirty="0">
                <a:sym typeface="Neue Haas Grotesk Display Std 55 Roman"/>
              </a:rPr>
              <a:t>And the impact will be…</a:t>
            </a:r>
          </a:p>
          <a:p>
            <a:endParaRPr lang="en-US" dirty="0">
              <a:sym typeface="Neue Haas Grotesk Display Std 55 Roman"/>
            </a:endParaRPr>
          </a:p>
        </p:txBody>
      </p:sp>
      <p:sp>
        <p:nvSpPr>
          <p:cNvPr id="7" name="Date Placeholder 3">
            <a:extLst>
              <a:ext uri="{FF2B5EF4-FFF2-40B4-BE49-F238E27FC236}">
                <a16:creationId xmlns:a16="http://schemas.microsoft.com/office/drawing/2014/main" id="{A09FEC9C-9427-4142-BFCC-24C21D18E53F}"/>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tx2"/>
                </a:solidFill>
                <a:latin typeface="NeueHaasGroteskDisp Pro" panose="020B0504020202020204" pitchFamily="34" charset="0"/>
              </a:rPr>
              <a:t>XX/XX/XXXX</a:t>
            </a:r>
          </a:p>
        </p:txBody>
      </p:sp>
      <p:sp>
        <p:nvSpPr>
          <p:cNvPr id="8" name="Slide Number Placeholder 5">
            <a:extLst>
              <a:ext uri="{FF2B5EF4-FFF2-40B4-BE49-F238E27FC236}">
                <a16:creationId xmlns:a16="http://schemas.microsoft.com/office/drawing/2014/main" id="{2D02E134-809C-0646-9232-65BB1B635C51}"/>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latin typeface="NeueHaasGroteskDisp Pro" panose="020B0504020202020204" pitchFamily="34" charset="0"/>
              </a:rPr>
              <a:pPr/>
              <a:t>10</a:t>
            </a:fld>
            <a:endParaRPr lang="en-US" dirty="0">
              <a:latin typeface="NeueHaasGroteskDisp Pro" panose="020B0504020202020204" pitchFamily="34" charset="0"/>
            </a:endParaRPr>
          </a:p>
        </p:txBody>
      </p:sp>
      <p:sp>
        <p:nvSpPr>
          <p:cNvPr id="10" name="Footer Placeholder 4">
            <a:extLst>
              <a:ext uri="{FF2B5EF4-FFF2-40B4-BE49-F238E27FC236}">
                <a16:creationId xmlns:a16="http://schemas.microsoft.com/office/drawing/2014/main" id="{F8748D85-7286-D04E-8015-07650C61EFEC}"/>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pPr algn="l"/>
            <a:r>
              <a:rPr lang="en-US" dirty="0">
                <a:latin typeface="NeueHaasGroteskDisp Pro" panose="020B0504020202020204" pitchFamily="34" charset="0"/>
              </a:rPr>
              <a:t>Presentation Title</a:t>
            </a:r>
          </a:p>
        </p:txBody>
      </p:sp>
    </p:spTree>
    <p:extLst>
      <p:ext uri="{BB962C8B-B14F-4D97-AF65-F5344CB8AC3E}">
        <p14:creationId xmlns:p14="http://schemas.microsoft.com/office/powerpoint/2010/main" val="15746710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94EE4-FBDA-47D5-9258-5EAEE921BAC5}"/>
              </a:ext>
            </a:extLst>
          </p:cNvPr>
          <p:cNvSpPr>
            <a:spLocks noGrp="1"/>
          </p:cNvSpPr>
          <p:nvPr>
            <p:ph type="ctrTitle"/>
          </p:nvPr>
        </p:nvSpPr>
        <p:spPr>
          <a:xfrm>
            <a:off x="499532" y="820182"/>
            <a:ext cx="10301818" cy="2387600"/>
          </a:xfrm>
        </p:spPr>
        <p:txBody>
          <a:bodyPr/>
          <a:lstStyle/>
          <a:p>
            <a:pPr marR="0" rtl="0"/>
            <a:r>
              <a:rPr lang="en-US" sz="12000" b="0" i="0" u="none" strike="noStrike" baseline="30000" dirty="0">
                <a:solidFill>
                  <a:srgbClr val="FFFFFF"/>
                </a:solidFill>
                <a:latin typeface="NeueHaasGroteskDisp Pro Md" panose="020B0604020202020204" pitchFamily="34" charset="0"/>
              </a:rPr>
              <a:t>Lorem ipsum dolor sit </a:t>
            </a:r>
            <a:r>
              <a:rPr lang="en-US" sz="12000" b="0" i="0" u="none" strike="noStrike" baseline="30000" dirty="0" err="1">
                <a:solidFill>
                  <a:srgbClr val="FFFFFF"/>
                </a:solidFill>
                <a:latin typeface="NeueHaasGroteskDisp Pro Md" panose="020B0604020202020204" pitchFamily="34" charset="0"/>
              </a:rPr>
              <a:t>amet</a:t>
            </a:r>
            <a:r>
              <a:rPr lang="en-US" sz="12000" b="0" i="0" u="none" strike="noStrike" baseline="30000" dirty="0">
                <a:solidFill>
                  <a:srgbClr val="FFFFFF"/>
                </a:solidFill>
                <a:latin typeface="NeueHaasGroteskDisp Pro Md" panose="020B0604020202020204" pitchFamily="34" charset="0"/>
              </a:rPr>
              <a:t> con </a:t>
            </a:r>
            <a:r>
              <a:rPr lang="en-US" sz="12000" b="0" i="0" u="none" strike="noStrike" baseline="30000" dirty="0" err="1">
                <a:solidFill>
                  <a:srgbClr val="FFFFFF"/>
                </a:solidFill>
                <a:latin typeface="NeueHaasGroteskDisp Pro Md" panose="020B0604020202020204" pitchFamily="34" charset="0"/>
              </a:rPr>
              <a:t>secte</a:t>
            </a:r>
            <a:r>
              <a:rPr lang="en-US" sz="12000" b="0" i="0" u="none" strike="noStrike" baseline="30000" dirty="0">
                <a:solidFill>
                  <a:srgbClr val="FFFFFF"/>
                </a:solidFill>
                <a:latin typeface="NeueHaasGroteskDisp Pro Md" panose="020B0604020202020204" pitchFamily="34" charset="0"/>
              </a:rPr>
              <a:t> tur.</a:t>
            </a:r>
            <a:br>
              <a:rPr lang="en-US" sz="17500" b="0" i="0" u="none" strike="noStrike" baseline="30000" dirty="0">
                <a:solidFill>
                  <a:srgbClr val="FFFFFF"/>
                </a:solidFill>
                <a:latin typeface="NeueHaasGroteskDisp Pro Md" panose="020B0604020202020204" pitchFamily="34" charset="0"/>
              </a:rPr>
            </a:br>
            <a:endParaRPr lang="en-US" dirty="0"/>
          </a:p>
        </p:txBody>
      </p:sp>
      <p:sp>
        <p:nvSpPr>
          <p:cNvPr id="3" name="Date Placeholder 3">
            <a:extLst>
              <a:ext uri="{FF2B5EF4-FFF2-40B4-BE49-F238E27FC236}">
                <a16:creationId xmlns:a16="http://schemas.microsoft.com/office/drawing/2014/main" id="{1637A316-9A5F-4A7F-9313-2926A049A860}"/>
              </a:ext>
            </a:extLst>
          </p:cNvPr>
          <p:cNvSpPr>
            <a:spLocks noGrp="1"/>
          </p:cNvSpPr>
          <p:nvPr>
            <p:ph type="dt" sz="half" idx="10"/>
          </p:nvPr>
        </p:nvSpPr>
        <p:spPr>
          <a:xfrm>
            <a:off x="8806249" y="6129337"/>
            <a:ext cx="1151238" cy="365125"/>
          </a:xfrm>
        </p:spPr>
        <p:txBody>
          <a:bodyPr/>
          <a:lstStyle>
            <a:lvl1pPr algn="r">
              <a:defRPr sz="1000" b="0" i="0">
                <a:solidFill>
                  <a:schemeClr val="bg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4" name="Slide Number Placeholder 5">
            <a:extLst>
              <a:ext uri="{FF2B5EF4-FFF2-40B4-BE49-F238E27FC236}">
                <a16:creationId xmlns:a16="http://schemas.microsoft.com/office/drawing/2014/main" id="{ECA680CD-F1AD-4490-A5F8-A475C2E4691E}"/>
              </a:ext>
            </a:extLst>
          </p:cNvPr>
          <p:cNvSpPr txBox="1">
            <a:spLocks/>
          </p:cNvSpPr>
          <p:nvPr/>
        </p:nvSpPr>
        <p:spPr>
          <a:xfrm>
            <a:off x="11236411" y="6129337"/>
            <a:ext cx="463378" cy="365125"/>
          </a:xfrm>
          <a:prstGeom prst="rect">
            <a:avLst/>
          </a:prstGeom>
        </p:spPr>
        <p:txBody>
          <a:bodyPr/>
          <a:lstStyle>
            <a:defPPr>
              <a:defRPr lang="en-US"/>
            </a:defPPr>
            <a:lvl1pPr marL="0" algn="l" defTabSz="914400" rtl="0" eaLnBrk="1" latinLnBrk="0" hangingPunct="1">
              <a:defRPr sz="1000" b="0" i="0" kern="1200">
                <a:solidFill>
                  <a:schemeClr val="bg1"/>
                </a:solidFill>
                <a:latin typeface="NeueHaasGroteskDisp Pro" panose="020B05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43BC75-A8B3-524C-9CB1-17F14D0EA8E1}" type="slidenum">
              <a:rPr lang="en-US" smtClean="0"/>
              <a:pPr/>
              <a:t>11</a:t>
            </a:fld>
            <a:endParaRPr lang="en-US" dirty="0"/>
          </a:p>
        </p:txBody>
      </p:sp>
      <p:sp>
        <p:nvSpPr>
          <p:cNvPr id="5" name="Footer Placeholder 4">
            <a:extLst>
              <a:ext uri="{FF2B5EF4-FFF2-40B4-BE49-F238E27FC236}">
                <a16:creationId xmlns:a16="http://schemas.microsoft.com/office/drawing/2014/main" id="{9389516D-25D9-495D-B4D2-8C65BCDBE043}"/>
              </a:ext>
            </a:extLst>
          </p:cNvPr>
          <p:cNvSpPr txBox="1">
            <a:spLocks/>
          </p:cNvSpPr>
          <p:nvPr/>
        </p:nvSpPr>
        <p:spPr>
          <a:xfrm>
            <a:off x="6069184" y="6129337"/>
            <a:ext cx="2078038" cy="365125"/>
          </a:xfrm>
          <a:prstGeom prst="rect">
            <a:avLst/>
          </a:prstGeom>
        </p:spPr>
        <p:txBody>
          <a:bodyPr/>
          <a:lstStyle>
            <a:defPPr>
              <a:defRPr lang="en-US"/>
            </a:defPPr>
            <a:lvl1pPr marL="0" algn="l" defTabSz="914400" rtl="0" eaLnBrk="1" latinLnBrk="0" hangingPunct="1">
              <a:defRPr sz="1000" b="0" i="0" kern="1200">
                <a:solidFill>
                  <a:schemeClr val="bg1"/>
                </a:solidFill>
                <a:latin typeface="NeueHaasGroteskDisp Pro" panose="020B05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ooter</a:t>
            </a:r>
            <a:endParaRPr lang="en-US" dirty="0"/>
          </a:p>
        </p:txBody>
      </p:sp>
    </p:spTree>
    <p:extLst>
      <p:ext uri="{BB962C8B-B14F-4D97-AF65-F5344CB8AC3E}">
        <p14:creationId xmlns:p14="http://schemas.microsoft.com/office/powerpoint/2010/main" val="5271752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94EE4-FBDA-47D5-9258-5EAEE921BAC5}"/>
              </a:ext>
            </a:extLst>
          </p:cNvPr>
          <p:cNvSpPr>
            <a:spLocks noGrp="1"/>
          </p:cNvSpPr>
          <p:nvPr>
            <p:ph type="ctrTitle"/>
          </p:nvPr>
        </p:nvSpPr>
        <p:spPr>
          <a:xfrm>
            <a:off x="499532" y="820182"/>
            <a:ext cx="10644718" cy="2387600"/>
          </a:xfrm>
        </p:spPr>
        <p:txBody>
          <a:bodyPr/>
          <a:lstStyle/>
          <a:p>
            <a:pPr marR="0" algn="l" rtl="0"/>
            <a:r>
              <a:rPr lang="en-US" sz="9000" b="0" i="0" u="none" strike="noStrike" baseline="30000" dirty="0">
                <a:solidFill>
                  <a:srgbClr val="FFFFFF"/>
                </a:solidFill>
                <a:latin typeface="NeueHaasGroteskDisp Pro Md" panose="020B0604020202020204" pitchFamily="34" charset="0"/>
              </a:rPr>
              <a:t>Lorem ipsum dolor sit </a:t>
            </a:r>
            <a:r>
              <a:rPr lang="en-US" sz="9000" b="0" i="0" u="none" strike="noStrike" baseline="30000" dirty="0" err="1">
                <a:solidFill>
                  <a:srgbClr val="FFFFFF"/>
                </a:solidFill>
                <a:latin typeface="NeueHaasGroteskDisp Pro Md" panose="020B0604020202020204" pitchFamily="34" charset="0"/>
              </a:rPr>
              <a:t>amet</a:t>
            </a:r>
            <a:r>
              <a:rPr lang="en-US" sz="9000" b="0" i="0" u="none" strike="noStrike" baseline="30000" dirty="0">
                <a:solidFill>
                  <a:srgbClr val="FFFFFF"/>
                </a:solidFill>
                <a:latin typeface="NeueHaasGroteskDisp Pro Md" panose="020B0604020202020204" pitchFamily="34" charset="0"/>
              </a:rPr>
              <a:t>, </a:t>
            </a:r>
            <a:r>
              <a:rPr lang="en-US" sz="9000" b="0" i="0" u="none" strike="noStrike" baseline="30000" dirty="0" err="1">
                <a:solidFill>
                  <a:srgbClr val="FFFFFF"/>
                </a:solidFill>
                <a:latin typeface="NeueHaasGroteskDisp Pro Md" panose="020B0604020202020204" pitchFamily="34" charset="0"/>
              </a:rPr>
              <a:t>consectetur</a:t>
            </a:r>
            <a:r>
              <a:rPr lang="en-US" sz="9000" b="0" i="0" u="none" strike="noStrike" baseline="30000" dirty="0">
                <a:solidFill>
                  <a:srgbClr val="FFFFFF"/>
                </a:solidFill>
                <a:latin typeface="NeueHaasGroteskDisp Pro Md" panose="020B0604020202020204" pitchFamily="34" charset="0"/>
              </a:rPr>
              <a:t> </a:t>
            </a:r>
            <a:r>
              <a:rPr lang="en-US" sz="9000" b="0" i="0" u="none" strike="noStrike" baseline="30000" dirty="0" err="1">
                <a:solidFill>
                  <a:srgbClr val="FFFFFF"/>
                </a:solidFill>
                <a:latin typeface="NeueHaasGroteskDisp Pro Md" panose="020B0604020202020204" pitchFamily="34" charset="0"/>
              </a:rPr>
              <a:t>adipiscing</a:t>
            </a:r>
            <a:r>
              <a:rPr lang="en-US" sz="9000" b="0" i="0" u="none" strike="noStrike" baseline="30000" dirty="0">
                <a:solidFill>
                  <a:srgbClr val="FFFFFF"/>
                </a:solidFill>
                <a:latin typeface="NeueHaasGroteskDisp Pro Md" panose="020B0604020202020204" pitchFamily="34" charset="0"/>
              </a:rPr>
              <a:t> </a:t>
            </a:r>
            <a:r>
              <a:rPr lang="en-US" sz="9000" b="0" i="0" u="none" strike="noStrike" baseline="30000" dirty="0" err="1">
                <a:solidFill>
                  <a:srgbClr val="FFFFFF"/>
                </a:solidFill>
                <a:latin typeface="NeueHaasGroteskDisp Pro Md" panose="020B0604020202020204" pitchFamily="34" charset="0"/>
              </a:rPr>
              <a:t>elit</a:t>
            </a:r>
            <a:r>
              <a:rPr lang="en-US" sz="9000" b="0" i="0" u="none" strike="noStrike" baseline="30000" dirty="0">
                <a:solidFill>
                  <a:srgbClr val="FFFFFF"/>
                </a:solidFill>
                <a:latin typeface="NeueHaasGroteskDisp Pro Md" panose="020B0604020202020204" pitchFamily="34" charset="0"/>
              </a:rPr>
              <a:t>. </a:t>
            </a:r>
            <a:r>
              <a:rPr lang="en-US" sz="9000" b="0" i="0" u="none" strike="noStrike" baseline="30000" dirty="0" err="1">
                <a:solidFill>
                  <a:srgbClr val="FFFFFF"/>
                </a:solidFill>
                <a:latin typeface="NeueHaasGroteskDisp Pro Md" panose="020B0604020202020204" pitchFamily="34" charset="0"/>
              </a:rPr>
              <a:t>Quisque</a:t>
            </a:r>
            <a:r>
              <a:rPr lang="en-US" sz="9000" b="0" i="0" u="none" strike="noStrike" baseline="30000" dirty="0">
                <a:solidFill>
                  <a:srgbClr val="FFFFFF"/>
                </a:solidFill>
                <a:latin typeface="NeueHaasGroteskDisp Pro Md" panose="020B0604020202020204" pitchFamily="34" charset="0"/>
              </a:rPr>
              <a:t> </a:t>
            </a:r>
            <a:r>
              <a:rPr lang="en-US" sz="9000" b="0" i="0" u="none" strike="noStrike" baseline="30000" dirty="0" err="1">
                <a:solidFill>
                  <a:srgbClr val="FFFFFF"/>
                </a:solidFill>
                <a:latin typeface="NeueHaasGroteskDisp Pro Md" panose="020B0604020202020204" pitchFamily="34" charset="0"/>
              </a:rPr>
              <a:t>quis</a:t>
            </a:r>
            <a:r>
              <a:rPr lang="en-US" sz="9000" b="0" i="0" u="none" strike="noStrike" baseline="30000" dirty="0">
                <a:solidFill>
                  <a:srgbClr val="FFFFFF"/>
                </a:solidFill>
                <a:latin typeface="NeueHaasGroteskDisp Pro Md" panose="020B0604020202020204" pitchFamily="34" charset="0"/>
              </a:rPr>
              <a:t> </a:t>
            </a:r>
            <a:r>
              <a:rPr lang="en-US" sz="9000" b="0" i="0" u="none" strike="noStrike" baseline="30000" dirty="0" err="1">
                <a:solidFill>
                  <a:srgbClr val="FFFFFF"/>
                </a:solidFill>
                <a:latin typeface="NeueHaasGroteskDisp Pro Md" panose="020B0604020202020204" pitchFamily="34" charset="0"/>
              </a:rPr>
              <a:t>molestie</a:t>
            </a:r>
            <a:r>
              <a:rPr lang="en-US" sz="9000" b="0" i="0" u="none" strike="noStrike" baseline="30000" dirty="0">
                <a:solidFill>
                  <a:srgbClr val="FFFFFF"/>
                </a:solidFill>
                <a:latin typeface="NeueHaasGroteskDisp Pro Md" panose="020B0604020202020204" pitchFamily="34" charset="0"/>
              </a:rPr>
              <a:t> </a:t>
            </a:r>
            <a:r>
              <a:rPr lang="en-US" sz="9000" b="0" i="0" u="none" strike="noStrike" baseline="30000" dirty="0" err="1">
                <a:solidFill>
                  <a:srgbClr val="FFFFFF"/>
                </a:solidFill>
                <a:latin typeface="NeueHaasGroteskDisp Pro Md" panose="020B0604020202020204" pitchFamily="34" charset="0"/>
              </a:rPr>
              <a:t>neque</a:t>
            </a:r>
            <a:r>
              <a:rPr lang="en-US" sz="9000" b="0" i="0" u="none" strike="noStrike" baseline="30000" dirty="0">
                <a:solidFill>
                  <a:srgbClr val="FFFFFF"/>
                </a:solidFill>
                <a:latin typeface="NeueHaasGroteskDisp Pro Md" panose="020B0604020202020204" pitchFamily="34" charset="0"/>
              </a:rPr>
              <a:t>, vitae </a:t>
            </a:r>
            <a:r>
              <a:rPr lang="en-US" sz="9000" b="0" i="0" u="none" strike="noStrike" baseline="30000" dirty="0" err="1">
                <a:solidFill>
                  <a:srgbClr val="FFFFFF"/>
                </a:solidFill>
                <a:latin typeface="NeueHaasGroteskDisp Pro Md" panose="020B0604020202020204" pitchFamily="34" charset="0"/>
              </a:rPr>
              <a:t>ornare</a:t>
            </a:r>
            <a:r>
              <a:rPr lang="en-US" sz="9000" b="0" i="0" u="none" strike="noStrike" baseline="30000" dirty="0">
                <a:solidFill>
                  <a:srgbClr val="FFFFFF"/>
                </a:solidFill>
                <a:latin typeface="NeueHaasGroteskDisp Pro Md" panose="020B0604020202020204" pitchFamily="34" charset="0"/>
              </a:rPr>
              <a:t> </a:t>
            </a:r>
            <a:r>
              <a:rPr lang="en-US" sz="9000" b="0" i="0" u="none" strike="noStrike" baseline="30000" dirty="0" err="1">
                <a:solidFill>
                  <a:srgbClr val="FFFFFF"/>
                </a:solidFill>
                <a:latin typeface="NeueHaasGroteskDisp Pro Md" panose="020B0604020202020204" pitchFamily="34" charset="0"/>
              </a:rPr>
              <a:t>nibh</a:t>
            </a:r>
            <a:r>
              <a:rPr lang="en-US" sz="9000" b="0" i="0" u="none" strike="noStrike" baseline="30000" dirty="0">
                <a:solidFill>
                  <a:srgbClr val="FFFFFF"/>
                </a:solidFill>
                <a:latin typeface="NeueHaasGroteskDisp Pro Md" panose="020B0604020202020204" pitchFamily="34" charset="0"/>
              </a:rPr>
              <a:t>. Maecenas </a:t>
            </a:r>
            <a:r>
              <a:rPr lang="en-US" sz="9000" b="0" i="0" u="none" strike="noStrike" baseline="30000" dirty="0" err="1">
                <a:solidFill>
                  <a:srgbClr val="FFFFFF"/>
                </a:solidFill>
                <a:latin typeface="NeueHaasGroteskDisp Pro Md" panose="020B0604020202020204" pitchFamily="34" charset="0"/>
              </a:rPr>
              <a:t>enim</a:t>
            </a:r>
            <a:r>
              <a:rPr lang="en-US" sz="9000" b="0" i="0" u="none" strike="noStrike" baseline="30000" dirty="0">
                <a:solidFill>
                  <a:srgbClr val="FFFFFF"/>
                </a:solidFill>
                <a:latin typeface="NeueHaasGroteskDisp Pro Md" panose="020B0604020202020204" pitchFamily="34" charset="0"/>
              </a:rPr>
              <a:t> ipsum.</a:t>
            </a:r>
            <a:br>
              <a:rPr lang="en-US" sz="12000" b="0" i="0" u="none" strike="noStrike" baseline="30000" dirty="0">
                <a:solidFill>
                  <a:srgbClr val="FFFFFF"/>
                </a:solidFill>
                <a:latin typeface="NeueHaasGroteskDisp Pro Md" panose="020B0604020202020204" pitchFamily="34" charset="0"/>
              </a:rPr>
            </a:br>
            <a:br>
              <a:rPr lang="en-US" sz="17500" b="0" i="0" u="none" strike="noStrike" baseline="30000" dirty="0">
                <a:solidFill>
                  <a:srgbClr val="FFFFFF"/>
                </a:solidFill>
                <a:latin typeface="NeueHaasGroteskDisp Pro Md" panose="020B0604020202020204" pitchFamily="34" charset="0"/>
              </a:rPr>
            </a:br>
            <a:endParaRPr lang="en-US" dirty="0"/>
          </a:p>
        </p:txBody>
      </p:sp>
      <p:sp>
        <p:nvSpPr>
          <p:cNvPr id="3" name="Date Placeholder 3">
            <a:extLst>
              <a:ext uri="{FF2B5EF4-FFF2-40B4-BE49-F238E27FC236}">
                <a16:creationId xmlns:a16="http://schemas.microsoft.com/office/drawing/2014/main" id="{68FC20D4-1271-4B41-8960-E7BB407889D2}"/>
              </a:ext>
            </a:extLst>
          </p:cNvPr>
          <p:cNvSpPr>
            <a:spLocks noGrp="1"/>
          </p:cNvSpPr>
          <p:nvPr>
            <p:ph type="dt" sz="half" idx="10"/>
          </p:nvPr>
        </p:nvSpPr>
        <p:spPr>
          <a:xfrm>
            <a:off x="8806249" y="6129337"/>
            <a:ext cx="1151238" cy="365125"/>
          </a:xfrm>
        </p:spPr>
        <p:txBody>
          <a:bodyPr/>
          <a:lstStyle>
            <a:lvl1pPr algn="r">
              <a:defRPr sz="1000" b="0" i="0">
                <a:solidFill>
                  <a:schemeClr val="bg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4" name="Slide Number Placeholder 5">
            <a:extLst>
              <a:ext uri="{FF2B5EF4-FFF2-40B4-BE49-F238E27FC236}">
                <a16:creationId xmlns:a16="http://schemas.microsoft.com/office/drawing/2014/main" id="{F0AB7873-1716-4B6D-BB97-B7A4BE0A58CE}"/>
              </a:ext>
            </a:extLst>
          </p:cNvPr>
          <p:cNvSpPr txBox="1">
            <a:spLocks/>
          </p:cNvSpPr>
          <p:nvPr/>
        </p:nvSpPr>
        <p:spPr>
          <a:xfrm>
            <a:off x="11236411" y="6129337"/>
            <a:ext cx="463378" cy="365125"/>
          </a:xfrm>
          <a:prstGeom prst="rect">
            <a:avLst/>
          </a:prstGeom>
        </p:spPr>
        <p:txBody>
          <a:bodyPr/>
          <a:lstStyle>
            <a:defPPr>
              <a:defRPr lang="en-US"/>
            </a:defPPr>
            <a:lvl1pPr marL="0" algn="l" defTabSz="914400" rtl="0" eaLnBrk="1" latinLnBrk="0" hangingPunct="1">
              <a:defRPr sz="1000" b="0" i="0" kern="1200">
                <a:solidFill>
                  <a:schemeClr val="bg1"/>
                </a:solidFill>
                <a:latin typeface="NeueHaasGroteskDisp Pro" panose="020B05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43BC75-A8B3-524C-9CB1-17F14D0EA8E1}" type="slidenum">
              <a:rPr lang="en-US" smtClean="0"/>
              <a:pPr/>
              <a:t>12</a:t>
            </a:fld>
            <a:endParaRPr lang="en-US" dirty="0"/>
          </a:p>
        </p:txBody>
      </p:sp>
      <p:sp>
        <p:nvSpPr>
          <p:cNvPr id="5" name="Footer Placeholder 4">
            <a:extLst>
              <a:ext uri="{FF2B5EF4-FFF2-40B4-BE49-F238E27FC236}">
                <a16:creationId xmlns:a16="http://schemas.microsoft.com/office/drawing/2014/main" id="{2875BA7C-C0E2-4EED-8001-0356F04C5CFB}"/>
              </a:ext>
            </a:extLst>
          </p:cNvPr>
          <p:cNvSpPr txBox="1">
            <a:spLocks/>
          </p:cNvSpPr>
          <p:nvPr/>
        </p:nvSpPr>
        <p:spPr>
          <a:xfrm>
            <a:off x="6069184" y="6129337"/>
            <a:ext cx="2078038" cy="365125"/>
          </a:xfrm>
          <a:prstGeom prst="rect">
            <a:avLst/>
          </a:prstGeom>
        </p:spPr>
        <p:txBody>
          <a:bodyPr/>
          <a:lstStyle>
            <a:defPPr>
              <a:defRPr lang="en-US"/>
            </a:defPPr>
            <a:lvl1pPr marL="0" algn="l" defTabSz="914400" rtl="0" eaLnBrk="1" latinLnBrk="0" hangingPunct="1">
              <a:defRPr sz="1000" b="0" i="0" kern="1200">
                <a:solidFill>
                  <a:schemeClr val="bg1"/>
                </a:solidFill>
                <a:latin typeface="NeueHaasGroteskDisp Pro" panose="020B05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Footer</a:t>
            </a:r>
            <a:endParaRPr lang="en-US" dirty="0"/>
          </a:p>
        </p:txBody>
      </p:sp>
    </p:spTree>
    <p:extLst>
      <p:ext uri="{BB962C8B-B14F-4D97-AF65-F5344CB8AC3E}">
        <p14:creationId xmlns:p14="http://schemas.microsoft.com/office/powerpoint/2010/main" val="12117439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19" y="416695"/>
            <a:ext cx="8242407" cy="3187163"/>
          </a:xfrm>
        </p:spPr>
        <p:txBody>
          <a:bodyPr>
            <a:noAutofit/>
          </a:bodyPr>
          <a:lstStyle/>
          <a:p>
            <a:r>
              <a:rPr lang="en-US" sz="8000" dirty="0"/>
              <a:t>“Insert smart Quote here!”</a:t>
            </a:r>
          </a:p>
        </p:txBody>
      </p:sp>
      <p:sp>
        <p:nvSpPr>
          <p:cNvPr id="6" name="Date Placeholder 3">
            <a:extLst>
              <a:ext uri="{FF2B5EF4-FFF2-40B4-BE49-F238E27FC236}">
                <a16:creationId xmlns:a16="http://schemas.microsoft.com/office/drawing/2014/main" id="{666943E4-E82D-F24A-87E0-1AE69A7A17FF}"/>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bg1"/>
                </a:solidFill>
              </a:rPr>
              <a:t>XX/XX/XXXX</a:t>
            </a:r>
          </a:p>
        </p:txBody>
      </p:sp>
      <p:sp>
        <p:nvSpPr>
          <p:cNvPr id="7" name="Slide Number Placeholder 5">
            <a:extLst>
              <a:ext uri="{FF2B5EF4-FFF2-40B4-BE49-F238E27FC236}">
                <a16:creationId xmlns:a16="http://schemas.microsoft.com/office/drawing/2014/main" id="{574E14F3-7C5C-0140-87D0-54C0018B6B4A}"/>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solidFill>
                  <a:schemeClr val="bg1"/>
                </a:solidFill>
                <a:latin typeface="NeueHaasGroteskDisp Pro" panose="020B0504020202020204" pitchFamily="34" charset="77"/>
              </a:rPr>
              <a:pPr/>
              <a:t>13</a:t>
            </a:fld>
            <a:endParaRPr lang="en-US" dirty="0">
              <a:solidFill>
                <a:schemeClr val="bg1"/>
              </a:solidFill>
              <a:latin typeface="NeueHaasGroteskDisp Pro" panose="020B0504020202020204" pitchFamily="34" charset="77"/>
            </a:endParaRPr>
          </a:p>
        </p:txBody>
      </p:sp>
      <p:sp>
        <p:nvSpPr>
          <p:cNvPr id="11" name="Footer Placeholder 4">
            <a:extLst>
              <a:ext uri="{FF2B5EF4-FFF2-40B4-BE49-F238E27FC236}">
                <a16:creationId xmlns:a16="http://schemas.microsoft.com/office/drawing/2014/main" id="{A014C21B-4600-2A47-8121-FCA276B260D4}"/>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pPr algn="l"/>
            <a:r>
              <a:rPr lang="en-US" dirty="0">
                <a:solidFill>
                  <a:schemeClr val="bg1"/>
                </a:solidFill>
                <a:latin typeface="NeueHaasGroteskDisp Pro" panose="020B0504020202020204" pitchFamily="34" charset="77"/>
              </a:rPr>
              <a:t>Presentation Title</a:t>
            </a:r>
          </a:p>
        </p:txBody>
      </p:sp>
      <p:sp>
        <p:nvSpPr>
          <p:cNvPr id="8" name="Text Placeholder 2">
            <a:extLst>
              <a:ext uri="{FF2B5EF4-FFF2-40B4-BE49-F238E27FC236}">
                <a16:creationId xmlns:a16="http://schemas.microsoft.com/office/drawing/2014/main" id="{27070A0B-ADAA-B74D-B263-1B07987AF33A}"/>
              </a:ext>
            </a:extLst>
          </p:cNvPr>
          <p:cNvSpPr txBox="1">
            <a:spLocks/>
          </p:cNvSpPr>
          <p:nvPr/>
        </p:nvSpPr>
        <p:spPr>
          <a:xfrm>
            <a:off x="2680823" y="2600599"/>
            <a:ext cx="3729789" cy="617554"/>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bg1"/>
                </a:solidFill>
                <a:latin typeface="NeueHaasGroteskDisp Pro" panose="020B0504020202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200" dirty="0">
                <a:solidFill>
                  <a:schemeClr val="bg2"/>
                </a:solidFill>
                <a:latin typeface="NeueHaasGroteskDisp Pro" panose="020B0504020202020204" pitchFamily="34" charset="0"/>
              </a:rPr>
              <a:t>Wise Person</a:t>
            </a:r>
          </a:p>
        </p:txBody>
      </p:sp>
    </p:spTree>
    <p:extLst>
      <p:ext uri="{BB962C8B-B14F-4D97-AF65-F5344CB8AC3E}">
        <p14:creationId xmlns:p14="http://schemas.microsoft.com/office/powerpoint/2010/main" val="16864807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510D2-7EB1-46A7-B4C5-5B2D65906AD1}"/>
              </a:ext>
            </a:extLst>
          </p:cNvPr>
          <p:cNvSpPr>
            <a:spLocks noGrp="1"/>
          </p:cNvSpPr>
          <p:nvPr>
            <p:ph type="title"/>
          </p:nvPr>
        </p:nvSpPr>
        <p:spPr>
          <a:xfrm>
            <a:off x="451020" y="445723"/>
            <a:ext cx="6083130" cy="1094451"/>
          </a:xfrm>
        </p:spPr>
        <p:txBody>
          <a:bodyPr>
            <a:noAutofit/>
          </a:bodyPr>
          <a:lstStyle/>
          <a:p>
            <a:r>
              <a:rPr lang="en-US" sz="4800" dirty="0"/>
              <a:t>Lorem ipsum dolor sit </a:t>
            </a:r>
            <a:r>
              <a:rPr lang="en-US" sz="4800" dirty="0" err="1"/>
              <a:t>amet</a:t>
            </a:r>
            <a:r>
              <a:rPr lang="en-US" sz="4800" dirty="0"/>
              <a:t> con </a:t>
            </a:r>
            <a:r>
              <a:rPr lang="en-US" sz="4800" dirty="0" err="1"/>
              <a:t>secte</a:t>
            </a:r>
            <a:r>
              <a:rPr lang="en-US" sz="4800" dirty="0"/>
              <a:t> tur.</a:t>
            </a:r>
          </a:p>
        </p:txBody>
      </p:sp>
      <p:sp>
        <p:nvSpPr>
          <p:cNvPr id="3" name="Content Placeholder 2">
            <a:extLst>
              <a:ext uri="{FF2B5EF4-FFF2-40B4-BE49-F238E27FC236}">
                <a16:creationId xmlns:a16="http://schemas.microsoft.com/office/drawing/2014/main" id="{A14D6954-136C-43BC-8583-5D793DD90BB0}"/>
              </a:ext>
            </a:extLst>
          </p:cNvPr>
          <p:cNvSpPr>
            <a:spLocks noGrp="1"/>
          </p:cNvSpPr>
          <p:nvPr>
            <p:ph idx="1"/>
          </p:nvPr>
        </p:nvSpPr>
        <p:spPr>
          <a:xfrm>
            <a:off x="451020" y="2019299"/>
            <a:ext cx="5051856" cy="1552576"/>
          </a:xfrm>
        </p:spPr>
        <p:txBody>
          <a:bodyPr>
            <a:noAutofit/>
          </a:bodyPr>
          <a:lstStyle/>
          <a:p>
            <a:r>
              <a:rPr lang="en-US" sz="2400" dirty="0"/>
              <a:t>Lorem ipsum dolor sit </a:t>
            </a:r>
            <a:r>
              <a:rPr lang="en-US" sz="2400" dirty="0" err="1"/>
              <a:t>amet</a:t>
            </a:r>
            <a:r>
              <a:rPr lang="en-US" sz="2400" dirty="0"/>
              <a:t>, </a:t>
            </a:r>
            <a:r>
              <a:rPr lang="en-US" sz="2400" dirty="0" err="1"/>
              <a:t>consectetur</a:t>
            </a:r>
            <a:r>
              <a:rPr lang="en-US" sz="2400" dirty="0"/>
              <a:t> </a:t>
            </a:r>
            <a:r>
              <a:rPr lang="en-US" sz="2400" dirty="0" err="1"/>
              <a:t>adipiscing</a:t>
            </a:r>
            <a:r>
              <a:rPr lang="en-US" sz="2400" dirty="0"/>
              <a:t> </a:t>
            </a:r>
            <a:r>
              <a:rPr lang="en-US" sz="2400" dirty="0" err="1"/>
              <a:t>elit</a:t>
            </a:r>
            <a:r>
              <a:rPr lang="en-US" sz="2400" dirty="0"/>
              <a:t>. </a:t>
            </a:r>
            <a:r>
              <a:rPr lang="en-US" sz="2400" dirty="0" err="1"/>
              <a:t>Quisque</a:t>
            </a:r>
            <a:r>
              <a:rPr lang="en-US" sz="2400" dirty="0"/>
              <a:t> </a:t>
            </a:r>
            <a:r>
              <a:rPr lang="en-US" sz="2400" dirty="0" err="1"/>
              <a:t>quis</a:t>
            </a:r>
            <a:r>
              <a:rPr lang="en-US" sz="2400" dirty="0"/>
              <a:t> </a:t>
            </a:r>
            <a:r>
              <a:rPr lang="en-US" sz="2400" dirty="0" err="1"/>
              <a:t>molestie</a:t>
            </a:r>
            <a:r>
              <a:rPr lang="en-US" sz="2400" dirty="0"/>
              <a:t> </a:t>
            </a:r>
            <a:r>
              <a:rPr lang="en-US" sz="2400" dirty="0" err="1"/>
              <a:t>neque</a:t>
            </a:r>
            <a:r>
              <a:rPr lang="en-US" sz="2400" dirty="0"/>
              <a:t>, vitae </a:t>
            </a:r>
            <a:r>
              <a:rPr lang="en-US" sz="2400" dirty="0" err="1"/>
              <a:t>ornare</a:t>
            </a:r>
            <a:r>
              <a:rPr lang="en-US" sz="2400" dirty="0"/>
              <a:t> </a:t>
            </a:r>
            <a:r>
              <a:rPr lang="en-US" sz="2400" dirty="0" err="1"/>
              <a:t>nibh</a:t>
            </a:r>
            <a:r>
              <a:rPr lang="en-US" sz="2400" dirty="0"/>
              <a:t>. Maecenas </a:t>
            </a:r>
            <a:r>
              <a:rPr lang="en-US" sz="2400" dirty="0" err="1"/>
              <a:t>enim</a:t>
            </a:r>
            <a:r>
              <a:rPr lang="en-US" sz="2400" dirty="0"/>
              <a:t> ipsum.</a:t>
            </a:r>
          </a:p>
        </p:txBody>
      </p:sp>
      <p:sp>
        <p:nvSpPr>
          <p:cNvPr id="4" name="Date Placeholder 3">
            <a:extLst>
              <a:ext uri="{FF2B5EF4-FFF2-40B4-BE49-F238E27FC236}">
                <a16:creationId xmlns:a16="http://schemas.microsoft.com/office/drawing/2014/main" id="{43A6FB7E-0EBD-45F0-B7DA-D589E691F63A}"/>
              </a:ext>
            </a:extLst>
          </p:cNvPr>
          <p:cNvSpPr>
            <a:spLocks noGrp="1"/>
          </p:cNvSpPr>
          <p:nvPr>
            <p:ph type="dt" sz="half" idx="10"/>
          </p:nvPr>
        </p:nvSpPr>
        <p:spPr>
          <a:xfrm>
            <a:off x="8806249" y="6129337"/>
            <a:ext cx="1151238" cy="365125"/>
          </a:xfrm>
        </p:spPr>
        <p:txBody>
          <a:bodyPr/>
          <a:lstStyle>
            <a:lvl1pPr algn="r">
              <a:defRPr sz="1000" b="0" i="0">
                <a:solidFill>
                  <a:srgbClr val="41218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5" name="Slide Number Placeholder 5">
            <a:extLst>
              <a:ext uri="{FF2B5EF4-FFF2-40B4-BE49-F238E27FC236}">
                <a16:creationId xmlns:a16="http://schemas.microsoft.com/office/drawing/2014/main" id="{B6B3E468-309F-4A7F-95BE-858421A0D654}"/>
              </a:ext>
            </a:extLst>
          </p:cNvPr>
          <p:cNvSpPr>
            <a:spLocks noGrp="1"/>
          </p:cNvSpPr>
          <p:nvPr>
            <p:ph type="sldNum" sz="quarter" idx="12"/>
          </p:nvPr>
        </p:nvSpPr>
        <p:spPr>
          <a:xfrm>
            <a:off x="11236411" y="6129337"/>
            <a:ext cx="463378" cy="365125"/>
          </a:xfrm>
        </p:spPr>
        <p:txBody>
          <a:bodyPr/>
          <a:lstStyle>
            <a:lvl1pPr>
              <a:defRPr sz="1000" b="0" i="0">
                <a:solidFill>
                  <a:srgbClr val="412181"/>
                </a:solidFill>
                <a:latin typeface="NeueHaasGroteskDisp Pro" panose="020B0504020202020204" pitchFamily="34" charset="0"/>
              </a:defRPr>
            </a:lvl1pPr>
          </a:lstStyle>
          <a:p>
            <a:fld id="{7F43BC75-A8B3-524C-9CB1-17F14D0EA8E1}" type="slidenum">
              <a:rPr lang="en-US" smtClean="0"/>
              <a:pPr/>
              <a:t>14</a:t>
            </a:fld>
            <a:endParaRPr lang="en-US" dirty="0">
              <a:latin typeface="NeueHaasGroteskDisp Pro" panose="020B0504020202020204" pitchFamily="34" charset="0"/>
            </a:endParaRPr>
          </a:p>
        </p:txBody>
      </p:sp>
      <p:sp>
        <p:nvSpPr>
          <p:cNvPr id="6" name="Footer Placeholder 4">
            <a:extLst>
              <a:ext uri="{FF2B5EF4-FFF2-40B4-BE49-F238E27FC236}">
                <a16:creationId xmlns:a16="http://schemas.microsoft.com/office/drawing/2014/main" id="{E176C7D2-3A23-4D68-A76C-DEF0FD4CF8F3}"/>
              </a:ext>
            </a:extLst>
          </p:cNvPr>
          <p:cNvSpPr>
            <a:spLocks noGrp="1"/>
          </p:cNvSpPr>
          <p:nvPr>
            <p:ph type="ftr" sz="quarter" idx="11"/>
          </p:nvPr>
        </p:nvSpPr>
        <p:spPr>
          <a:xfrm>
            <a:off x="6069184" y="6129337"/>
            <a:ext cx="2078038" cy="365125"/>
          </a:xfrm>
        </p:spPr>
        <p:txBody>
          <a:bodyPr/>
          <a:lstStyle>
            <a:lvl1pPr algn="l">
              <a:defRPr sz="1000" b="0" i="0">
                <a:solidFill>
                  <a:srgbClr val="412181"/>
                </a:solidFill>
                <a:latin typeface="NeueHaasGroteskDisp Pro" panose="020B0504020202020204" pitchFamily="34" charset="0"/>
              </a:defRPr>
            </a:lvl1pPr>
          </a:lstStyle>
          <a:p>
            <a:endParaRPr lang="en-US" dirty="0">
              <a:latin typeface="NeueHaasGroteskDisp Pro" panose="020B0504020202020204" pitchFamily="34" charset="0"/>
            </a:endParaRPr>
          </a:p>
        </p:txBody>
      </p:sp>
    </p:spTree>
    <p:extLst>
      <p:ext uri="{BB962C8B-B14F-4D97-AF65-F5344CB8AC3E}">
        <p14:creationId xmlns:p14="http://schemas.microsoft.com/office/powerpoint/2010/main" val="1324906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510D2-7EB1-46A7-B4C5-5B2D65906AD1}"/>
              </a:ext>
            </a:extLst>
          </p:cNvPr>
          <p:cNvSpPr>
            <a:spLocks noGrp="1"/>
          </p:cNvSpPr>
          <p:nvPr>
            <p:ph type="title"/>
          </p:nvPr>
        </p:nvSpPr>
        <p:spPr>
          <a:xfrm>
            <a:off x="451019" y="445723"/>
            <a:ext cx="8702505" cy="1094451"/>
          </a:xfrm>
        </p:spPr>
        <p:txBody>
          <a:bodyPr>
            <a:noAutofit/>
          </a:bodyPr>
          <a:lstStyle/>
          <a:p>
            <a:r>
              <a:rPr lang="en-US" sz="6800" dirty="0"/>
              <a:t>Lorem ipsum dolor sit </a:t>
            </a:r>
            <a:r>
              <a:rPr lang="en-US" sz="6800" dirty="0" err="1"/>
              <a:t>amet</a:t>
            </a:r>
            <a:r>
              <a:rPr lang="en-US" sz="6800" dirty="0"/>
              <a:t> con </a:t>
            </a:r>
            <a:r>
              <a:rPr lang="en-US" sz="6800" dirty="0" err="1"/>
              <a:t>secte</a:t>
            </a:r>
            <a:r>
              <a:rPr lang="en-US" sz="6800" dirty="0"/>
              <a:t> tur.</a:t>
            </a:r>
          </a:p>
        </p:txBody>
      </p:sp>
      <p:sp>
        <p:nvSpPr>
          <p:cNvPr id="6" name="Date Placeholder 3">
            <a:extLst>
              <a:ext uri="{FF2B5EF4-FFF2-40B4-BE49-F238E27FC236}">
                <a16:creationId xmlns:a16="http://schemas.microsoft.com/office/drawing/2014/main" id="{20BDD3E8-C3B5-44B9-8EA2-384582EE4250}"/>
              </a:ext>
            </a:extLst>
          </p:cNvPr>
          <p:cNvSpPr>
            <a:spLocks noGrp="1"/>
          </p:cNvSpPr>
          <p:nvPr>
            <p:ph type="dt" sz="half" idx="10"/>
          </p:nvPr>
        </p:nvSpPr>
        <p:spPr>
          <a:xfrm>
            <a:off x="8806249" y="6129337"/>
            <a:ext cx="1151238" cy="365125"/>
          </a:xfrm>
        </p:spPr>
        <p:txBody>
          <a:bodyPr/>
          <a:lstStyle>
            <a:lvl1pPr algn="r">
              <a:defRPr sz="1000" b="0" i="0">
                <a:solidFill>
                  <a:srgbClr val="41218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7" name="Slide Number Placeholder 5">
            <a:extLst>
              <a:ext uri="{FF2B5EF4-FFF2-40B4-BE49-F238E27FC236}">
                <a16:creationId xmlns:a16="http://schemas.microsoft.com/office/drawing/2014/main" id="{0AE3E790-E09C-4468-A50C-FB1800B3BA2E}"/>
              </a:ext>
            </a:extLst>
          </p:cNvPr>
          <p:cNvSpPr>
            <a:spLocks noGrp="1"/>
          </p:cNvSpPr>
          <p:nvPr>
            <p:ph type="sldNum" sz="quarter" idx="12"/>
          </p:nvPr>
        </p:nvSpPr>
        <p:spPr>
          <a:xfrm>
            <a:off x="11236411" y="6129337"/>
            <a:ext cx="463378" cy="365125"/>
          </a:xfrm>
        </p:spPr>
        <p:txBody>
          <a:bodyPr/>
          <a:lstStyle>
            <a:lvl1pPr>
              <a:defRPr sz="1000" b="0" i="0">
                <a:solidFill>
                  <a:srgbClr val="412181"/>
                </a:solidFill>
                <a:latin typeface="NeueHaasGroteskDisp Pro" panose="020B0504020202020204" pitchFamily="34" charset="0"/>
              </a:defRPr>
            </a:lvl1pPr>
          </a:lstStyle>
          <a:p>
            <a:fld id="{7F43BC75-A8B3-524C-9CB1-17F14D0EA8E1}" type="slidenum">
              <a:rPr lang="en-US" smtClean="0"/>
              <a:pPr/>
              <a:t>15</a:t>
            </a:fld>
            <a:endParaRPr lang="en-US" dirty="0">
              <a:latin typeface="NeueHaasGroteskDisp Pro" panose="020B0504020202020204" pitchFamily="34" charset="0"/>
            </a:endParaRPr>
          </a:p>
        </p:txBody>
      </p:sp>
      <p:sp>
        <p:nvSpPr>
          <p:cNvPr id="8" name="Footer Placeholder 4">
            <a:extLst>
              <a:ext uri="{FF2B5EF4-FFF2-40B4-BE49-F238E27FC236}">
                <a16:creationId xmlns:a16="http://schemas.microsoft.com/office/drawing/2014/main" id="{3EB1189B-A393-480A-B403-222B26DC08F3}"/>
              </a:ext>
            </a:extLst>
          </p:cNvPr>
          <p:cNvSpPr>
            <a:spLocks noGrp="1"/>
          </p:cNvSpPr>
          <p:nvPr>
            <p:ph type="ftr" sz="quarter" idx="11"/>
          </p:nvPr>
        </p:nvSpPr>
        <p:spPr>
          <a:xfrm>
            <a:off x="6069184" y="6129337"/>
            <a:ext cx="2078038" cy="365125"/>
          </a:xfrm>
        </p:spPr>
        <p:txBody>
          <a:bodyPr/>
          <a:lstStyle>
            <a:lvl1pPr algn="l">
              <a:defRPr sz="1000" b="0" i="0">
                <a:solidFill>
                  <a:srgbClr val="412181"/>
                </a:solidFill>
                <a:latin typeface="NeueHaasGroteskDisp Pro" panose="020B0504020202020204" pitchFamily="34" charset="0"/>
              </a:defRPr>
            </a:lvl1pPr>
          </a:lstStyle>
          <a:p>
            <a:endParaRPr lang="en-US" dirty="0">
              <a:latin typeface="NeueHaasGroteskDisp Pro" panose="020B0504020202020204" pitchFamily="34" charset="0"/>
            </a:endParaRPr>
          </a:p>
        </p:txBody>
      </p:sp>
    </p:spTree>
    <p:extLst>
      <p:ext uri="{BB962C8B-B14F-4D97-AF65-F5344CB8AC3E}">
        <p14:creationId xmlns:p14="http://schemas.microsoft.com/office/powerpoint/2010/main" val="23554940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510D2-7EB1-46A7-B4C5-5B2D65906AD1}"/>
              </a:ext>
            </a:extLst>
          </p:cNvPr>
          <p:cNvSpPr>
            <a:spLocks noGrp="1"/>
          </p:cNvSpPr>
          <p:nvPr>
            <p:ph type="title"/>
          </p:nvPr>
        </p:nvSpPr>
        <p:spPr>
          <a:xfrm>
            <a:off x="451019" y="445723"/>
            <a:ext cx="10531306" cy="1094451"/>
          </a:xfrm>
        </p:spPr>
        <p:txBody>
          <a:bodyPr>
            <a:noAutofit/>
          </a:bodyPr>
          <a:lstStyle/>
          <a:p>
            <a:r>
              <a:rPr lang="en-US" sz="6000" dirty="0"/>
              <a:t>Lorem ipsum dolor sit </a:t>
            </a:r>
            <a:r>
              <a:rPr lang="en-US" sz="6000" dirty="0" err="1"/>
              <a:t>amet</a:t>
            </a:r>
            <a:r>
              <a:rPr lang="en-US" sz="6000" dirty="0"/>
              <a:t>, </a:t>
            </a:r>
            <a:r>
              <a:rPr lang="en-US" sz="6000" dirty="0" err="1"/>
              <a:t>consectetur</a:t>
            </a:r>
            <a:r>
              <a:rPr lang="en-US" sz="6000" dirty="0"/>
              <a:t> </a:t>
            </a:r>
            <a:r>
              <a:rPr lang="en-US" sz="6000" dirty="0" err="1"/>
              <a:t>adipiscing</a:t>
            </a:r>
            <a:r>
              <a:rPr lang="en-US" sz="6000" dirty="0"/>
              <a:t> </a:t>
            </a:r>
            <a:r>
              <a:rPr lang="en-US" sz="6000" dirty="0" err="1"/>
              <a:t>elit</a:t>
            </a:r>
            <a:r>
              <a:rPr lang="en-US" sz="6000" dirty="0"/>
              <a:t>. </a:t>
            </a:r>
            <a:r>
              <a:rPr lang="en-US" sz="6000" dirty="0" err="1"/>
              <a:t>Quisque</a:t>
            </a:r>
            <a:r>
              <a:rPr lang="en-US" sz="6000" dirty="0"/>
              <a:t> </a:t>
            </a:r>
            <a:r>
              <a:rPr lang="en-US" sz="6000" dirty="0" err="1"/>
              <a:t>quis</a:t>
            </a:r>
            <a:r>
              <a:rPr lang="en-US" sz="6000" dirty="0"/>
              <a:t> </a:t>
            </a:r>
            <a:r>
              <a:rPr lang="en-US" sz="6000" dirty="0" err="1"/>
              <a:t>molestie</a:t>
            </a:r>
            <a:r>
              <a:rPr lang="en-US" sz="6000" dirty="0"/>
              <a:t> </a:t>
            </a:r>
            <a:r>
              <a:rPr lang="en-US" sz="6000" dirty="0" err="1"/>
              <a:t>neque</a:t>
            </a:r>
            <a:r>
              <a:rPr lang="en-US" sz="6000" dirty="0"/>
              <a:t>, vitae </a:t>
            </a:r>
            <a:r>
              <a:rPr lang="en-US" sz="6000" dirty="0" err="1"/>
              <a:t>ornare</a:t>
            </a:r>
            <a:r>
              <a:rPr lang="en-US" sz="6000" dirty="0"/>
              <a:t> </a:t>
            </a:r>
            <a:r>
              <a:rPr lang="en-US" sz="6000" dirty="0" err="1"/>
              <a:t>nibh</a:t>
            </a:r>
            <a:r>
              <a:rPr lang="en-US" sz="6000" dirty="0"/>
              <a:t>. Maecenas </a:t>
            </a:r>
            <a:r>
              <a:rPr lang="en-US" sz="6000" dirty="0" err="1"/>
              <a:t>enim</a:t>
            </a:r>
            <a:r>
              <a:rPr lang="en-US" sz="6000" dirty="0"/>
              <a:t> ipsum.</a:t>
            </a:r>
          </a:p>
        </p:txBody>
      </p:sp>
      <p:sp>
        <p:nvSpPr>
          <p:cNvPr id="3" name="Date Placeholder 3">
            <a:extLst>
              <a:ext uri="{FF2B5EF4-FFF2-40B4-BE49-F238E27FC236}">
                <a16:creationId xmlns:a16="http://schemas.microsoft.com/office/drawing/2014/main" id="{FC2DD2CC-747D-4CD8-841C-FC017B04ACED}"/>
              </a:ext>
            </a:extLst>
          </p:cNvPr>
          <p:cNvSpPr>
            <a:spLocks noGrp="1"/>
          </p:cNvSpPr>
          <p:nvPr>
            <p:ph type="dt" sz="half" idx="10"/>
          </p:nvPr>
        </p:nvSpPr>
        <p:spPr>
          <a:xfrm>
            <a:off x="8806249" y="6129337"/>
            <a:ext cx="1151238" cy="365125"/>
          </a:xfrm>
        </p:spPr>
        <p:txBody>
          <a:bodyPr/>
          <a:lstStyle>
            <a:lvl1pPr algn="r">
              <a:defRPr sz="1000" b="0" i="0">
                <a:solidFill>
                  <a:srgbClr val="41218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4" name="Slide Number Placeholder 5">
            <a:extLst>
              <a:ext uri="{FF2B5EF4-FFF2-40B4-BE49-F238E27FC236}">
                <a16:creationId xmlns:a16="http://schemas.microsoft.com/office/drawing/2014/main" id="{5C0C3B33-2CD6-47E1-81A5-DD6CE5DE153C}"/>
              </a:ext>
            </a:extLst>
          </p:cNvPr>
          <p:cNvSpPr>
            <a:spLocks noGrp="1"/>
          </p:cNvSpPr>
          <p:nvPr>
            <p:ph type="sldNum" sz="quarter" idx="12"/>
          </p:nvPr>
        </p:nvSpPr>
        <p:spPr>
          <a:xfrm>
            <a:off x="11236411" y="6129337"/>
            <a:ext cx="463378" cy="365125"/>
          </a:xfrm>
        </p:spPr>
        <p:txBody>
          <a:bodyPr/>
          <a:lstStyle>
            <a:lvl1pPr>
              <a:defRPr sz="1000" b="0" i="0">
                <a:solidFill>
                  <a:srgbClr val="412181"/>
                </a:solidFill>
                <a:latin typeface="NeueHaasGroteskDisp Pro" panose="020B0504020202020204" pitchFamily="34" charset="0"/>
              </a:defRPr>
            </a:lvl1pPr>
          </a:lstStyle>
          <a:p>
            <a:fld id="{7F43BC75-A8B3-524C-9CB1-17F14D0EA8E1}" type="slidenum">
              <a:rPr lang="en-US" smtClean="0"/>
              <a:pPr/>
              <a:t>16</a:t>
            </a:fld>
            <a:endParaRPr lang="en-US" dirty="0">
              <a:latin typeface="NeueHaasGroteskDisp Pro" panose="020B0504020202020204" pitchFamily="34" charset="0"/>
            </a:endParaRPr>
          </a:p>
        </p:txBody>
      </p:sp>
      <p:sp>
        <p:nvSpPr>
          <p:cNvPr id="5" name="Footer Placeholder 4">
            <a:extLst>
              <a:ext uri="{FF2B5EF4-FFF2-40B4-BE49-F238E27FC236}">
                <a16:creationId xmlns:a16="http://schemas.microsoft.com/office/drawing/2014/main" id="{0712C7E2-3645-4549-B4B5-9B7346AE0713}"/>
              </a:ext>
            </a:extLst>
          </p:cNvPr>
          <p:cNvSpPr>
            <a:spLocks noGrp="1"/>
          </p:cNvSpPr>
          <p:nvPr>
            <p:ph type="ftr" sz="quarter" idx="11"/>
          </p:nvPr>
        </p:nvSpPr>
        <p:spPr>
          <a:xfrm>
            <a:off x="6069184" y="6129337"/>
            <a:ext cx="2078038" cy="365125"/>
          </a:xfrm>
        </p:spPr>
        <p:txBody>
          <a:bodyPr/>
          <a:lstStyle>
            <a:lvl1pPr algn="l">
              <a:defRPr sz="1000" b="0" i="0">
                <a:solidFill>
                  <a:srgbClr val="412181"/>
                </a:solidFill>
                <a:latin typeface="NeueHaasGroteskDisp Pro" panose="020B0504020202020204" pitchFamily="34" charset="0"/>
              </a:defRPr>
            </a:lvl1pPr>
          </a:lstStyle>
          <a:p>
            <a:endParaRPr lang="en-US" dirty="0">
              <a:latin typeface="NeueHaasGroteskDisp Pro" panose="020B0504020202020204" pitchFamily="34" charset="0"/>
            </a:endParaRPr>
          </a:p>
        </p:txBody>
      </p:sp>
    </p:spTree>
    <p:extLst>
      <p:ext uri="{BB962C8B-B14F-4D97-AF65-F5344CB8AC3E}">
        <p14:creationId xmlns:p14="http://schemas.microsoft.com/office/powerpoint/2010/main" val="11607195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9F85BB4-362D-2748-9902-00D2E32D0F4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p:txBody>
          <a:bodyPr>
            <a:noAutofit/>
          </a:bodyPr>
          <a:lstStyle/>
          <a:p>
            <a:r>
              <a:rPr lang="en-US" sz="7000" dirty="0"/>
              <a:t>Mission</a:t>
            </a:r>
            <a:endParaRPr lang="en-US" sz="7000" dirty="0">
              <a:solidFill>
                <a:srgbClr val="3E1C84"/>
              </a:solidFill>
              <a:latin typeface="NeueHaasGroteskDisp Pro Md" panose="020B0504020202020204" pitchFamily="34" charset="77"/>
            </a:endParaRPr>
          </a:p>
        </p:txBody>
      </p:sp>
      <p:sp>
        <p:nvSpPr>
          <p:cNvPr id="14" name="Content Placeholder 2">
            <a:extLst>
              <a:ext uri="{FF2B5EF4-FFF2-40B4-BE49-F238E27FC236}">
                <a16:creationId xmlns:a16="http://schemas.microsoft.com/office/drawing/2014/main" id="{2C39FA86-FC73-BC4F-A2C9-3520007FF2E0}"/>
              </a:ext>
            </a:extLst>
          </p:cNvPr>
          <p:cNvSpPr txBox="1">
            <a:spLocks/>
          </p:cNvSpPr>
          <p:nvPr/>
        </p:nvSpPr>
        <p:spPr>
          <a:xfrm>
            <a:off x="451021" y="2023647"/>
            <a:ext cx="5196018" cy="311299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NeueHaasGroteskDisp Pro" panose="020B0604020202020204" pitchFamily="34" charset="0"/>
              <a:buNone/>
              <a:defRPr sz="1800" b="0" i="0" kern="1200">
                <a:solidFill>
                  <a:srgbClr val="412181"/>
                </a:solidFill>
                <a:latin typeface="NeueHaasGroteskDisp Pro" panose="020B0504020202020204" pitchFamily="34" charset="77"/>
                <a:ea typeface="+mn-ea"/>
                <a:cs typeface="+mn-cs"/>
              </a:defRPr>
            </a:lvl1pPr>
            <a:lvl2pPr marL="685800" indent="-228600" algn="l" defTabSz="914400" rtl="0" eaLnBrk="1" latinLnBrk="0" hangingPunct="1">
              <a:lnSpc>
                <a:spcPct val="90000"/>
              </a:lnSpc>
              <a:spcBef>
                <a:spcPts val="500"/>
              </a:spcBef>
              <a:buFont typeface="NeueHaasGroteskDisp Pro"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NeueHaasGroteskDisp Pro"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9pPr>
          </a:lstStyle>
          <a:p>
            <a:r>
              <a:rPr lang="en-US" sz="3200" dirty="0"/>
              <a:t>To </a:t>
            </a:r>
            <a:r>
              <a:rPr lang="en-US" sz="3200" dirty="0">
                <a:latin typeface="NeueHaasGroteskDisp Pro Md" panose="020B0504020202020204" pitchFamily="34" charset="77"/>
              </a:rPr>
              <a:t>discover the triggers </a:t>
            </a:r>
            <a:r>
              <a:rPr lang="en-US" sz="3200" dirty="0"/>
              <a:t>of chronic diseases through innovative research that improves human health across the life span.</a:t>
            </a:r>
          </a:p>
        </p:txBody>
      </p:sp>
      <p:pic>
        <p:nvPicPr>
          <p:cNvPr id="9" name="Picture 8">
            <a:extLst>
              <a:ext uri="{FF2B5EF4-FFF2-40B4-BE49-F238E27FC236}">
                <a16:creationId xmlns:a16="http://schemas.microsoft.com/office/drawing/2014/main" id="{0FF2954B-BB93-8A4D-8BBC-E5A97FB3C9F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2323" y="6204084"/>
            <a:ext cx="397595" cy="290378"/>
          </a:xfrm>
          <a:prstGeom prst="rect">
            <a:avLst/>
          </a:prstGeom>
        </p:spPr>
      </p:pic>
      <p:sp>
        <p:nvSpPr>
          <p:cNvPr id="15" name="Rectangle 14">
            <a:extLst>
              <a:ext uri="{FF2B5EF4-FFF2-40B4-BE49-F238E27FC236}">
                <a16:creationId xmlns:a16="http://schemas.microsoft.com/office/drawing/2014/main" id="{5A7D9DF9-F236-FD4D-A093-B715B019348C}"/>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3" name="Slide Number Placeholder 2">
            <a:extLst>
              <a:ext uri="{FF2B5EF4-FFF2-40B4-BE49-F238E27FC236}">
                <a16:creationId xmlns:a16="http://schemas.microsoft.com/office/drawing/2014/main" id="{649471B5-5E92-AC46-A8ED-DB7A9644ACD4}"/>
              </a:ext>
            </a:extLst>
          </p:cNvPr>
          <p:cNvSpPr>
            <a:spLocks noGrp="1"/>
          </p:cNvSpPr>
          <p:nvPr>
            <p:ph type="sldNum" sz="quarter" idx="12"/>
          </p:nvPr>
        </p:nvSpPr>
        <p:spPr/>
        <p:txBody>
          <a:bodyPr/>
          <a:lstStyle/>
          <a:p>
            <a:fld id="{7F43BC75-A8B3-524C-9CB1-17F14D0EA8E1}" type="slidenum">
              <a:rPr lang="en-US" smtClean="0"/>
              <a:pPr/>
              <a:t>17</a:t>
            </a:fld>
            <a:endParaRPr lang="en-US" dirty="0"/>
          </a:p>
        </p:txBody>
      </p:sp>
    </p:spTree>
    <p:extLst>
      <p:ext uri="{BB962C8B-B14F-4D97-AF65-F5344CB8AC3E}">
        <p14:creationId xmlns:p14="http://schemas.microsoft.com/office/powerpoint/2010/main" val="39324151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8E294B2-8AB9-D140-AE89-25328FDD334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20" y="0"/>
            <a:ext cx="12185959" cy="6858000"/>
          </a:xfrm>
          <a:prstGeom prst="rect">
            <a:avLst/>
          </a:prstGeom>
        </p:spPr>
      </p:pic>
      <p:sp>
        <p:nvSpPr>
          <p:cNvPr id="14" name="Rectangle 13">
            <a:extLst>
              <a:ext uri="{FF2B5EF4-FFF2-40B4-BE49-F238E27FC236}">
                <a16:creationId xmlns:a16="http://schemas.microsoft.com/office/drawing/2014/main" id="{00F0BB02-F129-8E4A-8AE8-C44F3EFE4F71}"/>
              </a:ext>
            </a:extLst>
          </p:cNvPr>
          <p:cNvSpPr/>
          <p:nvPr/>
        </p:nvSpPr>
        <p:spPr>
          <a:xfrm flipV="1">
            <a:off x="572323" y="6053452"/>
            <a:ext cx="11051266" cy="18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NeueHaasGroteskDisp Pro" panose="020B0504020202020204" pitchFamily="34" charset="0"/>
            </a:endParaRPr>
          </a:p>
        </p:txBody>
      </p:sp>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19" y="445723"/>
            <a:ext cx="4361613" cy="1557419"/>
          </a:xfrm>
        </p:spPr>
        <p:txBody>
          <a:bodyPr>
            <a:noAutofit/>
          </a:bodyPr>
          <a:lstStyle/>
          <a:p>
            <a:pPr>
              <a:lnSpc>
                <a:spcPct val="80000"/>
              </a:lnSpc>
            </a:pPr>
            <a:r>
              <a:rPr lang="en-US" dirty="0">
                <a:solidFill>
                  <a:schemeClr val="bg1"/>
                </a:solidFill>
              </a:rPr>
              <a:t>Pennington </a:t>
            </a:r>
            <a:br>
              <a:rPr lang="en-US" dirty="0">
                <a:solidFill>
                  <a:schemeClr val="bg1"/>
                </a:solidFill>
              </a:rPr>
            </a:br>
            <a:r>
              <a:rPr lang="en-US" dirty="0">
                <a:solidFill>
                  <a:schemeClr val="bg1"/>
                </a:solidFill>
              </a:rPr>
              <a:t>Biomedical </a:t>
            </a:r>
            <a:br>
              <a:rPr lang="en-US" dirty="0">
                <a:solidFill>
                  <a:schemeClr val="bg1"/>
                </a:solidFill>
              </a:rPr>
            </a:br>
            <a:r>
              <a:rPr lang="en-US" dirty="0">
                <a:solidFill>
                  <a:schemeClr val="bg1"/>
                </a:solidFill>
              </a:rPr>
              <a:t>Campus</a:t>
            </a:r>
          </a:p>
        </p:txBody>
      </p:sp>
      <p:sp>
        <p:nvSpPr>
          <p:cNvPr id="12" name="Slide Number Placeholder 5">
            <a:extLst>
              <a:ext uri="{FF2B5EF4-FFF2-40B4-BE49-F238E27FC236}">
                <a16:creationId xmlns:a16="http://schemas.microsoft.com/office/drawing/2014/main" id="{B8A52747-4968-B240-A9DE-C61B48C81B8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solidFill>
                  <a:schemeClr val="bg1"/>
                </a:solidFill>
                <a:latin typeface="NeueHaasGroteskDisp Pro" panose="020B0504020202020204" pitchFamily="34" charset="77"/>
              </a:rPr>
              <a:pPr/>
              <a:t>18</a:t>
            </a:fld>
            <a:endParaRPr lang="en-US" dirty="0">
              <a:solidFill>
                <a:schemeClr val="bg1"/>
              </a:solidFill>
              <a:latin typeface="NeueHaasGroteskDisp Pro" panose="020B0504020202020204" pitchFamily="34" charset="77"/>
            </a:endParaRPr>
          </a:p>
        </p:txBody>
      </p:sp>
      <p:sp>
        <p:nvSpPr>
          <p:cNvPr id="30" name="Rectangle 29">
            <a:extLst>
              <a:ext uri="{FF2B5EF4-FFF2-40B4-BE49-F238E27FC236}">
                <a16:creationId xmlns:a16="http://schemas.microsoft.com/office/drawing/2014/main" id="{B1E9E89D-50C7-E742-9AC3-BD7C7CF77605}"/>
              </a:ext>
            </a:extLst>
          </p:cNvPr>
          <p:cNvSpPr/>
          <p:nvPr/>
        </p:nvSpPr>
        <p:spPr>
          <a:xfrm>
            <a:off x="12886454" y="3423951"/>
            <a:ext cx="2377949" cy="348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NeueHaasGroteskDisp Pro" panose="020B0504020202020204" pitchFamily="34" charset="0"/>
            </a:endParaRPr>
          </a:p>
        </p:txBody>
      </p:sp>
      <p:sp>
        <p:nvSpPr>
          <p:cNvPr id="39" name="Oval 38">
            <a:extLst>
              <a:ext uri="{FF2B5EF4-FFF2-40B4-BE49-F238E27FC236}">
                <a16:creationId xmlns:a16="http://schemas.microsoft.com/office/drawing/2014/main" id="{274D30A3-93E7-AF44-BA24-5244337DD896}"/>
              </a:ext>
            </a:extLst>
          </p:cNvPr>
          <p:cNvSpPr/>
          <p:nvPr/>
        </p:nvSpPr>
        <p:spPr>
          <a:xfrm>
            <a:off x="5978092" y="4818343"/>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1</a:t>
            </a:r>
          </a:p>
        </p:txBody>
      </p:sp>
      <p:sp>
        <p:nvSpPr>
          <p:cNvPr id="40" name="Oval 39">
            <a:extLst>
              <a:ext uri="{FF2B5EF4-FFF2-40B4-BE49-F238E27FC236}">
                <a16:creationId xmlns:a16="http://schemas.microsoft.com/office/drawing/2014/main" id="{E72FE61D-3A99-EE4C-AFC6-3D13383BEF8E}"/>
              </a:ext>
            </a:extLst>
          </p:cNvPr>
          <p:cNvSpPr/>
          <p:nvPr/>
        </p:nvSpPr>
        <p:spPr>
          <a:xfrm>
            <a:off x="7781094" y="5105993"/>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2</a:t>
            </a:r>
          </a:p>
        </p:txBody>
      </p:sp>
      <p:sp>
        <p:nvSpPr>
          <p:cNvPr id="41" name="Oval 40">
            <a:extLst>
              <a:ext uri="{FF2B5EF4-FFF2-40B4-BE49-F238E27FC236}">
                <a16:creationId xmlns:a16="http://schemas.microsoft.com/office/drawing/2014/main" id="{59579B88-2B05-0F49-AC17-44FF42F96B50}"/>
              </a:ext>
            </a:extLst>
          </p:cNvPr>
          <p:cNvSpPr/>
          <p:nvPr/>
        </p:nvSpPr>
        <p:spPr>
          <a:xfrm>
            <a:off x="5141094" y="5269585"/>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3</a:t>
            </a:r>
          </a:p>
        </p:txBody>
      </p:sp>
      <p:sp>
        <p:nvSpPr>
          <p:cNvPr id="42" name="Oval 41">
            <a:extLst>
              <a:ext uri="{FF2B5EF4-FFF2-40B4-BE49-F238E27FC236}">
                <a16:creationId xmlns:a16="http://schemas.microsoft.com/office/drawing/2014/main" id="{5220628B-3DD6-5149-B6DB-63996E8669C1}"/>
              </a:ext>
            </a:extLst>
          </p:cNvPr>
          <p:cNvSpPr/>
          <p:nvPr/>
        </p:nvSpPr>
        <p:spPr>
          <a:xfrm>
            <a:off x="10209301" y="4192952"/>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4</a:t>
            </a:r>
          </a:p>
        </p:txBody>
      </p:sp>
      <p:sp>
        <p:nvSpPr>
          <p:cNvPr id="43" name="Oval 42">
            <a:extLst>
              <a:ext uri="{FF2B5EF4-FFF2-40B4-BE49-F238E27FC236}">
                <a16:creationId xmlns:a16="http://schemas.microsoft.com/office/drawing/2014/main" id="{B446294A-2C61-934D-8817-544D2480244F}"/>
              </a:ext>
            </a:extLst>
          </p:cNvPr>
          <p:cNvSpPr/>
          <p:nvPr/>
        </p:nvSpPr>
        <p:spPr>
          <a:xfrm>
            <a:off x="9057846" y="3799277"/>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5</a:t>
            </a:r>
          </a:p>
        </p:txBody>
      </p:sp>
      <p:sp>
        <p:nvSpPr>
          <p:cNvPr id="44" name="Oval 43">
            <a:extLst>
              <a:ext uri="{FF2B5EF4-FFF2-40B4-BE49-F238E27FC236}">
                <a16:creationId xmlns:a16="http://schemas.microsoft.com/office/drawing/2014/main" id="{0DE0F1A3-EB8F-5244-8421-C1130E107E6D}"/>
              </a:ext>
            </a:extLst>
          </p:cNvPr>
          <p:cNvSpPr/>
          <p:nvPr/>
        </p:nvSpPr>
        <p:spPr>
          <a:xfrm>
            <a:off x="5384430" y="3349856"/>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6</a:t>
            </a:r>
          </a:p>
        </p:txBody>
      </p:sp>
      <p:sp>
        <p:nvSpPr>
          <p:cNvPr id="45" name="Oval 44">
            <a:extLst>
              <a:ext uri="{FF2B5EF4-FFF2-40B4-BE49-F238E27FC236}">
                <a16:creationId xmlns:a16="http://schemas.microsoft.com/office/drawing/2014/main" id="{3D2BE3DD-69CB-4D45-8269-ED375E795A2F}"/>
              </a:ext>
            </a:extLst>
          </p:cNvPr>
          <p:cNvSpPr/>
          <p:nvPr/>
        </p:nvSpPr>
        <p:spPr>
          <a:xfrm>
            <a:off x="6749170" y="4117607"/>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7</a:t>
            </a:r>
          </a:p>
        </p:txBody>
      </p:sp>
      <p:sp>
        <p:nvSpPr>
          <p:cNvPr id="46" name="Oval 45">
            <a:extLst>
              <a:ext uri="{FF2B5EF4-FFF2-40B4-BE49-F238E27FC236}">
                <a16:creationId xmlns:a16="http://schemas.microsoft.com/office/drawing/2014/main" id="{8368C32A-042B-E44B-9D88-02E6A548DDF4}"/>
              </a:ext>
            </a:extLst>
          </p:cNvPr>
          <p:cNvSpPr/>
          <p:nvPr/>
        </p:nvSpPr>
        <p:spPr>
          <a:xfrm>
            <a:off x="1720520" y="4051993"/>
            <a:ext cx="262179" cy="262179"/>
          </a:xfrm>
          <a:prstGeom prst="ellipse">
            <a:avLst/>
          </a:prstGeom>
          <a:solidFill>
            <a:srgbClr val="FDD1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7030A0"/>
                </a:solidFill>
                <a:latin typeface="NeueHaasGroteskDisp Pro" panose="020B0504020202020204" pitchFamily="34" charset="77"/>
              </a:rPr>
              <a:t>8</a:t>
            </a:r>
          </a:p>
        </p:txBody>
      </p:sp>
      <p:sp>
        <p:nvSpPr>
          <p:cNvPr id="47" name="Oval 46">
            <a:extLst>
              <a:ext uri="{FF2B5EF4-FFF2-40B4-BE49-F238E27FC236}">
                <a16:creationId xmlns:a16="http://schemas.microsoft.com/office/drawing/2014/main" id="{3FA4CE45-B1FE-F848-9DC8-41A6D8018488}"/>
              </a:ext>
            </a:extLst>
          </p:cNvPr>
          <p:cNvSpPr/>
          <p:nvPr/>
        </p:nvSpPr>
        <p:spPr>
          <a:xfrm>
            <a:off x="2992018" y="4263949"/>
            <a:ext cx="262179" cy="262179"/>
          </a:xfrm>
          <a:prstGeom prst="ellipse">
            <a:avLst/>
          </a:prstGeom>
          <a:solidFill>
            <a:srgbClr val="FDD1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7030A0"/>
                </a:solidFill>
                <a:latin typeface="NeueHaasGroteskDisp Pro" panose="020B0504020202020204" pitchFamily="34" charset="77"/>
              </a:rPr>
              <a:t>9</a:t>
            </a:r>
          </a:p>
        </p:txBody>
      </p:sp>
      <p:pic>
        <p:nvPicPr>
          <p:cNvPr id="27" name="Picture 26">
            <a:extLst>
              <a:ext uri="{FF2B5EF4-FFF2-40B4-BE49-F238E27FC236}">
                <a16:creationId xmlns:a16="http://schemas.microsoft.com/office/drawing/2014/main" id="{46619A84-322D-8C41-AE99-F78D00159A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2323" y="6217338"/>
            <a:ext cx="397595" cy="290379"/>
          </a:xfrm>
          <a:prstGeom prst="rect">
            <a:avLst/>
          </a:prstGeom>
        </p:spPr>
      </p:pic>
      <p:sp>
        <p:nvSpPr>
          <p:cNvPr id="28" name="Rounded Rectangle 27">
            <a:extLst>
              <a:ext uri="{FF2B5EF4-FFF2-40B4-BE49-F238E27FC236}">
                <a16:creationId xmlns:a16="http://schemas.microsoft.com/office/drawing/2014/main" id="{E1482C4E-2619-D346-8947-FC29DE0D5F05}"/>
              </a:ext>
            </a:extLst>
          </p:cNvPr>
          <p:cNvSpPr/>
          <p:nvPr/>
        </p:nvSpPr>
        <p:spPr>
          <a:xfrm>
            <a:off x="5403273" y="-44651"/>
            <a:ext cx="6296516" cy="2643465"/>
          </a:xfrm>
          <a:prstGeom prst="roundRect">
            <a:avLst>
              <a:gd name="adj" fmla="val 1792"/>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95000"/>
                </a:schemeClr>
              </a:solidFill>
              <a:latin typeface="NeueHaasGroteskDisp Pro" panose="020B0504020202020204" pitchFamily="34" charset="0"/>
            </a:endParaRPr>
          </a:p>
        </p:txBody>
      </p:sp>
      <p:sp>
        <p:nvSpPr>
          <p:cNvPr id="22" name="Rectangle 21">
            <a:extLst>
              <a:ext uri="{FF2B5EF4-FFF2-40B4-BE49-F238E27FC236}">
                <a16:creationId xmlns:a16="http://schemas.microsoft.com/office/drawing/2014/main" id="{5A4B7C14-FB8A-794C-9BE3-BC8A20E341B8}"/>
              </a:ext>
            </a:extLst>
          </p:cNvPr>
          <p:cNvSpPr/>
          <p:nvPr/>
        </p:nvSpPr>
        <p:spPr>
          <a:xfrm>
            <a:off x="5978092" y="445724"/>
            <a:ext cx="2589381" cy="19208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sz="1600" dirty="0">
                <a:solidFill>
                  <a:srgbClr val="3E1C84"/>
                </a:solidFill>
                <a:latin typeface="NeueHaasGroteskDisp Pro" panose="020B0504020202020204" pitchFamily="34" charset="77"/>
              </a:rPr>
              <a:t>Basic Science </a:t>
            </a:r>
            <a:r>
              <a:rPr lang="en-US" sz="1600" dirty="0">
                <a:solidFill>
                  <a:srgbClr val="3E1C84"/>
                </a:solidFill>
                <a:latin typeface="NeueHaasGroteskDisp Pro" panose="020B0504020202020204" pitchFamily="34" charset="0"/>
              </a:rPr>
              <a:t>1986</a:t>
            </a:r>
          </a:p>
          <a:p>
            <a:pPr>
              <a:lnSpc>
                <a:spcPct val="150000"/>
              </a:lnSpc>
            </a:pPr>
            <a:r>
              <a:rPr lang="en-US" sz="1600" dirty="0">
                <a:solidFill>
                  <a:srgbClr val="3E1C84"/>
                </a:solidFill>
                <a:latin typeface="NeueHaasGroteskDisp Pro" panose="020B0504020202020204" pitchFamily="34" charset="77"/>
              </a:rPr>
              <a:t>Comparative Biology </a:t>
            </a:r>
            <a:r>
              <a:rPr lang="en-US" sz="1600" dirty="0">
                <a:solidFill>
                  <a:srgbClr val="3E1C84"/>
                </a:solidFill>
                <a:latin typeface="NeueHaasGroteskDisp Pro" panose="020B0504020202020204" pitchFamily="34" charset="0"/>
              </a:rPr>
              <a:t>1986</a:t>
            </a:r>
          </a:p>
          <a:p>
            <a:pPr>
              <a:lnSpc>
                <a:spcPct val="150000"/>
              </a:lnSpc>
            </a:pPr>
            <a:r>
              <a:rPr lang="en-US" sz="1600" dirty="0">
                <a:solidFill>
                  <a:srgbClr val="3E1C84"/>
                </a:solidFill>
                <a:latin typeface="NeueHaasGroteskDisp Pro" panose="020B0504020202020204" pitchFamily="34" charset="77"/>
              </a:rPr>
              <a:t>Administration </a:t>
            </a:r>
            <a:r>
              <a:rPr lang="en-US" sz="1600" dirty="0">
                <a:solidFill>
                  <a:srgbClr val="3E1C84"/>
                </a:solidFill>
                <a:latin typeface="NeueHaasGroteskDisp Pro" panose="020B0504020202020204" pitchFamily="34" charset="0"/>
              </a:rPr>
              <a:t>1986</a:t>
            </a:r>
          </a:p>
          <a:p>
            <a:pPr>
              <a:lnSpc>
                <a:spcPct val="150000"/>
              </a:lnSpc>
            </a:pPr>
            <a:r>
              <a:rPr lang="en-US" sz="1600" dirty="0">
                <a:solidFill>
                  <a:srgbClr val="3E1C84"/>
                </a:solidFill>
                <a:latin typeface="NeueHaasGroteskDisp Pro" panose="020B0504020202020204" pitchFamily="34" charset="77"/>
              </a:rPr>
              <a:t>Exercise Research </a:t>
            </a:r>
            <a:r>
              <a:rPr lang="en-US" sz="1600" dirty="0">
                <a:solidFill>
                  <a:srgbClr val="3E1C84"/>
                </a:solidFill>
                <a:latin typeface="NeueHaasGroteskDisp Pro" panose="020B0504020202020204" pitchFamily="34" charset="0"/>
              </a:rPr>
              <a:t>1993</a:t>
            </a:r>
          </a:p>
          <a:p>
            <a:pPr>
              <a:lnSpc>
                <a:spcPct val="150000"/>
              </a:lnSpc>
            </a:pPr>
            <a:r>
              <a:rPr lang="en-US" sz="1600" dirty="0">
                <a:solidFill>
                  <a:srgbClr val="3E1C84"/>
                </a:solidFill>
                <a:latin typeface="NeueHaasGroteskDisp Pro" panose="020B0504020202020204" pitchFamily="34" charset="77"/>
              </a:rPr>
              <a:t>Lodge </a:t>
            </a:r>
            <a:r>
              <a:rPr lang="en-US" sz="1600" dirty="0">
                <a:solidFill>
                  <a:srgbClr val="3E1C84"/>
                </a:solidFill>
                <a:latin typeface="NeueHaasGroteskDisp Pro" panose="020B0504020202020204" pitchFamily="34" charset="0"/>
              </a:rPr>
              <a:t>1993</a:t>
            </a:r>
          </a:p>
        </p:txBody>
      </p:sp>
      <p:sp>
        <p:nvSpPr>
          <p:cNvPr id="4" name="Oval 3">
            <a:extLst>
              <a:ext uri="{FF2B5EF4-FFF2-40B4-BE49-F238E27FC236}">
                <a16:creationId xmlns:a16="http://schemas.microsoft.com/office/drawing/2014/main" id="{81E237F2-0C3D-5949-8EBE-1A97AD031E15}"/>
              </a:ext>
            </a:extLst>
          </p:cNvPr>
          <p:cNvSpPr/>
          <p:nvPr/>
        </p:nvSpPr>
        <p:spPr>
          <a:xfrm>
            <a:off x="5715913" y="532563"/>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1</a:t>
            </a:r>
          </a:p>
        </p:txBody>
      </p:sp>
      <p:sp>
        <p:nvSpPr>
          <p:cNvPr id="21" name="Oval 20">
            <a:extLst>
              <a:ext uri="{FF2B5EF4-FFF2-40B4-BE49-F238E27FC236}">
                <a16:creationId xmlns:a16="http://schemas.microsoft.com/office/drawing/2014/main" id="{E5BC8202-ECF2-8A43-92AC-48F821CB1EFD}"/>
              </a:ext>
            </a:extLst>
          </p:cNvPr>
          <p:cNvSpPr/>
          <p:nvPr/>
        </p:nvSpPr>
        <p:spPr>
          <a:xfrm>
            <a:off x="5715913" y="900208"/>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2</a:t>
            </a:r>
          </a:p>
        </p:txBody>
      </p:sp>
      <p:sp>
        <p:nvSpPr>
          <p:cNvPr id="31" name="Oval 30">
            <a:extLst>
              <a:ext uri="{FF2B5EF4-FFF2-40B4-BE49-F238E27FC236}">
                <a16:creationId xmlns:a16="http://schemas.microsoft.com/office/drawing/2014/main" id="{F61E62BF-8603-9743-BC7E-88AE402D7812}"/>
              </a:ext>
            </a:extLst>
          </p:cNvPr>
          <p:cNvSpPr/>
          <p:nvPr/>
        </p:nvSpPr>
        <p:spPr>
          <a:xfrm>
            <a:off x="5715913" y="1267853"/>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3</a:t>
            </a:r>
          </a:p>
        </p:txBody>
      </p:sp>
      <p:sp>
        <p:nvSpPr>
          <p:cNvPr id="32" name="Oval 31">
            <a:extLst>
              <a:ext uri="{FF2B5EF4-FFF2-40B4-BE49-F238E27FC236}">
                <a16:creationId xmlns:a16="http://schemas.microsoft.com/office/drawing/2014/main" id="{ECC3FC5F-2D61-404E-9C92-A82C0B30F304}"/>
              </a:ext>
            </a:extLst>
          </p:cNvPr>
          <p:cNvSpPr/>
          <p:nvPr/>
        </p:nvSpPr>
        <p:spPr>
          <a:xfrm>
            <a:off x="5715913" y="1635498"/>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4</a:t>
            </a:r>
          </a:p>
        </p:txBody>
      </p:sp>
      <p:sp>
        <p:nvSpPr>
          <p:cNvPr id="33" name="Oval 32">
            <a:extLst>
              <a:ext uri="{FF2B5EF4-FFF2-40B4-BE49-F238E27FC236}">
                <a16:creationId xmlns:a16="http://schemas.microsoft.com/office/drawing/2014/main" id="{7CE9A1FE-6510-4A4E-9120-FDB461974850}"/>
              </a:ext>
            </a:extLst>
          </p:cNvPr>
          <p:cNvSpPr/>
          <p:nvPr/>
        </p:nvSpPr>
        <p:spPr>
          <a:xfrm>
            <a:off x="5715913" y="2003143"/>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5</a:t>
            </a:r>
          </a:p>
        </p:txBody>
      </p:sp>
      <p:sp>
        <p:nvSpPr>
          <p:cNvPr id="29" name="Rectangle 28">
            <a:extLst>
              <a:ext uri="{FF2B5EF4-FFF2-40B4-BE49-F238E27FC236}">
                <a16:creationId xmlns:a16="http://schemas.microsoft.com/office/drawing/2014/main" id="{78FC64F9-5758-FF49-87EA-D038418D0F5A}"/>
              </a:ext>
            </a:extLst>
          </p:cNvPr>
          <p:cNvSpPr/>
          <p:nvPr/>
        </p:nvSpPr>
        <p:spPr>
          <a:xfrm>
            <a:off x="9034208" y="445724"/>
            <a:ext cx="2589381" cy="1557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sz="1600" dirty="0">
                <a:solidFill>
                  <a:srgbClr val="3E1C84"/>
                </a:solidFill>
                <a:latin typeface="NeueHaasGroteskDisp Pro" panose="020B0504020202020204" pitchFamily="34" charset="77"/>
              </a:rPr>
              <a:t>Conference Center </a:t>
            </a:r>
            <a:r>
              <a:rPr lang="en-US" sz="1600" dirty="0">
                <a:solidFill>
                  <a:srgbClr val="3E1C84"/>
                </a:solidFill>
                <a:latin typeface="NeueHaasGroteskDisp Pro" panose="020B0504020202020204" pitchFamily="34" charset="0"/>
              </a:rPr>
              <a:t>1993</a:t>
            </a:r>
          </a:p>
          <a:p>
            <a:pPr>
              <a:lnSpc>
                <a:spcPct val="150000"/>
              </a:lnSpc>
            </a:pPr>
            <a:r>
              <a:rPr lang="en-US" sz="1600" dirty="0">
                <a:solidFill>
                  <a:srgbClr val="3E1C84"/>
                </a:solidFill>
                <a:latin typeface="NeueHaasGroteskDisp Pro" panose="020B0504020202020204" pitchFamily="34" charset="77"/>
              </a:rPr>
              <a:t>Basic Science Labs </a:t>
            </a:r>
            <a:r>
              <a:rPr lang="en-US" sz="1600" dirty="0">
                <a:solidFill>
                  <a:srgbClr val="3E1C84"/>
                </a:solidFill>
                <a:latin typeface="NeueHaasGroteskDisp Pro" panose="020B0504020202020204" pitchFamily="34" charset="0"/>
              </a:rPr>
              <a:t>2003</a:t>
            </a:r>
          </a:p>
          <a:p>
            <a:pPr>
              <a:lnSpc>
                <a:spcPct val="150000"/>
              </a:lnSpc>
            </a:pPr>
            <a:r>
              <a:rPr lang="en-US" sz="1600" dirty="0">
                <a:solidFill>
                  <a:srgbClr val="3E1C84"/>
                </a:solidFill>
                <a:latin typeface="NeueHaasGroteskDisp Pro" panose="020B0504020202020204" pitchFamily="34" charset="77"/>
              </a:rPr>
              <a:t>Clinical Science </a:t>
            </a:r>
            <a:r>
              <a:rPr lang="en-US" sz="1600" dirty="0">
                <a:solidFill>
                  <a:srgbClr val="3E1C84"/>
                </a:solidFill>
                <a:latin typeface="NeueHaasGroteskDisp Pro" panose="020B0504020202020204" pitchFamily="34" charset="0"/>
              </a:rPr>
              <a:t>2010</a:t>
            </a:r>
          </a:p>
          <a:p>
            <a:pPr>
              <a:lnSpc>
                <a:spcPct val="150000"/>
              </a:lnSpc>
            </a:pPr>
            <a:r>
              <a:rPr lang="en-US" sz="1600" dirty="0">
                <a:solidFill>
                  <a:srgbClr val="3E1C84"/>
                </a:solidFill>
                <a:latin typeface="NeueHaasGroteskDisp Pro" panose="020B0504020202020204" pitchFamily="34" charset="77"/>
              </a:rPr>
              <a:t>Biomedical Imaging </a:t>
            </a:r>
            <a:r>
              <a:rPr lang="en-US" sz="1600" dirty="0">
                <a:solidFill>
                  <a:srgbClr val="3E1C84"/>
                </a:solidFill>
                <a:latin typeface="NeueHaasGroteskDisp Pro" panose="020B0504020202020204" pitchFamily="34" charset="0"/>
              </a:rPr>
              <a:t>2013</a:t>
            </a:r>
          </a:p>
        </p:txBody>
      </p:sp>
      <p:sp>
        <p:nvSpPr>
          <p:cNvPr id="35" name="Oval 34">
            <a:extLst>
              <a:ext uri="{FF2B5EF4-FFF2-40B4-BE49-F238E27FC236}">
                <a16:creationId xmlns:a16="http://schemas.microsoft.com/office/drawing/2014/main" id="{418111AA-4C53-2045-9535-316C920CC834}"/>
              </a:ext>
            </a:extLst>
          </p:cNvPr>
          <p:cNvSpPr/>
          <p:nvPr/>
        </p:nvSpPr>
        <p:spPr>
          <a:xfrm>
            <a:off x="8724059" y="586383"/>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6</a:t>
            </a:r>
          </a:p>
        </p:txBody>
      </p:sp>
      <p:sp>
        <p:nvSpPr>
          <p:cNvPr id="36" name="Oval 35">
            <a:extLst>
              <a:ext uri="{FF2B5EF4-FFF2-40B4-BE49-F238E27FC236}">
                <a16:creationId xmlns:a16="http://schemas.microsoft.com/office/drawing/2014/main" id="{76614BAA-0040-8B48-91C3-F12AC06F0B50}"/>
              </a:ext>
            </a:extLst>
          </p:cNvPr>
          <p:cNvSpPr/>
          <p:nvPr/>
        </p:nvSpPr>
        <p:spPr>
          <a:xfrm>
            <a:off x="8724059" y="954028"/>
            <a:ext cx="262179" cy="262179"/>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NeueHaasGroteskDisp Pro" panose="020B0504020202020204" pitchFamily="34" charset="77"/>
              </a:rPr>
              <a:t>7</a:t>
            </a:r>
          </a:p>
        </p:txBody>
      </p:sp>
      <p:sp>
        <p:nvSpPr>
          <p:cNvPr id="37" name="Oval 36">
            <a:extLst>
              <a:ext uri="{FF2B5EF4-FFF2-40B4-BE49-F238E27FC236}">
                <a16:creationId xmlns:a16="http://schemas.microsoft.com/office/drawing/2014/main" id="{DC78432B-E040-794D-A52A-E3BA85126756}"/>
              </a:ext>
            </a:extLst>
          </p:cNvPr>
          <p:cNvSpPr/>
          <p:nvPr/>
        </p:nvSpPr>
        <p:spPr>
          <a:xfrm>
            <a:off x="8724059" y="1321673"/>
            <a:ext cx="262179" cy="262179"/>
          </a:xfrm>
          <a:prstGeom prst="ellipse">
            <a:avLst/>
          </a:prstGeom>
          <a:solidFill>
            <a:srgbClr val="FDCF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7030A0"/>
                </a:solidFill>
                <a:latin typeface="NeueHaasGroteskDisp Pro" panose="020B0504020202020204" pitchFamily="34" charset="77"/>
              </a:rPr>
              <a:t>8</a:t>
            </a:r>
          </a:p>
        </p:txBody>
      </p:sp>
      <p:sp>
        <p:nvSpPr>
          <p:cNvPr id="38" name="Oval 37">
            <a:extLst>
              <a:ext uri="{FF2B5EF4-FFF2-40B4-BE49-F238E27FC236}">
                <a16:creationId xmlns:a16="http://schemas.microsoft.com/office/drawing/2014/main" id="{42720621-7DE0-154C-8285-9DA761112CF5}"/>
              </a:ext>
            </a:extLst>
          </p:cNvPr>
          <p:cNvSpPr/>
          <p:nvPr/>
        </p:nvSpPr>
        <p:spPr>
          <a:xfrm>
            <a:off x="8724059" y="1689321"/>
            <a:ext cx="262179" cy="262179"/>
          </a:xfrm>
          <a:prstGeom prst="ellipse">
            <a:avLst/>
          </a:prstGeom>
          <a:solidFill>
            <a:srgbClr val="FDD1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7030A0"/>
                </a:solidFill>
                <a:latin typeface="NeueHaasGroteskDisp Pro" panose="020B0504020202020204" pitchFamily="34" charset="77"/>
              </a:rPr>
              <a:t>9</a:t>
            </a:r>
          </a:p>
        </p:txBody>
      </p:sp>
    </p:spTree>
    <p:extLst>
      <p:ext uri="{BB962C8B-B14F-4D97-AF65-F5344CB8AC3E}">
        <p14:creationId xmlns:p14="http://schemas.microsoft.com/office/powerpoint/2010/main" val="16227514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444F7DE-A68D-C44D-9276-6F648F80097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14" name="Rectangle 13">
            <a:extLst>
              <a:ext uri="{FF2B5EF4-FFF2-40B4-BE49-F238E27FC236}">
                <a16:creationId xmlns:a16="http://schemas.microsoft.com/office/drawing/2014/main" id="{00F0BB02-F129-8E4A-8AE8-C44F3EFE4F71}"/>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36" name="Title 1">
            <a:extLst>
              <a:ext uri="{FF2B5EF4-FFF2-40B4-BE49-F238E27FC236}">
                <a16:creationId xmlns:a16="http://schemas.microsoft.com/office/drawing/2014/main" id="{7B371B4E-9C44-0A4E-952B-E37A9CB83A7A}"/>
              </a:ext>
            </a:extLst>
          </p:cNvPr>
          <p:cNvSpPr>
            <a:spLocks noGrp="1"/>
          </p:cNvSpPr>
          <p:nvPr>
            <p:ph type="title"/>
          </p:nvPr>
        </p:nvSpPr>
        <p:spPr>
          <a:xfrm>
            <a:off x="451019" y="445724"/>
            <a:ext cx="7481697" cy="1133140"/>
          </a:xfrm>
        </p:spPr>
        <p:txBody>
          <a:bodyPr>
            <a:noAutofit/>
          </a:bodyPr>
          <a:lstStyle/>
          <a:p>
            <a:r>
              <a:rPr lang="en-US" dirty="0"/>
              <a:t>Pennington Biomedical </a:t>
            </a:r>
            <a:br>
              <a:rPr lang="en-US" dirty="0"/>
            </a:br>
            <a:r>
              <a:rPr lang="en-US" dirty="0"/>
              <a:t>solves problems through innovation</a:t>
            </a:r>
          </a:p>
        </p:txBody>
      </p:sp>
      <p:pic>
        <p:nvPicPr>
          <p:cNvPr id="7" name="Picture 6">
            <a:extLst>
              <a:ext uri="{FF2B5EF4-FFF2-40B4-BE49-F238E27FC236}">
                <a16:creationId xmlns:a16="http://schemas.microsoft.com/office/drawing/2014/main" id="{C9CC38CF-F244-7D44-91AB-E06255FB365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2323" y="6217338"/>
            <a:ext cx="397595" cy="290379"/>
          </a:xfrm>
          <a:prstGeom prst="rect">
            <a:avLst/>
          </a:prstGeom>
        </p:spPr>
      </p:pic>
      <p:sp>
        <p:nvSpPr>
          <p:cNvPr id="3" name="Slide Number Placeholder 2">
            <a:extLst>
              <a:ext uri="{FF2B5EF4-FFF2-40B4-BE49-F238E27FC236}">
                <a16:creationId xmlns:a16="http://schemas.microsoft.com/office/drawing/2014/main" id="{9F7A024B-A183-7D47-8EB8-8CCA6FA0CAC7}"/>
              </a:ext>
            </a:extLst>
          </p:cNvPr>
          <p:cNvSpPr>
            <a:spLocks noGrp="1"/>
          </p:cNvSpPr>
          <p:nvPr>
            <p:ph type="sldNum" sz="quarter" idx="12"/>
          </p:nvPr>
        </p:nvSpPr>
        <p:spPr/>
        <p:txBody>
          <a:bodyPr/>
          <a:lstStyle/>
          <a:p>
            <a:fld id="{7F43BC75-A8B3-524C-9CB1-17F14D0EA8E1}" type="slidenum">
              <a:rPr lang="en-US" smtClean="0">
                <a:solidFill>
                  <a:schemeClr val="bg1"/>
                </a:solidFill>
              </a:rPr>
              <a:pPr/>
              <a:t>19</a:t>
            </a:fld>
            <a:endParaRPr lang="en-US" dirty="0">
              <a:solidFill>
                <a:schemeClr val="bg1"/>
              </a:solidFill>
            </a:endParaRPr>
          </a:p>
        </p:txBody>
      </p:sp>
    </p:spTree>
    <p:extLst>
      <p:ext uri="{BB962C8B-B14F-4D97-AF65-F5344CB8AC3E}">
        <p14:creationId xmlns:p14="http://schemas.microsoft.com/office/powerpoint/2010/main" val="659878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4856A-8F7F-2B40-8172-28E48E72AB55}"/>
              </a:ext>
            </a:extLst>
          </p:cNvPr>
          <p:cNvSpPr/>
          <p:nvPr/>
        </p:nvSpPr>
        <p:spPr>
          <a:xfrm>
            <a:off x="0" y="0"/>
            <a:ext cx="12192000" cy="6858000"/>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2" name="Title 1">
            <a:extLst>
              <a:ext uri="{FF2B5EF4-FFF2-40B4-BE49-F238E27FC236}">
                <a16:creationId xmlns:a16="http://schemas.microsoft.com/office/drawing/2014/main" id="{CCE36004-9FE8-3645-85D5-EB884C5EFCC2}"/>
              </a:ext>
            </a:extLst>
          </p:cNvPr>
          <p:cNvSpPr>
            <a:spLocks noGrp="1"/>
          </p:cNvSpPr>
          <p:nvPr>
            <p:ph type="ctrTitle"/>
          </p:nvPr>
        </p:nvSpPr>
        <p:spPr>
          <a:xfrm>
            <a:off x="440264" y="1041400"/>
            <a:ext cx="11277603" cy="2387600"/>
          </a:xfrm>
        </p:spPr>
        <p:txBody>
          <a:bodyPr anchor="t">
            <a:noAutofit/>
          </a:bodyPr>
          <a:lstStyle/>
          <a:p>
            <a:pPr marR="0" algn="l" rtl="0"/>
            <a:r>
              <a:rPr lang="en-US" sz="15000" b="0" i="0" u="none" strike="noStrike" baseline="30000" dirty="0">
                <a:solidFill>
                  <a:srgbClr val="FFFFFF"/>
                </a:solidFill>
                <a:latin typeface="NeueHaasGroteskDisp Pro Md" panose="020B0604020202020204" pitchFamily="34" charset="0"/>
              </a:rPr>
              <a:t>Pennington GHGB campaign survey results</a:t>
            </a:r>
          </a:p>
        </p:txBody>
      </p:sp>
      <p:pic>
        <p:nvPicPr>
          <p:cNvPr id="6" name="Picture 5">
            <a:extLst>
              <a:ext uri="{FF2B5EF4-FFF2-40B4-BE49-F238E27FC236}">
                <a16:creationId xmlns:a16="http://schemas.microsoft.com/office/drawing/2014/main" id="{93FFC806-95D9-E149-9DC4-FC93BEB406C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1499" y="5892377"/>
            <a:ext cx="1900767" cy="512655"/>
          </a:xfrm>
          <a:prstGeom prst="rect">
            <a:avLst/>
          </a:prstGeom>
        </p:spPr>
      </p:pic>
      <p:sp>
        <p:nvSpPr>
          <p:cNvPr id="7" name="Title 1">
            <a:extLst>
              <a:ext uri="{FF2B5EF4-FFF2-40B4-BE49-F238E27FC236}">
                <a16:creationId xmlns:a16="http://schemas.microsoft.com/office/drawing/2014/main" id="{2FEAA5E6-F846-E143-B901-DEE7BC9E0FBB}"/>
              </a:ext>
            </a:extLst>
          </p:cNvPr>
          <p:cNvSpPr txBox="1">
            <a:spLocks/>
          </p:cNvSpPr>
          <p:nvPr/>
        </p:nvSpPr>
        <p:spPr>
          <a:xfrm>
            <a:off x="8229600" y="6117952"/>
            <a:ext cx="3488268" cy="325442"/>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1200" dirty="0">
                <a:solidFill>
                  <a:schemeClr val="bg1"/>
                </a:solidFill>
                <a:latin typeface="NeueHaasGroteskDisp Pro" panose="020B0504020202020204" pitchFamily="34" charset="77"/>
              </a:rPr>
              <a:t>XX/XX/XXXX</a:t>
            </a:r>
          </a:p>
        </p:txBody>
      </p:sp>
    </p:spTree>
    <p:extLst>
      <p:ext uri="{BB962C8B-B14F-4D97-AF65-F5344CB8AC3E}">
        <p14:creationId xmlns:p14="http://schemas.microsoft.com/office/powerpoint/2010/main" val="23101570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D813660-17EE-5946-B0A9-2E1D52ED61BA}"/>
              </a:ext>
              <a:ext uri="{C183D7F6-B498-43B3-948B-1728B52AA6E4}">
                <adec:decorative xmlns:adec="http://schemas.microsoft.com/office/drawing/2017/decorative" val="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1"/>
            <a:ext cx="12192000" cy="6858001"/>
          </a:xfrm>
          <a:prstGeom prst="rect">
            <a:avLst/>
          </a:prstGeom>
        </p:spPr>
      </p:pic>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19" y="416695"/>
            <a:ext cx="10670061" cy="3071834"/>
          </a:xfrm>
        </p:spPr>
        <p:txBody>
          <a:bodyPr>
            <a:noAutofit/>
          </a:bodyPr>
          <a:lstStyle/>
          <a:p>
            <a:r>
              <a:rPr lang="en-US" sz="8000" dirty="0">
                <a:solidFill>
                  <a:schemeClr val="bg2"/>
                </a:solidFill>
              </a:rPr>
              <a:t>Lorem ipsum dolor sit </a:t>
            </a:r>
            <a:r>
              <a:rPr lang="en-US" sz="8000" dirty="0" err="1">
                <a:solidFill>
                  <a:schemeClr val="bg2"/>
                </a:solidFill>
              </a:rPr>
              <a:t>amet</a:t>
            </a:r>
            <a:r>
              <a:rPr lang="en-US" sz="8000" dirty="0">
                <a:solidFill>
                  <a:schemeClr val="bg2"/>
                </a:solidFill>
              </a:rPr>
              <a:t> con </a:t>
            </a:r>
            <a:r>
              <a:rPr lang="en-US" sz="8000" dirty="0" err="1">
                <a:solidFill>
                  <a:schemeClr val="bg2"/>
                </a:solidFill>
              </a:rPr>
              <a:t>secte</a:t>
            </a:r>
            <a:r>
              <a:rPr lang="en-US" sz="8000" dirty="0">
                <a:solidFill>
                  <a:schemeClr val="bg2"/>
                </a:solidFill>
              </a:rPr>
              <a:t> tur.</a:t>
            </a:r>
            <a:endParaRPr lang="en-US" sz="7500" dirty="0">
              <a:solidFill>
                <a:schemeClr val="bg2"/>
              </a:solidFill>
            </a:endParaRPr>
          </a:p>
        </p:txBody>
      </p:sp>
      <p:sp>
        <p:nvSpPr>
          <p:cNvPr id="6" name="Date Placeholder 3">
            <a:extLst>
              <a:ext uri="{FF2B5EF4-FFF2-40B4-BE49-F238E27FC236}">
                <a16:creationId xmlns:a16="http://schemas.microsoft.com/office/drawing/2014/main" id="{7D02132E-8BC1-BC42-AFE9-0D055E9FB884}"/>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bg1"/>
                </a:solidFill>
              </a:rPr>
              <a:t>XX/XX/XXXX</a:t>
            </a:r>
          </a:p>
        </p:txBody>
      </p:sp>
      <p:sp>
        <p:nvSpPr>
          <p:cNvPr id="7" name="Slide Number Placeholder 5">
            <a:extLst>
              <a:ext uri="{FF2B5EF4-FFF2-40B4-BE49-F238E27FC236}">
                <a16:creationId xmlns:a16="http://schemas.microsoft.com/office/drawing/2014/main" id="{8CD11E44-01FC-004B-882A-B959AA47B299}"/>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solidFill>
                  <a:schemeClr val="bg1"/>
                </a:solidFill>
              </a:rPr>
              <a:pPr/>
              <a:t>20</a:t>
            </a:fld>
            <a:endParaRPr lang="en-US" dirty="0">
              <a:solidFill>
                <a:schemeClr val="bg1"/>
              </a:solidFill>
            </a:endParaRPr>
          </a:p>
        </p:txBody>
      </p:sp>
      <p:sp>
        <p:nvSpPr>
          <p:cNvPr id="11" name="Footer Placeholder 4">
            <a:extLst>
              <a:ext uri="{FF2B5EF4-FFF2-40B4-BE49-F238E27FC236}">
                <a16:creationId xmlns:a16="http://schemas.microsoft.com/office/drawing/2014/main" id="{B840E3AE-A361-054C-AA93-3B1E66ECA920}"/>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pPr algn="l"/>
            <a:r>
              <a:rPr lang="en-US" dirty="0">
                <a:solidFill>
                  <a:schemeClr val="bg1"/>
                </a:solidFill>
              </a:rPr>
              <a:t>Presentation Title</a:t>
            </a:r>
          </a:p>
        </p:txBody>
      </p:sp>
      <p:sp>
        <p:nvSpPr>
          <p:cNvPr id="8" name="Rectangle 7">
            <a:extLst>
              <a:ext uri="{FF2B5EF4-FFF2-40B4-BE49-F238E27FC236}">
                <a16:creationId xmlns:a16="http://schemas.microsoft.com/office/drawing/2014/main" id="{FB60E269-B71E-A342-8CC4-D2DD50FFAD4B}"/>
              </a:ext>
            </a:extLst>
          </p:cNvPr>
          <p:cNvSpPr/>
          <p:nvPr/>
        </p:nvSpPr>
        <p:spPr>
          <a:xfrm flipV="1">
            <a:off x="572323" y="6062713"/>
            <a:ext cx="11051266" cy="18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pic>
        <p:nvPicPr>
          <p:cNvPr id="9" name="Picture 8">
            <a:extLst>
              <a:ext uri="{FF2B5EF4-FFF2-40B4-BE49-F238E27FC236}">
                <a16:creationId xmlns:a16="http://schemas.microsoft.com/office/drawing/2014/main" id="{C1058B7E-0F4E-1945-B664-DAED0818495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2323" y="6217338"/>
            <a:ext cx="397595" cy="290379"/>
          </a:xfrm>
          <a:prstGeom prst="rect">
            <a:avLst/>
          </a:prstGeom>
        </p:spPr>
      </p:pic>
    </p:spTree>
    <p:extLst>
      <p:ext uri="{BB962C8B-B14F-4D97-AF65-F5344CB8AC3E}">
        <p14:creationId xmlns:p14="http://schemas.microsoft.com/office/powerpoint/2010/main" val="39568250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4">
            <a:extLst>
              <a:ext uri="{FF2B5EF4-FFF2-40B4-BE49-F238E27FC236}">
                <a16:creationId xmlns:a16="http://schemas.microsoft.com/office/drawing/2014/main" id="{1595F66F-B636-F34B-BE9B-5A482BC0E0A2}"/>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0" y="0"/>
            <a:ext cx="12192000" cy="13528514"/>
          </a:xfrm>
          <a:prstGeom prst="rect">
            <a:avLst/>
          </a:prstGeom>
        </p:spPr>
      </p:pic>
      <p:sp>
        <p:nvSpPr>
          <p:cNvPr id="15" name="Rectangle 14">
            <a:extLst>
              <a:ext uri="{FF2B5EF4-FFF2-40B4-BE49-F238E27FC236}">
                <a16:creationId xmlns:a16="http://schemas.microsoft.com/office/drawing/2014/main" id="{2D5E9F68-0C4E-4D4C-B20A-D62B766E7DA0}"/>
              </a:ext>
            </a:extLst>
          </p:cNvPr>
          <p:cNvSpPr/>
          <p:nvPr/>
        </p:nvSpPr>
        <p:spPr>
          <a:xfrm flipV="1">
            <a:off x="572323" y="6053452"/>
            <a:ext cx="11051266" cy="18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9" name="Date Placeholder 3">
            <a:extLst>
              <a:ext uri="{FF2B5EF4-FFF2-40B4-BE49-F238E27FC236}">
                <a16:creationId xmlns:a16="http://schemas.microsoft.com/office/drawing/2014/main" id="{88EFAF7A-8AFF-A348-8411-EB797E4ACF35}"/>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bg1"/>
                </a:solidFill>
              </a:rPr>
              <a:t>XX/XX/XXXX</a:t>
            </a:r>
          </a:p>
        </p:txBody>
      </p:sp>
      <p:sp>
        <p:nvSpPr>
          <p:cNvPr id="10" name="Slide Number Placeholder 5">
            <a:extLst>
              <a:ext uri="{FF2B5EF4-FFF2-40B4-BE49-F238E27FC236}">
                <a16:creationId xmlns:a16="http://schemas.microsoft.com/office/drawing/2014/main" id="{F7B2ED2F-1604-9545-8A02-46660C47ABC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solidFill>
                  <a:schemeClr val="bg1"/>
                </a:solidFill>
                <a:latin typeface="NeueHaasGroteskDisp Pro" panose="020B0504020202020204" pitchFamily="34" charset="77"/>
              </a:rPr>
              <a:pPr/>
              <a:t>21</a:t>
            </a:fld>
            <a:endParaRPr lang="en-US" dirty="0">
              <a:solidFill>
                <a:schemeClr val="bg1"/>
              </a:solidFill>
              <a:latin typeface="NeueHaasGroteskDisp Pro" panose="020B0504020202020204" pitchFamily="34" charset="77"/>
            </a:endParaRPr>
          </a:p>
        </p:txBody>
      </p:sp>
      <p:sp>
        <p:nvSpPr>
          <p:cNvPr id="16" name="Footer Placeholder 4">
            <a:extLst>
              <a:ext uri="{FF2B5EF4-FFF2-40B4-BE49-F238E27FC236}">
                <a16:creationId xmlns:a16="http://schemas.microsoft.com/office/drawing/2014/main" id="{97D6E4B6-5566-5940-B43C-F92886AE55E2}"/>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r>
              <a:rPr lang="en-US" dirty="0">
                <a:solidFill>
                  <a:schemeClr val="bg1"/>
                </a:solidFill>
              </a:rPr>
              <a:t>Presentation Title</a:t>
            </a:r>
          </a:p>
        </p:txBody>
      </p:sp>
      <p:pic>
        <p:nvPicPr>
          <p:cNvPr id="7" name="Picture 6">
            <a:extLst>
              <a:ext uri="{FF2B5EF4-FFF2-40B4-BE49-F238E27FC236}">
                <a16:creationId xmlns:a16="http://schemas.microsoft.com/office/drawing/2014/main" id="{B4188131-3A1F-4F6F-BD80-BF7B83664DE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72323" y="6217338"/>
            <a:ext cx="397595" cy="290379"/>
          </a:xfrm>
          <a:prstGeom prst="rect">
            <a:avLst/>
          </a:prstGeom>
        </p:spPr>
      </p:pic>
    </p:spTree>
    <p:extLst>
      <p:ext uri="{BB962C8B-B14F-4D97-AF65-F5344CB8AC3E}">
        <p14:creationId xmlns:p14="http://schemas.microsoft.com/office/powerpoint/2010/main" val="41242545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D5E9F68-0C4E-4D4C-B20A-D62B766E7DA0}"/>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0" name="Slide Number Placeholder 5">
            <a:extLst>
              <a:ext uri="{FF2B5EF4-FFF2-40B4-BE49-F238E27FC236}">
                <a16:creationId xmlns:a16="http://schemas.microsoft.com/office/drawing/2014/main" id="{F7B2ED2F-1604-9545-8A02-46660C47ABC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latin typeface="NeueHaasGroteskDisp Pro" panose="020B0504020202020204" pitchFamily="34" charset="77"/>
              </a:rPr>
              <a:pPr/>
              <a:t>22</a:t>
            </a:fld>
            <a:endParaRPr lang="en-US" dirty="0">
              <a:latin typeface="NeueHaasGroteskDisp Pro" panose="020B0504020202020204" pitchFamily="34" charset="77"/>
            </a:endParaRPr>
          </a:p>
        </p:txBody>
      </p:sp>
      <p:sp>
        <p:nvSpPr>
          <p:cNvPr id="13" name="Rectangle 12">
            <a:extLst>
              <a:ext uri="{FF2B5EF4-FFF2-40B4-BE49-F238E27FC236}">
                <a16:creationId xmlns:a16="http://schemas.microsoft.com/office/drawing/2014/main" id="{A50DDF76-5F6D-AB48-87D3-5C2C3E06F7C7}"/>
              </a:ext>
            </a:extLst>
          </p:cNvPr>
          <p:cNvSpPr/>
          <p:nvPr/>
        </p:nvSpPr>
        <p:spPr>
          <a:xfrm>
            <a:off x="1749288" y="5305408"/>
            <a:ext cx="1020417" cy="5300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pic>
        <p:nvPicPr>
          <p:cNvPr id="9" name="Picture 8" descr="A picture containing diagram&#10;&#10;Description automatically generated">
            <a:extLst>
              <a:ext uri="{FF2B5EF4-FFF2-40B4-BE49-F238E27FC236}">
                <a16:creationId xmlns:a16="http://schemas.microsoft.com/office/drawing/2014/main" id="{B351AA05-2775-2B4B-93D0-295D767DB2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21715" y="327554"/>
            <a:ext cx="8680695" cy="5616920"/>
          </a:xfrm>
          <a:prstGeom prst="rect">
            <a:avLst/>
          </a:prstGeom>
        </p:spPr>
      </p:pic>
      <p:sp>
        <p:nvSpPr>
          <p:cNvPr id="14" name="Title 1">
            <a:extLst>
              <a:ext uri="{FF2B5EF4-FFF2-40B4-BE49-F238E27FC236}">
                <a16:creationId xmlns:a16="http://schemas.microsoft.com/office/drawing/2014/main" id="{B3D1EE3D-36BF-EE41-9FE9-E1DDFDD069B6}"/>
              </a:ext>
            </a:extLst>
          </p:cNvPr>
          <p:cNvSpPr>
            <a:spLocks noGrp="1"/>
          </p:cNvSpPr>
          <p:nvPr>
            <p:ph type="title"/>
          </p:nvPr>
        </p:nvSpPr>
        <p:spPr>
          <a:xfrm>
            <a:off x="572323" y="415860"/>
            <a:ext cx="5127977" cy="1697298"/>
          </a:xfrm>
        </p:spPr>
        <p:txBody>
          <a:bodyPr>
            <a:noAutofit/>
          </a:bodyPr>
          <a:lstStyle/>
          <a:p>
            <a:r>
              <a:rPr lang="en-US" dirty="0"/>
              <a:t>Medical  Complications of Obesity</a:t>
            </a:r>
          </a:p>
        </p:txBody>
      </p:sp>
      <p:sp>
        <p:nvSpPr>
          <p:cNvPr id="11" name="Rectangle 10">
            <a:extLst>
              <a:ext uri="{FF2B5EF4-FFF2-40B4-BE49-F238E27FC236}">
                <a16:creationId xmlns:a16="http://schemas.microsoft.com/office/drawing/2014/main" id="{3D277879-F1F9-F345-B0F0-284BB88B6393}"/>
              </a:ext>
            </a:extLst>
          </p:cNvPr>
          <p:cNvSpPr/>
          <p:nvPr/>
        </p:nvSpPr>
        <p:spPr>
          <a:xfrm>
            <a:off x="7107717" y="6340573"/>
            <a:ext cx="4128694" cy="307777"/>
          </a:xfrm>
          <a:prstGeom prst="rect">
            <a:avLst/>
          </a:prstGeom>
        </p:spPr>
        <p:txBody>
          <a:bodyPr wrap="none">
            <a:spAutoFit/>
          </a:bodyPr>
          <a:lstStyle/>
          <a:p>
            <a:r>
              <a:rPr lang="en-US" sz="1400" dirty="0">
                <a:solidFill>
                  <a:srgbClr val="311E63"/>
                </a:solidFill>
                <a:latin typeface="NeueHaasGroteskDisp Pro" panose="020B0504020202020204" pitchFamily="34" charset="77"/>
              </a:rPr>
              <a:t>LSU’s Pennington Biomedical Research Center, 2019</a:t>
            </a:r>
          </a:p>
        </p:txBody>
      </p:sp>
    </p:spTree>
    <p:extLst>
      <p:ext uri="{BB962C8B-B14F-4D97-AF65-F5344CB8AC3E}">
        <p14:creationId xmlns:p14="http://schemas.microsoft.com/office/powerpoint/2010/main" val="24121521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4">
            <a:extLst>
              <a:ext uri="{FF2B5EF4-FFF2-40B4-BE49-F238E27FC236}">
                <a16:creationId xmlns:a16="http://schemas.microsoft.com/office/drawing/2014/main" id="{1595F66F-B636-F34B-BE9B-5A482BC0E0A2}"/>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6011518" y="0"/>
            <a:ext cx="6180482" cy="6858000"/>
          </a:xfrm>
          <a:prstGeom prst="rect">
            <a:avLst/>
          </a:prstGeom>
        </p:spPr>
      </p:pic>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p:txBody>
          <a:bodyPr>
            <a:noAutofit/>
          </a:bodyPr>
          <a:lstStyle/>
          <a:p>
            <a:r>
              <a:rPr lang="en-US" dirty="0"/>
              <a:t>Lorem ipsum dolor sit </a:t>
            </a:r>
            <a:r>
              <a:rPr lang="en-US" dirty="0" err="1"/>
              <a:t>amet</a:t>
            </a:r>
            <a:r>
              <a:rPr lang="en-US" dirty="0"/>
              <a:t> con </a:t>
            </a:r>
            <a:r>
              <a:rPr lang="en-US" dirty="0" err="1"/>
              <a:t>secte</a:t>
            </a:r>
            <a:r>
              <a:rPr lang="en-US" dirty="0"/>
              <a:t> tur.</a:t>
            </a:r>
            <a:endParaRPr lang="en-US" dirty="0">
              <a:latin typeface="NeueHaasGroteskDisp Pro Md" panose="020B0504020202020204" pitchFamily="34" charset="77"/>
            </a:endParaRPr>
          </a:p>
        </p:txBody>
      </p:sp>
      <p:sp>
        <p:nvSpPr>
          <p:cNvPr id="3" name="Content Placeholder 2">
            <a:extLst>
              <a:ext uri="{FF2B5EF4-FFF2-40B4-BE49-F238E27FC236}">
                <a16:creationId xmlns:a16="http://schemas.microsoft.com/office/drawing/2014/main" id="{2AD4E37D-B1E5-E242-B2E1-4D5D999531D4}"/>
              </a:ext>
            </a:extLst>
          </p:cNvPr>
          <p:cNvSpPr>
            <a:spLocks noGrp="1"/>
          </p:cNvSpPr>
          <p:nvPr>
            <p:ph idx="1"/>
          </p:nvPr>
        </p:nvSpPr>
        <p:spPr>
          <a:xfrm>
            <a:off x="451020" y="1721150"/>
            <a:ext cx="4902030" cy="1532540"/>
          </a:xfrm>
        </p:spPr>
        <p:txBody>
          <a:bodyPr>
            <a:normAutofit/>
          </a:bodyPr>
          <a:lstStyle/>
          <a:p>
            <a:r>
              <a:rPr lang="en-US" sz="2000" dirty="0"/>
              <a:t>Lorem ipsum dolor sit </a:t>
            </a:r>
            <a:r>
              <a:rPr lang="en-US" sz="2000" dirty="0" err="1"/>
              <a:t>amet</a:t>
            </a:r>
            <a:r>
              <a:rPr lang="en-US" sz="2000" dirty="0"/>
              <a:t>, </a:t>
            </a:r>
            <a:r>
              <a:rPr lang="en-US" sz="2000" dirty="0" err="1"/>
              <a:t>consectetur</a:t>
            </a:r>
            <a:r>
              <a:rPr lang="en-US" sz="2000" dirty="0"/>
              <a:t> </a:t>
            </a:r>
            <a:r>
              <a:rPr lang="en-US" sz="2000" dirty="0" err="1"/>
              <a:t>adipiscing</a:t>
            </a:r>
            <a:r>
              <a:rPr lang="en-US" sz="2000" dirty="0"/>
              <a:t> </a:t>
            </a:r>
            <a:r>
              <a:rPr lang="en-US" sz="2000" dirty="0" err="1"/>
              <a:t>elit</a:t>
            </a:r>
            <a:r>
              <a:rPr lang="en-US" sz="2000" dirty="0"/>
              <a:t>. </a:t>
            </a:r>
            <a:r>
              <a:rPr lang="en-US" sz="2000" dirty="0" err="1"/>
              <a:t>Quisque</a:t>
            </a:r>
            <a:r>
              <a:rPr lang="en-US" sz="2000" dirty="0"/>
              <a:t> </a:t>
            </a:r>
            <a:r>
              <a:rPr lang="en-US" sz="2000" dirty="0" err="1"/>
              <a:t>quis</a:t>
            </a:r>
            <a:r>
              <a:rPr lang="en-US" sz="2000" dirty="0"/>
              <a:t> </a:t>
            </a:r>
            <a:r>
              <a:rPr lang="en-US" sz="2000" dirty="0" err="1"/>
              <a:t>molestie</a:t>
            </a:r>
            <a:r>
              <a:rPr lang="en-US" sz="2000" dirty="0"/>
              <a:t> </a:t>
            </a:r>
            <a:r>
              <a:rPr lang="en-US" sz="2000" dirty="0" err="1"/>
              <a:t>neque</a:t>
            </a:r>
            <a:r>
              <a:rPr lang="en-US" sz="2000" dirty="0"/>
              <a:t>, vitae </a:t>
            </a:r>
            <a:r>
              <a:rPr lang="en-US" sz="2000" dirty="0" err="1"/>
              <a:t>ornare</a:t>
            </a:r>
            <a:r>
              <a:rPr lang="en-US" sz="2000" dirty="0"/>
              <a:t> </a:t>
            </a:r>
            <a:r>
              <a:rPr lang="en-US" sz="2000" dirty="0" err="1"/>
              <a:t>nibh</a:t>
            </a:r>
            <a:r>
              <a:rPr lang="en-US" sz="2000" dirty="0"/>
              <a:t>. Maecenas </a:t>
            </a:r>
            <a:r>
              <a:rPr lang="en-US" sz="2000" dirty="0" err="1"/>
              <a:t>enim</a:t>
            </a:r>
            <a:r>
              <a:rPr lang="en-US" sz="2000" dirty="0"/>
              <a:t> ipsum.</a:t>
            </a:r>
          </a:p>
        </p:txBody>
      </p:sp>
      <p:sp>
        <p:nvSpPr>
          <p:cNvPr id="15" name="Rectangle 14">
            <a:extLst>
              <a:ext uri="{FF2B5EF4-FFF2-40B4-BE49-F238E27FC236}">
                <a16:creationId xmlns:a16="http://schemas.microsoft.com/office/drawing/2014/main" id="{2D5E9F68-0C4E-4D4C-B20A-D62B766E7DA0}"/>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9" name="Date Placeholder 3">
            <a:extLst>
              <a:ext uri="{FF2B5EF4-FFF2-40B4-BE49-F238E27FC236}">
                <a16:creationId xmlns:a16="http://schemas.microsoft.com/office/drawing/2014/main" id="{88EFAF7A-8AFF-A348-8411-EB797E4ACF35}"/>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tx2"/>
                </a:solidFill>
              </a:rPr>
              <a:t>XX/XX/XXXX</a:t>
            </a:r>
          </a:p>
        </p:txBody>
      </p:sp>
      <p:sp>
        <p:nvSpPr>
          <p:cNvPr id="10" name="Slide Number Placeholder 5">
            <a:extLst>
              <a:ext uri="{FF2B5EF4-FFF2-40B4-BE49-F238E27FC236}">
                <a16:creationId xmlns:a16="http://schemas.microsoft.com/office/drawing/2014/main" id="{F7B2ED2F-1604-9545-8A02-46660C47ABC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latin typeface="NeueHaasGroteskDisp Pro" panose="020B0504020202020204" pitchFamily="34" charset="77"/>
              </a:rPr>
              <a:pPr/>
              <a:t>23</a:t>
            </a:fld>
            <a:endParaRPr lang="en-US" dirty="0">
              <a:latin typeface="NeueHaasGroteskDisp Pro" panose="020B0504020202020204" pitchFamily="34" charset="77"/>
            </a:endParaRPr>
          </a:p>
        </p:txBody>
      </p:sp>
      <p:sp>
        <p:nvSpPr>
          <p:cNvPr id="16" name="Footer Placeholder 4">
            <a:extLst>
              <a:ext uri="{FF2B5EF4-FFF2-40B4-BE49-F238E27FC236}">
                <a16:creationId xmlns:a16="http://schemas.microsoft.com/office/drawing/2014/main" id="{97D6E4B6-5566-5940-B43C-F92886AE55E2}"/>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r>
              <a:rPr lang="en-US" dirty="0"/>
              <a:t>Presentation Title</a:t>
            </a:r>
          </a:p>
        </p:txBody>
      </p:sp>
    </p:spTree>
    <p:extLst>
      <p:ext uri="{BB962C8B-B14F-4D97-AF65-F5344CB8AC3E}">
        <p14:creationId xmlns:p14="http://schemas.microsoft.com/office/powerpoint/2010/main" val="31706102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15DFC8-D177-4F81-9CA1-B0C8CA4C6129}"/>
              </a:ext>
            </a:extLst>
          </p:cNvPr>
          <p:cNvSpPr>
            <a:spLocks noGrp="1"/>
          </p:cNvSpPr>
          <p:nvPr>
            <p:ph type="title"/>
          </p:nvPr>
        </p:nvSpPr>
        <p:spPr/>
        <p:txBody>
          <a:bodyPr/>
          <a:lstStyle/>
          <a:p>
            <a:r>
              <a:rPr lang="en-US" dirty="0"/>
              <a:t>Lorem ipsum dolor sit </a:t>
            </a:r>
            <a:r>
              <a:rPr lang="en-US" dirty="0" err="1"/>
              <a:t>amet</a:t>
            </a:r>
            <a:r>
              <a:rPr lang="en-US" dirty="0"/>
              <a:t> con </a:t>
            </a:r>
            <a:r>
              <a:rPr lang="en-US" dirty="0" err="1"/>
              <a:t>secte</a:t>
            </a:r>
            <a:r>
              <a:rPr lang="en-US" dirty="0"/>
              <a:t> tur.</a:t>
            </a:r>
          </a:p>
        </p:txBody>
      </p:sp>
      <p:sp>
        <p:nvSpPr>
          <p:cNvPr id="3" name="Content Placeholder 2">
            <a:extLst>
              <a:ext uri="{FF2B5EF4-FFF2-40B4-BE49-F238E27FC236}">
                <a16:creationId xmlns:a16="http://schemas.microsoft.com/office/drawing/2014/main" id="{4BF7066D-1A92-4F20-B0D4-ACD97BF5056A}"/>
              </a:ext>
            </a:extLst>
          </p:cNvPr>
          <p:cNvSpPr>
            <a:spLocks noGrp="1"/>
          </p:cNvSpPr>
          <p:nvPr>
            <p:ph idx="1"/>
          </p:nvPr>
        </p:nvSpPr>
        <p:spPr/>
        <p:txBody>
          <a:bodyPr>
            <a:normAutofit/>
          </a:bodyPr>
          <a:lstStyle/>
          <a:p>
            <a:r>
              <a:rPr lang="en-US" sz="2000" dirty="0"/>
              <a:t>Lorem ipsum dolor sit </a:t>
            </a:r>
            <a:r>
              <a:rPr lang="en-US" sz="2000" dirty="0" err="1"/>
              <a:t>amet</a:t>
            </a:r>
            <a:r>
              <a:rPr lang="en-US" sz="2000" dirty="0"/>
              <a:t>, </a:t>
            </a:r>
            <a:r>
              <a:rPr lang="en-US" sz="2000" dirty="0" err="1"/>
              <a:t>consectetur</a:t>
            </a:r>
            <a:r>
              <a:rPr lang="en-US" sz="2000" dirty="0"/>
              <a:t> </a:t>
            </a:r>
            <a:r>
              <a:rPr lang="en-US" sz="2000" dirty="0" err="1"/>
              <a:t>adipiscing</a:t>
            </a:r>
            <a:r>
              <a:rPr lang="en-US" sz="2000" dirty="0"/>
              <a:t> </a:t>
            </a:r>
            <a:r>
              <a:rPr lang="en-US" sz="2000" dirty="0" err="1"/>
              <a:t>elit</a:t>
            </a:r>
            <a:r>
              <a:rPr lang="en-US" sz="2000" dirty="0"/>
              <a:t>. </a:t>
            </a:r>
            <a:r>
              <a:rPr lang="en-US" sz="2000" dirty="0" err="1"/>
              <a:t>Quisque</a:t>
            </a:r>
            <a:r>
              <a:rPr lang="en-US" sz="2000" dirty="0"/>
              <a:t> </a:t>
            </a:r>
            <a:r>
              <a:rPr lang="en-US" sz="2000" dirty="0" err="1"/>
              <a:t>quis</a:t>
            </a:r>
            <a:r>
              <a:rPr lang="en-US" sz="2000" dirty="0"/>
              <a:t> </a:t>
            </a:r>
            <a:r>
              <a:rPr lang="en-US" sz="2000" dirty="0" err="1"/>
              <a:t>molestie</a:t>
            </a:r>
            <a:r>
              <a:rPr lang="en-US" sz="2000" dirty="0"/>
              <a:t> </a:t>
            </a:r>
            <a:r>
              <a:rPr lang="en-US" sz="2000" dirty="0" err="1"/>
              <a:t>neque</a:t>
            </a:r>
            <a:r>
              <a:rPr lang="en-US" sz="2000" dirty="0"/>
              <a:t>, vitae </a:t>
            </a:r>
            <a:r>
              <a:rPr lang="en-US" sz="2000" dirty="0" err="1"/>
              <a:t>ornare</a:t>
            </a:r>
            <a:r>
              <a:rPr lang="en-US" sz="2000" dirty="0"/>
              <a:t> </a:t>
            </a:r>
            <a:r>
              <a:rPr lang="en-US" sz="2000" dirty="0" err="1"/>
              <a:t>nibh</a:t>
            </a:r>
            <a:r>
              <a:rPr lang="en-US" sz="2000" dirty="0"/>
              <a:t>. Maecenas </a:t>
            </a:r>
            <a:r>
              <a:rPr lang="en-US" sz="2000" dirty="0" err="1"/>
              <a:t>enim</a:t>
            </a:r>
            <a:r>
              <a:rPr lang="en-US" sz="2000" dirty="0"/>
              <a:t> ipsum.</a:t>
            </a:r>
          </a:p>
        </p:txBody>
      </p:sp>
      <p:pic>
        <p:nvPicPr>
          <p:cNvPr id="5" name="Picture Placeholder 14">
            <a:extLst>
              <a:ext uri="{FF2B5EF4-FFF2-40B4-BE49-F238E27FC236}">
                <a16:creationId xmlns:a16="http://schemas.microsoft.com/office/drawing/2014/main" id="{B03E98E2-6775-4CD1-8B8E-32475CDBD2C6}"/>
              </a:ext>
            </a:extLst>
          </p:cNvPr>
          <p:cNvPicPr>
            <a:picLocks noGrp="1" noChangeAspect="1"/>
          </p:cNvPicPr>
          <p:nvPr>
            <p:ph idx="13"/>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6689126" y="408096"/>
            <a:ext cx="4802703" cy="5329238"/>
          </a:xfrm>
          <a:prstGeom prst="rect">
            <a:avLst/>
          </a:prstGeom>
        </p:spPr>
      </p:pic>
      <p:sp>
        <p:nvSpPr>
          <p:cNvPr id="6" name="Date Placeholder 3">
            <a:extLst>
              <a:ext uri="{FF2B5EF4-FFF2-40B4-BE49-F238E27FC236}">
                <a16:creationId xmlns:a16="http://schemas.microsoft.com/office/drawing/2014/main" id="{BAA8C575-DDCF-4E13-806D-7BECDE709200}"/>
              </a:ext>
            </a:extLst>
          </p:cNvPr>
          <p:cNvSpPr>
            <a:spLocks noGrp="1"/>
          </p:cNvSpPr>
          <p:nvPr>
            <p:ph type="dt" sz="half" idx="10"/>
          </p:nvPr>
        </p:nvSpPr>
        <p:spPr>
          <a:xfrm>
            <a:off x="8806249" y="6129337"/>
            <a:ext cx="1151238" cy="365125"/>
          </a:xfrm>
        </p:spPr>
        <p:txBody>
          <a:bodyPr/>
          <a:lstStyle>
            <a:lvl1pPr algn="r">
              <a:defRPr sz="1000" b="0" i="0">
                <a:solidFill>
                  <a:schemeClr val="bg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7" name="Slide Number Placeholder 5">
            <a:extLst>
              <a:ext uri="{FF2B5EF4-FFF2-40B4-BE49-F238E27FC236}">
                <a16:creationId xmlns:a16="http://schemas.microsoft.com/office/drawing/2014/main" id="{E81894CF-2B37-4A26-9183-0AE41F518967}"/>
              </a:ext>
            </a:extLst>
          </p:cNvPr>
          <p:cNvSpPr>
            <a:spLocks noGrp="1"/>
          </p:cNvSpPr>
          <p:nvPr>
            <p:ph type="sldNum" sz="quarter" idx="12"/>
          </p:nvPr>
        </p:nvSpPr>
        <p:spPr>
          <a:xfrm>
            <a:off x="11236411" y="6129337"/>
            <a:ext cx="463378" cy="365125"/>
          </a:xfrm>
        </p:spPr>
        <p:txBody>
          <a:bodyPr/>
          <a:lstStyle>
            <a:lvl1pPr>
              <a:defRPr sz="1000" b="0" i="0">
                <a:solidFill>
                  <a:schemeClr val="bg1"/>
                </a:solidFill>
                <a:latin typeface="NeueHaasGroteskDisp Pro" panose="020B0504020202020204" pitchFamily="34" charset="0"/>
              </a:defRPr>
            </a:lvl1pPr>
          </a:lstStyle>
          <a:p>
            <a:fld id="{7F43BC75-A8B3-524C-9CB1-17F14D0EA8E1}" type="slidenum">
              <a:rPr lang="en-US" smtClean="0"/>
              <a:pPr/>
              <a:t>24</a:t>
            </a:fld>
            <a:endParaRPr lang="en-US" dirty="0">
              <a:latin typeface="NeueHaasGroteskDisp Pro" panose="020B0504020202020204" pitchFamily="34" charset="0"/>
            </a:endParaRPr>
          </a:p>
        </p:txBody>
      </p:sp>
      <p:sp>
        <p:nvSpPr>
          <p:cNvPr id="8" name="Footer Placeholder 4">
            <a:extLst>
              <a:ext uri="{FF2B5EF4-FFF2-40B4-BE49-F238E27FC236}">
                <a16:creationId xmlns:a16="http://schemas.microsoft.com/office/drawing/2014/main" id="{005D3019-B1D5-4665-8649-5E5456E00014}"/>
              </a:ext>
            </a:extLst>
          </p:cNvPr>
          <p:cNvSpPr>
            <a:spLocks noGrp="1"/>
          </p:cNvSpPr>
          <p:nvPr>
            <p:ph type="ftr" sz="quarter" idx="11"/>
          </p:nvPr>
        </p:nvSpPr>
        <p:spPr>
          <a:xfrm>
            <a:off x="6069184" y="6129337"/>
            <a:ext cx="2078038" cy="365125"/>
          </a:xfrm>
        </p:spPr>
        <p:txBody>
          <a:bodyPr/>
          <a:lstStyle>
            <a:lvl1pPr algn="l">
              <a:defRPr sz="1000" b="0" i="0">
                <a:solidFill>
                  <a:schemeClr val="bg1"/>
                </a:solidFill>
                <a:latin typeface="NeueHaasGroteskDisp Pro" panose="020B0504020202020204" pitchFamily="34" charset="0"/>
              </a:defRPr>
            </a:lvl1pPr>
          </a:lstStyle>
          <a:p>
            <a:r>
              <a:rPr lang="en-US" dirty="0"/>
              <a:t>Footer</a:t>
            </a:r>
            <a:endParaRPr lang="en-US" dirty="0">
              <a:latin typeface="NeueHaasGroteskDisp Pro" panose="020B0504020202020204" pitchFamily="34" charset="0"/>
            </a:endParaRPr>
          </a:p>
        </p:txBody>
      </p:sp>
    </p:spTree>
    <p:extLst>
      <p:ext uri="{BB962C8B-B14F-4D97-AF65-F5344CB8AC3E}">
        <p14:creationId xmlns:p14="http://schemas.microsoft.com/office/powerpoint/2010/main" val="39631077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870D5CB-9FB9-9246-B886-37E8DF9D0FD1}"/>
              </a:ext>
            </a:extLst>
          </p:cNvPr>
          <p:cNvPicPr>
            <a:picLocks noChangeAspect="1"/>
          </p:cNvPicPr>
          <p:nvPr/>
        </p:nvPicPr>
        <p:blipFill>
          <a:blip r:embed="rId2"/>
          <a:stretch>
            <a:fillRect/>
          </a:stretch>
        </p:blipFill>
        <p:spPr>
          <a:xfrm>
            <a:off x="5965434" y="-10160"/>
            <a:ext cx="6248927" cy="6868160"/>
          </a:xfrm>
          <a:prstGeom prst="rect">
            <a:avLst/>
          </a:prstGeom>
        </p:spPr>
      </p:pic>
      <p:sp>
        <p:nvSpPr>
          <p:cNvPr id="5" name="Title 4">
            <a:extLst>
              <a:ext uri="{FF2B5EF4-FFF2-40B4-BE49-F238E27FC236}">
                <a16:creationId xmlns:a16="http://schemas.microsoft.com/office/drawing/2014/main" id="{315A0428-3F29-F842-959F-A27C6FA1E3AC}"/>
              </a:ext>
            </a:extLst>
          </p:cNvPr>
          <p:cNvSpPr>
            <a:spLocks noGrp="1"/>
          </p:cNvSpPr>
          <p:nvPr>
            <p:ph type="title"/>
          </p:nvPr>
        </p:nvSpPr>
        <p:spPr>
          <a:xfrm>
            <a:off x="451020" y="598066"/>
            <a:ext cx="4752171" cy="639972"/>
          </a:xfrm>
        </p:spPr>
        <p:txBody>
          <a:bodyPr anchor="t">
            <a:noAutofit/>
          </a:bodyPr>
          <a:lstStyle/>
          <a:p>
            <a:r>
              <a:rPr lang="en-US" sz="3600" dirty="0"/>
              <a:t>Food System Reform</a:t>
            </a:r>
          </a:p>
        </p:txBody>
      </p:sp>
      <p:sp>
        <p:nvSpPr>
          <p:cNvPr id="6" name="Content Placeholder 5">
            <a:extLst>
              <a:ext uri="{FF2B5EF4-FFF2-40B4-BE49-F238E27FC236}">
                <a16:creationId xmlns:a16="http://schemas.microsoft.com/office/drawing/2014/main" id="{229BC40C-8D2A-0D4F-B954-EA3F7E6F8406}"/>
              </a:ext>
            </a:extLst>
          </p:cNvPr>
          <p:cNvSpPr>
            <a:spLocks noGrp="1"/>
          </p:cNvSpPr>
          <p:nvPr>
            <p:ph idx="1"/>
          </p:nvPr>
        </p:nvSpPr>
        <p:spPr>
          <a:xfrm>
            <a:off x="451020" y="1511094"/>
            <a:ext cx="5103874" cy="3568007"/>
          </a:xfrm>
        </p:spPr>
        <p:txBody>
          <a:bodyPr>
            <a:noAutofit/>
          </a:bodyPr>
          <a:lstStyle/>
          <a:p>
            <a:pPr lvl="0">
              <a:lnSpc>
                <a:spcPct val="120000"/>
              </a:lnSpc>
            </a:pPr>
            <a:r>
              <a:rPr lang="en-US" sz="2400" dirty="0">
                <a:latin typeface="NeueHaasGroteskDisp Pro" panose="020B0504020202020204" pitchFamily="34" charset="77"/>
              </a:rPr>
              <a:t>It’s not just about the development of nutraceuticals.</a:t>
            </a:r>
          </a:p>
          <a:p>
            <a:pPr lvl="0">
              <a:lnSpc>
                <a:spcPct val="120000"/>
              </a:lnSpc>
            </a:pPr>
            <a:r>
              <a:rPr lang="en-US" sz="2400" dirty="0">
                <a:latin typeface="NeueHaasGroteskDisp Pro" panose="020B0504020202020204" pitchFamily="34" charset="77"/>
              </a:rPr>
              <a:t>It’s about the shift to plant-based diets.</a:t>
            </a:r>
          </a:p>
          <a:p>
            <a:pPr lvl="0">
              <a:lnSpc>
                <a:spcPct val="120000"/>
              </a:lnSpc>
            </a:pPr>
            <a:r>
              <a:rPr lang="en-US" sz="2400" dirty="0">
                <a:latin typeface="NeueHaasGroteskDisp Pro" panose="020B0504020202020204" pitchFamily="34" charset="77"/>
              </a:rPr>
              <a:t>Shift to plant based sustainable agriculture will help not only the nutritional disease, but also climate change!</a:t>
            </a:r>
          </a:p>
        </p:txBody>
      </p:sp>
      <p:pic>
        <p:nvPicPr>
          <p:cNvPr id="10" name="Picture 9">
            <a:extLst>
              <a:ext uri="{FF2B5EF4-FFF2-40B4-BE49-F238E27FC236}">
                <a16:creationId xmlns:a16="http://schemas.microsoft.com/office/drawing/2014/main" id="{45B14B69-5855-4A41-B07A-6A44C945DB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384424" y="363538"/>
            <a:ext cx="2356556" cy="790998"/>
          </a:xfrm>
          <a:prstGeom prst="rect">
            <a:avLst/>
          </a:prstGeom>
        </p:spPr>
      </p:pic>
      <p:sp>
        <p:nvSpPr>
          <p:cNvPr id="7" name="Slide Number Placeholder 5">
            <a:extLst>
              <a:ext uri="{FF2B5EF4-FFF2-40B4-BE49-F238E27FC236}">
                <a16:creationId xmlns:a16="http://schemas.microsoft.com/office/drawing/2014/main" id="{08D3D929-D35F-A040-B9F8-C1EA4DDA5DC9}"/>
              </a:ext>
            </a:extLst>
          </p:cNvPr>
          <p:cNvSpPr txBox="1">
            <a:spLocks/>
          </p:cNvSpPr>
          <p:nvPr/>
        </p:nvSpPr>
        <p:spPr>
          <a:xfrm>
            <a:off x="11388811" y="6281737"/>
            <a:ext cx="463378"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chemeClr val="bg1"/>
                </a:solidFill>
                <a:latin typeface="NeueHaasGroteskDisp Pro" panose="020B05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43BC75-A8B3-524C-9CB1-17F14D0EA8E1}" type="slidenum">
              <a:rPr lang="en-US" smtClean="0"/>
              <a:pPr/>
              <a:t>25</a:t>
            </a:fld>
            <a:endParaRPr lang="en-US" dirty="0"/>
          </a:p>
        </p:txBody>
      </p:sp>
      <p:sp>
        <p:nvSpPr>
          <p:cNvPr id="3" name="Slide Number Placeholder 2">
            <a:extLst>
              <a:ext uri="{FF2B5EF4-FFF2-40B4-BE49-F238E27FC236}">
                <a16:creationId xmlns:a16="http://schemas.microsoft.com/office/drawing/2014/main" id="{A00BDDDE-D30A-B848-8BFC-7D53A88064C1}"/>
              </a:ext>
            </a:extLst>
          </p:cNvPr>
          <p:cNvSpPr>
            <a:spLocks noGrp="1"/>
          </p:cNvSpPr>
          <p:nvPr>
            <p:ph type="sldNum" sz="quarter" idx="12"/>
          </p:nvPr>
        </p:nvSpPr>
        <p:spPr/>
        <p:txBody>
          <a:bodyPr/>
          <a:lstStyle/>
          <a:p>
            <a:fld id="{7F43BC75-A8B3-524C-9CB1-17F14D0EA8E1}" type="slidenum">
              <a:rPr lang="en-US" smtClean="0"/>
              <a:pPr/>
              <a:t>25</a:t>
            </a:fld>
            <a:endParaRPr lang="en-US" dirty="0"/>
          </a:p>
        </p:txBody>
      </p:sp>
    </p:spTree>
    <p:extLst>
      <p:ext uri="{BB962C8B-B14F-4D97-AF65-F5344CB8AC3E}">
        <p14:creationId xmlns:p14="http://schemas.microsoft.com/office/powerpoint/2010/main" val="2620450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C95E83-1154-CC4F-993F-16533936CFE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63312" y="0"/>
            <a:ext cx="6128688" cy="6858000"/>
          </a:xfrm>
          <a:prstGeom prst="rect">
            <a:avLst/>
          </a:prstGeom>
        </p:spPr>
      </p:pic>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20" y="445724"/>
            <a:ext cx="3541860" cy="976676"/>
          </a:xfrm>
        </p:spPr>
        <p:txBody>
          <a:bodyPr>
            <a:noAutofit/>
          </a:bodyPr>
          <a:lstStyle/>
          <a:p>
            <a:r>
              <a:rPr lang="en-US" dirty="0"/>
              <a:t>Proven benefits of weight loss</a:t>
            </a:r>
          </a:p>
        </p:txBody>
      </p:sp>
      <p:sp>
        <p:nvSpPr>
          <p:cNvPr id="3" name="Content Placeholder 2">
            <a:extLst>
              <a:ext uri="{FF2B5EF4-FFF2-40B4-BE49-F238E27FC236}">
                <a16:creationId xmlns:a16="http://schemas.microsoft.com/office/drawing/2014/main" id="{2AD4E37D-B1E5-E242-B2E1-4D5D999531D4}"/>
              </a:ext>
            </a:extLst>
          </p:cNvPr>
          <p:cNvSpPr>
            <a:spLocks noGrp="1"/>
          </p:cNvSpPr>
          <p:nvPr>
            <p:ph idx="1"/>
          </p:nvPr>
        </p:nvSpPr>
        <p:spPr>
          <a:xfrm>
            <a:off x="451020" y="1704318"/>
            <a:ext cx="4415620" cy="3897906"/>
          </a:xfrm>
        </p:spPr>
        <p:txBody>
          <a:bodyPr>
            <a:normAutofit/>
          </a:bodyPr>
          <a:lstStyle/>
          <a:p>
            <a:pPr marL="285750" indent="-285750">
              <a:lnSpc>
                <a:spcPct val="120000"/>
              </a:lnSpc>
              <a:spcBef>
                <a:spcPts val="0"/>
              </a:spcBef>
              <a:buClr>
                <a:srgbClr val="3E1C84"/>
              </a:buClr>
              <a:buFont typeface="NeueHaasGroteskDisp Pro"/>
              <a:buChar char="-"/>
            </a:pPr>
            <a:r>
              <a:rPr lang="en-US" dirty="0"/>
              <a:t>Prevention of diabetes</a:t>
            </a:r>
          </a:p>
          <a:p>
            <a:pPr marL="285750" indent="-285750">
              <a:lnSpc>
                <a:spcPct val="120000"/>
              </a:lnSpc>
              <a:spcBef>
                <a:spcPts val="0"/>
              </a:spcBef>
              <a:buClr>
                <a:srgbClr val="3E1C84"/>
              </a:buClr>
              <a:buFont typeface="NeueHaasGroteskDisp Pro"/>
              <a:buChar char="-"/>
            </a:pPr>
            <a:r>
              <a:rPr lang="en-US" dirty="0"/>
              <a:t>Remission of diabetes</a:t>
            </a:r>
          </a:p>
          <a:p>
            <a:pPr marL="285750" indent="-285750">
              <a:lnSpc>
                <a:spcPct val="120000"/>
              </a:lnSpc>
              <a:spcBef>
                <a:spcPts val="0"/>
              </a:spcBef>
              <a:buClr>
                <a:srgbClr val="3E1C84"/>
              </a:buClr>
              <a:buFont typeface="NeueHaasGroteskDisp Pro"/>
              <a:buChar char="-"/>
            </a:pPr>
            <a:r>
              <a:rPr lang="en-US" dirty="0"/>
              <a:t>Improvement in glycemia</a:t>
            </a:r>
          </a:p>
          <a:p>
            <a:pPr marL="285750" indent="-285750">
              <a:lnSpc>
                <a:spcPct val="120000"/>
              </a:lnSpc>
              <a:spcBef>
                <a:spcPts val="0"/>
              </a:spcBef>
              <a:buClr>
                <a:srgbClr val="3E1C84"/>
              </a:buClr>
              <a:buFont typeface="NeueHaasGroteskDisp Pro"/>
              <a:buChar char="-"/>
            </a:pPr>
            <a:r>
              <a:rPr lang="en-US" dirty="0"/>
              <a:t>Improvement in blood pressure</a:t>
            </a:r>
          </a:p>
          <a:p>
            <a:pPr marL="285750" indent="-285750">
              <a:lnSpc>
                <a:spcPct val="120000"/>
              </a:lnSpc>
              <a:spcBef>
                <a:spcPts val="0"/>
              </a:spcBef>
              <a:buClr>
                <a:srgbClr val="3E1C84"/>
              </a:buClr>
              <a:buFont typeface="NeueHaasGroteskDisp Pro"/>
              <a:buChar char="-"/>
            </a:pPr>
            <a:r>
              <a:rPr lang="en-US" dirty="0"/>
              <a:t>Lower risk of nephropathy</a:t>
            </a:r>
          </a:p>
          <a:p>
            <a:pPr marL="285750" indent="-285750">
              <a:lnSpc>
                <a:spcPct val="120000"/>
              </a:lnSpc>
              <a:spcBef>
                <a:spcPts val="0"/>
              </a:spcBef>
              <a:buClr>
                <a:srgbClr val="3E1C84"/>
              </a:buClr>
              <a:buFont typeface="NeueHaasGroteskDisp Pro"/>
              <a:buChar char="-"/>
            </a:pPr>
            <a:r>
              <a:rPr lang="en-US" dirty="0"/>
              <a:t>Lower risk of depression  and symptoms</a:t>
            </a:r>
          </a:p>
          <a:p>
            <a:pPr marL="285750" indent="-285750">
              <a:lnSpc>
                <a:spcPct val="120000"/>
              </a:lnSpc>
              <a:spcBef>
                <a:spcPts val="0"/>
              </a:spcBef>
              <a:buClr>
                <a:srgbClr val="3E1C84"/>
              </a:buClr>
              <a:buFont typeface="NeueHaasGroteskDisp Pro"/>
              <a:buChar char="-"/>
            </a:pPr>
            <a:r>
              <a:rPr lang="en-US" dirty="0"/>
              <a:t>Reduced sleep apnea     </a:t>
            </a:r>
          </a:p>
          <a:p>
            <a:pPr marL="285750" indent="-285750">
              <a:lnSpc>
                <a:spcPct val="120000"/>
              </a:lnSpc>
              <a:spcBef>
                <a:spcPts val="0"/>
              </a:spcBef>
              <a:buClr>
                <a:srgbClr val="3E1C84"/>
              </a:buClr>
              <a:buFont typeface="NeueHaasGroteskDisp Pro"/>
              <a:buChar char="-"/>
            </a:pPr>
            <a:r>
              <a:rPr lang="en-US" dirty="0"/>
              <a:t>Lower health care utilization and costs</a:t>
            </a:r>
          </a:p>
          <a:p>
            <a:pPr marL="285750" indent="-285750">
              <a:lnSpc>
                <a:spcPct val="120000"/>
              </a:lnSpc>
              <a:spcBef>
                <a:spcPts val="0"/>
              </a:spcBef>
              <a:buClr>
                <a:srgbClr val="3E1C84"/>
              </a:buClr>
              <a:buFont typeface="NeueHaasGroteskDisp Pro"/>
              <a:buChar char="-"/>
            </a:pPr>
            <a:r>
              <a:rPr lang="en-US" dirty="0"/>
              <a:t>Improvement in incontinence</a:t>
            </a:r>
          </a:p>
          <a:p>
            <a:pPr marL="285750" indent="-285750">
              <a:lnSpc>
                <a:spcPct val="120000"/>
              </a:lnSpc>
              <a:spcBef>
                <a:spcPts val="0"/>
              </a:spcBef>
              <a:buClr>
                <a:srgbClr val="3E1C84"/>
              </a:buClr>
              <a:buFont typeface="NeueHaasGroteskDisp Pro"/>
              <a:buChar char="-"/>
            </a:pPr>
            <a:r>
              <a:rPr lang="en-US" dirty="0"/>
              <a:t>Improvement in sexual function</a:t>
            </a:r>
          </a:p>
        </p:txBody>
      </p:sp>
      <p:sp>
        <p:nvSpPr>
          <p:cNvPr id="15" name="Rectangle 14">
            <a:extLst>
              <a:ext uri="{FF2B5EF4-FFF2-40B4-BE49-F238E27FC236}">
                <a16:creationId xmlns:a16="http://schemas.microsoft.com/office/drawing/2014/main" id="{2D5E9F68-0C4E-4D4C-B20A-D62B766E7DA0}"/>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5" name="Slide Number Placeholder 4">
            <a:extLst>
              <a:ext uri="{FF2B5EF4-FFF2-40B4-BE49-F238E27FC236}">
                <a16:creationId xmlns:a16="http://schemas.microsoft.com/office/drawing/2014/main" id="{4CA71ACD-E813-6F40-A9C6-8DB284D4A0EC}"/>
              </a:ext>
            </a:extLst>
          </p:cNvPr>
          <p:cNvSpPr>
            <a:spLocks noGrp="1"/>
          </p:cNvSpPr>
          <p:nvPr>
            <p:ph type="sldNum" sz="quarter" idx="12"/>
          </p:nvPr>
        </p:nvSpPr>
        <p:spPr/>
        <p:txBody>
          <a:bodyPr/>
          <a:lstStyle/>
          <a:p>
            <a:fld id="{7F43BC75-A8B3-524C-9CB1-17F14D0EA8E1}" type="slidenum">
              <a:rPr lang="en-US" smtClean="0"/>
              <a:pPr/>
              <a:t>26</a:t>
            </a:fld>
            <a:endParaRPr lang="en-US" dirty="0"/>
          </a:p>
        </p:txBody>
      </p:sp>
    </p:spTree>
    <p:extLst>
      <p:ext uri="{BB962C8B-B14F-4D97-AF65-F5344CB8AC3E}">
        <p14:creationId xmlns:p14="http://schemas.microsoft.com/office/powerpoint/2010/main" val="25036669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5A0428-3F29-F842-959F-A27C6FA1E3AC}"/>
              </a:ext>
            </a:extLst>
          </p:cNvPr>
          <p:cNvSpPr>
            <a:spLocks noGrp="1"/>
          </p:cNvSpPr>
          <p:nvPr>
            <p:ph type="title"/>
          </p:nvPr>
        </p:nvSpPr>
        <p:spPr>
          <a:xfrm>
            <a:off x="451020" y="477698"/>
            <a:ext cx="5048697" cy="1325563"/>
          </a:xfrm>
        </p:spPr>
        <p:txBody>
          <a:bodyPr>
            <a:noAutofit/>
          </a:bodyPr>
          <a:lstStyle/>
          <a:p>
            <a:r>
              <a:rPr lang="en-US" sz="3600" dirty="0"/>
              <a:t>The food industry in need of a major overhaul</a:t>
            </a:r>
          </a:p>
        </p:txBody>
      </p:sp>
      <p:sp>
        <p:nvSpPr>
          <p:cNvPr id="6" name="Content Placeholder 5">
            <a:extLst>
              <a:ext uri="{FF2B5EF4-FFF2-40B4-BE49-F238E27FC236}">
                <a16:creationId xmlns:a16="http://schemas.microsoft.com/office/drawing/2014/main" id="{229BC40C-8D2A-0D4F-B954-EA3F7E6F8406}"/>
              </a:ext>
            </a:extLst>
          </p:cNvPr>
          <p:cNvSpPr>
            <a:spLocks noGrp="1"/>
          </p:cNvSpPr>
          <p:nvPr>
            <p:ph idx="1"/>
          </p:nvPr>
        </p:nvSpPr>
        <p:spPr>
          <a:xfrm>
            <a:off x="451020" y="1803261"/>
            <a:ext cx="4856271" cy="3568007"/>
          </a:xfrm>
        </p:spPr>
        <p:txBody>
          <a:bodyPr>
            <a:noAutofit/>
          </a:bodyPr>
          <a:lstStyle/>
          <a:p>
            <a:pPr lvl="0">
              <a:lnSpc>
                <a:spcPct val="120000"/>
              </a:lnSpc>
            </a:pPr>
            <a:r>
              <a:rPr lang="en-US" sz="2400" dirty="0">
                <a:latin typeface="NeueHaasGroteskDisp Pro" panose="020B0504020202020204" pitchFamily="34" charset="77"/>
              </a:rPr>
              <a:t>Globally, nearly 800 million people lack sufficient nutrients.</a:t>
            </a:r>
          </a:p>
          <a:p>
            <a:pPr lvl="0">
              <a:lnSpc>
                <a:spcPct val="120000"/>
              </a:lnSpc>
            </a:pPr>
            <a:r>
              <a:rPr lang="en-US" sz="2400" dirty="0">
                <a:latin typeface="NeueHaasGroteskDisp Pro" panose="020B0504020202020204" pitchFamily="34" charset="77"/>
              </a:rPr>
              <a:t>Yet a third of the world is obese.</a:t>
            </a:r>
          </a:p>
          <a:p>
            <a:pPr lvl="0">
              <a:lnSpc>
                <a:spcPct val="120000"/>
              </a:lnSpc>
            </a:pPr>
            <a:r>
              <a:rPr lang="en-US" sz="2400" dirty="0">
                <a:latin typeface="NeueHaasGroteskDisp Pro" panose="020B0504020202020204" pitchFamily="34" charset="77"/>
              </a:rPr>
              <a:t>This suggests the food industry and the food system are in need of a major overhaul.</a:t>
            </a:r>
          </a:p>
        </p:txBody>
      </p:sp>
      <p:sp>
        <p:nvSpPr>
          <p:cNvPr id="2" name="Rectangle 1">
            <a:extLst>
              <a:ext uri="{FF2B5EF4-FFF2-40B4-BE49-F238E27FC236}">
                <a16:creationId xmlns:a16="http://schemas.microsoft.com/office/drawing/2014/main" id="{2A433DB8-1D02-2A41-B6FD-D50392E58DE6}"/>
              </a:ext>
            </a:extLst>
          </p:cNvPr>
          <p:cNvSpPr/>
          <p:nvPr/>
        </p:nvSpPr>
        <p:spPr>
          <a:xfrm>
            <a:off x="6884711" y="1036293"/>
            <a:ext cx="3449983" cy="1015663"/>
          </a:xfrm>
          <a:prstGeom prst="rect">
            <a:avLst/>
          </a:prstGeom>
        </p:spPr>
        <p:txBody>
          <a:bodyPr wrap="none">
            <a:spAutoFit/>
          </a:bodyPr>
          <a:lstStyle/>
          <a:p>
            <a:r>
              <a:rPr lang="en-US" sz="6000" b="1" dirty="0">
                <a:solidFill>
                  <a:srgbClr val="3E1C84"/>
                </a:solidFill>
                <a:latin typeface="NeueHaasGroteskDisp Pro" panose="020B0504020202020204" pitchFamily="34" charset="77"/>
              </a:rPr>
              <a:t>$8 trillion</a:t>
            </a:r>
          </a:p>
        </p:txBody>
      </p:sp>
      <p:sp>
        <p:nvSpPr>
          <p:cNvPr id="3" name="Rectangle 2">
            <a:extLst>
              <a:ext uri="{FF2B5EF4-FFF2-40B4-BE49-F238E27FC236}">
                <a16:creationId xmlns:a16="http://schemas.microsoft.com/office/drawing/2014/main" id="{AD8FF89E-0FA7-4044-9EC9-22E1B55490C7}"/>
              </a:ext>
            </a:extLst>
          </p:cNvPr>
          <p:cNvSpPr/>
          <p:nvPr/>
        </p:nvSpPr>
        <p:spPr>
          <a:xfrm>
            <a:off x="6884711" y="2503698"/>
            <a:ext cx="3345788" cy="1015663"/>
          </a:xfrm>
          <a:prstGeom prst="rect">
            <a:avLst/>
          </a:prstGeom>
        </p:spPr>
        <p:txBody>
          <a:bodyPr wrap="none">
            <a:spAutoFit/>
          </a:bodyPr>
          <a:lstStyle/>
          <a:p>
            <a:r>
              <a:rPr lang="en-US" sz="6000" b="1" dirty="0">
                <a:solidFill>
                  <a:srgbClr val="3E1C84"/>
                </a:solidFill>
                <a:latin typeface="NeueHaasGroteskDisp Pro" panose="020B0504020202020204" pitchFamily="34" charset="77"/>
              </a:rPr>
              <a:t>1.5 billion</a:t>
            </a:r>
          </a:p>
        </p:txBody>
      </p:sp>
      <p:sp>
        <p:nvSpPr>
          <p:cNvPr id="8" name="Rectangle 7">
            <a:extLst>
              <a:ext uri="{FF2B5EF4-FFF2-40B4-BE49-F238E27FC236}">
                <a16:creationId xmlns:a16="http://schemas.microsoft.com/office/drawing/2014/main" id="{F9AB042A-67B6-3E43-B5EB-232FE1BC7435}"/>
              </a:ext>
            </a:extLst>
          </p:cNvPr>
          <p:cNvSpPr/>
          <p:nvPr/>
        </p:nvSpPr>
        <p:spPr>
          <a:xfrm>
            <a:off x="6884711" y="3971104"/>
            <a:ext cx="1667444" cy="1015663"/>
          </a:xfrm>
          <a:prstGeom prst="rect">
            <a:avLst/>
          </a:prstGeom>
        </p:spPr>
        <p:txBody>
          <a:bodyPr wrap="none">
            <a:spAutoFit/>
          </a:bodyPr>
          <a:lstStyle/>
          <a:p>
            <a:r>
              <a:rPr lang="en-US" sz="6000" b="1" dirty="0">
                <a:solidFill>
                  <a:srgbClr val="3E1C84"/>
                </a:solidFill>
                <a:latin typeface="NeueHaasGroteskDisp Pro" panose="020B0504020202020204" pitchFamily="34" charset="77"/>
              </a:rPr>
              <a:t>10%</a:t>
            </a:r>
          </a:p>
        </p:txBody>
      </p:sp>
      <p:sp>
        <p:nvSpPr>
          <p:cNvPr id="9" name="Rectangle 8">
            <a:extLst>
              <a:ext uri="{FF2B5EF4-FFF2-40B4-BE49-F238E27FC236}">
                <a16:creationId xmlns:a16="http://schemas.microsoft.com/office/drawing/2014/main" id="{23E952DC-778F-1446-B189-CC73329E888D}"/>
              </a:ext>
            </a:extLst>
          </p:cNvPr>
          <p:cNvSpPr/>
          <p:nvPr/>
        </p:nvSpPr>
        <p:spPr>
          <a:xfrm>
            <a:off x="6884711" y="4827172"/>
            <a:ext cx="1839606" cy="400110"/>
          </a:xfrm>
          <a:prstGeom prst="rect">
            <a:avLst/>
          </a:prstGeom>
        </p:spPr>
        <p:txBody>
          <a:bodyPr wrap="none">
            <a:spAutoFit/>
          </a:bodyPr>
          <a:lstStyle/>
          <a:p>
            <a:r>
              <a:rPr lang="en-US" sz="2000" dirty="0">
                <a:solidFill>
                  <a:schemeClr val="tx1">
                    <a:lumMod val="95000"/>
                    <a:lumOff val="5000"/>
                  </a:schemeClr>
                </a:solidFill>
                <a:latin typeface="NeueHaasGroteskDisp Pro" panose="020B0504020202020204" pitchFamily="34" charset="0"/>
              </a:rPr>
              <a:t>of the U.S. GDP </a:t>
            </a:r>
          </a:p>
        </p:txBody>
      </p:sp>
      <p:sp>
        <p:nvSpPr>
          <p:cNvPr id="10" name="Rectangle 9">
            <a:extLst>
              <a:ext uri="{FF2B5EF4-FFF2-40B4-BE49-F238E27FC236}">
                <a16:creationId xmlns:a16="http://schemas.microsoft.com/office/drawing/2014/main" id="{D8D24622-94A6-AB44-8F13-5676B56D63D6}"/>
              </a:ext>
            </a:extLst>
          </p:cNvPr>
          <p:cNvSpPr/>
          <p:nvPr/>
        </p:nvSpPr>
        <p:spPr>
          <a:xfrm>
            <a:off x="6884711" y="1881797"/>
            <a:ext cx="2360903" cy="400110"/>
          </a:xfrm>
          <a:prstGeom prst="rect">
            <a:avLst/>
          </a:prstGeom>
        </p:spPr>
        <p:txBody>
          <a:bodyPr wrap="none">
            <a:spAutoFit/>
          </a:bodyPr>
          <a:lstStyle/>
          <a:p>
            <a:r>
              <a:rPr lang="en-US" sz="2000" dirty="0">
                <a:solidFill>
                  <a:schemeClr val="tx1">
                    <a:lumMod val="95000"/>
                    <a:lumOff val="5000"/>
                  </a:schemeClr>
                </a:solidFill>
                <a:latin typeface="NeueHaasGroteskDisp Pro" panose="020B0504020202020204" pitchFamily="34" charset="0"/>
              </a:rPr>
              <a:t>Food industry worth </a:t>
            </a:r>
          </a:p>
        </p:txBody>
      </p:sp>
      <p:sp>
        <p:nvSpPr>
          <p:cNvPr id="11" name="Rectangle 10">
            <a:extLst>
              <a:ext uri="{FF2B5EF4-FFF2-40B4-BE49-F238E27FC236}">
                <a16:creationId xmlns:a16="http://schemas.microsoft.com/office/drawing/2014/main" id="{876436F2-9545-0E49-85F8-9DEF2E2FC9C9}"/>
              </a:ext>
            </a:extLst>
          </p:cNvPr>
          <p:cNvSpPr/>
          <p:nvPr/>
        </p:nvSpPr>
        <p:spPr>
          <a:xfrm>
            <a:off x="6884711" y="3319306"/>
            <a:ext cx="2225609" cy="400110"/>
          </a:xfrm>
          <a:prstGeom prst="rect">
            <a:avLst/>
          </a:prstGeom>
        </p:spPr>
        <p:txBody>
          <a:bodyPr wrap="none">
            <a:spAutoFit/>
          </a:bodyPr>
          <a:lstStyle/>
          <a:p>
            <a:r>
              <a:rPr lang="en-US" sz="2000" dirty="0">
                <a:solidFill>
                  <a:schemeClr val="tx1">
                    <a:lumMod val="95000"/>
                    <a:lumOff val="5000"/>
                  </a:schemeClr>
                </a:solidFill>
                <a:latin typeface="NeueHaasGroteskDisp Pro" panose="020B0504020202020204" pitchFamily="34" charset="0"/>
              </a:rPr>
              <a:t>Food industry Jobs</a:t>
            </a:r>
          </a:p>
        </p:txBody>
      </p:sp>
      <p:sp>
        <p:nvSpPr>
          <p:cNvPr id="7" name="Slide Number Placeholder 6">
            <a:extLst>
              <a:ext uri="{FF2B5EF4-FFF2-40B4-BE49-F238E27FC236}">
                <a16:creationId xmlns:a16="http://schemas.microsoft.com/office/drawing/2014/main" id="{1EAB2FE4-E42E-1646-8756-9F194711A782}"/>
              </a:ext>
            </a:extLst>
          </p:cNvPr>
          <p:cNvSpPr>
            <a:spLocks noGrp="1"/>
          </p:cNvSpPr>
          <p:nvPr>
            <p:ph type="sldNum" sz="quarter" idx="12"/>
          </p:nvPr>
        </p:nvSpPr>
        <p:spPr/>
        <p:txBody>
          <a:bodyPr/>
          <a:lstStyle/>
          <a:p>
            <a:fld id="{7F43BC75-A8B3-524C-9CB1-17F14D0EA8E1}" type="slidenum">
              <a:rPr lang="en-US" smtClean="0"/>
              <a:pPr/>
              <a:t>27</a:t>
            </a:fld>
            <a:endParaRPr lang="en-US" dirty="0"/>
          </a:p>
        </p:txBody>
      </p:sp>
    </p:spTree>
    <p:extLst>
      <p:ext uri="{BB962C8B-B14F-4D97-AF65-F5344CB8AC3E}">
        <p14:creationId xmlns:p14="http://schemas.microsoft.com/office/powerpoint/2010/main" val="10095962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a:extLst>
              <a:ext uri="{FF2B5EF4-FFF2-40B4-BE49-F238E27FC236}">
                <a16:creationId xmlns:a16="http://schemas.microsoft.com/office/drawing/2014/main" id="{7B371B4E-9C44-0A4E-952B-E37A9CB83A7A}"/>
              </a:ext>
            </a:extLst>
          </p:cNvPr>
          <p:cNvSpPr>
            <a:spLocks noGrp="1"/>
          </p:cNvSpPr>
          <p:nvPr>
            <p:ph type="title"/>
          </p:nvPr>
        </p:nvSpPr>
        <p:spPr>
          <a:xfrm>
            <a:off x="451019" y="445723"/>
            <a:ext cx="6539357" cy="863312"/>
          </a:xfrm>
        </p:spPr>
        <p:txBody>
          <a:bodyPr>
            <a:noAutofit/>
          </a:bodyPr>
          <a:lstStyle/>
          <a:p>
            <a:r>
              <a:rPr lang="en-US" dirty="0"/>
              <a:t>Obesity Treatment Approaches</a:t>
            </a:r>
            <a:br>
              <a:rPr lang="en-US" dirty="0"/>
            </a:br>
            <a:endParaRPr lang="en-US" dirty="0"/>
          </a:p>
        </p:txBody>
      </p:sp>
      <p:sp>
        <p:nvSpPr>
          <p:cNvPr id="8" name="Title 1">
            <a:extLst>
              <a:ext uri="{FF2B5EF4-FFF2-40B4-BE49-F238E27FC236}">
                <a16:creationId xmlns:a16="http://schemas.microsoft.com/office/drawing/2014/main" id="{C12467AF-E12E-0541-A01C-02AC0B99208D}"/>
              </a:ext>
            </a:extLst>
          </p:cNvPr>
          <p:cNvSpPr txBox="1">
            <a:spLocks/>
          </p:cNvSpPr>
          <p:nvPr/>
        </p:nvSpPr>
        <p:spPr>
          <a:xfrm>
            <a:off x="451019" y="1177267"/>
            <a:ext cx="4167404" cy="3565630"/>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600" b="0" i="0" kern="1200">
                <a:solidFill>
                  <a:srgbClr val="412181"/>
                </a:solidFill>
                <a:latin typeface="NeueHaasGroteskDisp Pro Md" panose="020B0504020202020204" pitchFamily="34" charset="77"/>
                <a:ea typeface="+mj-ea"/>
                <a:cs typeface="+mj-cs"/>
              </a:defRPr>
            </a:lvl1pPr>
          </a:lstStyle>
          <a:p>
            <a:pPr marL="457200" indent="-457200">
              <a:lnSpc>
                <a:spcPct val="120000"/>
              </a:lnSpc>
              <a:spcBef>
                <a:spcPts val="1000"/>
              </a:spcBef>
              <a:buFont typeface="+mj-lt"/>
              <a:buAutoNum type="arabicPeriod"/>
            </a:pPr>
            <a:r>
              <a:rPr lang="en-US" sz="2400" dirty="0">
                <a:latin typeface="NeueHaasGroteskDisp Pro" panose="020B0504020202020204" pitchFamily="34" charset="77"/>
              </a:rPr>
              <a:t>Research new treatments and therapies </a:t>
            </a:r>
          </a:p>
          <a:p>
            <a:pPr marL="457200" indent="-457200">
              <a:lnSpc>
                <a:spcPct val="120000"/>
              </a:lnSpc>
              <a:spcBef>
                <a:spcPts val="1000"/>
              </a:spcBef>
              <a:buFont typeface="+mj-lt"/>
              <a:buAutoNum type="arabicPeriod"/>
            </a:pPr>
            <a:r>
              <a:rPr lang="en-US" sz="2400" dirty="0">
                <a:latin typeface="NeueHaasGroteskDisp Pro" panose="020B0504020202020204" pitchFamily="34" charset="77"/>
              </a:rPr>
              <a:t>Shifting minds</a:t>
            </a:r>
          </a:p>
          <a:p>
            <a:pPr marL="457200" indent="-457200">
              <a:lnSpc>
                <a:spcPct val="120000"/>
              </a:lnSpc>
              <a:spcBef>
                <a:spcPts val="1000"/>
              </a:spcBef>
              <a:buFont typeface="+mj-lt"/>
              <a:buAutoNum type="arabicPeriod"/>
            </a:pPr>
            <a:r>
              <a:rPr lang="en-US" sz="2400" dirty="0">
                <a:latin typeface="NeueHaasGroteskDisp Pro" panose="020B0504020202020204" pitchFamily="34" charset="77"/>
              </a:rPr>
              <a:t>Eliminating health disparities</a:t>
            </a:r>
          </a:p>
          <a:p>
            <a:pPr marL="457200" indent="-457200">
              <a:lnSpc>
                <a:spcPct val="120000"/>
              </a:lnSpc>
              <a:spcBef>
                <a:spcPts val="1000"/>
              </a:spcBef>
              <a:buFont typeface="+mj-lt"/>
              <a:buAutoNum type="arabicPeriod"/>
            </a:pPr>
            <a:endParaRPr lang="en-US" sz="2400" dirty="0">
              <a:latin typeface="NeueHaasGroteskDisp Pro" panose="020B0504020202020204" pitchFamily="34" charset="77"/>
            </a:endParaRPr>
          </a:p>
          <a:p>
            <a:pPr>
              <a:lnSpc>
                <a:spcPct val="120000"/>
              </a:lnSpc>
              <a:spcBef>
                <a:spcPts val="1000"/>
              </a:spcBef>
            </a:pPr>
            <a:r>
              <a:rPr lang="en-US" sz="2400" dirty="0"/>
              <a:t>Put individuals back in control of the fight against obesity.</a:t>
            </a:r>
          </a:p>
        </p:txBody>
      </p:sp>
      <p:sp>
        <p:nvSpPr>
          <p:cNvPr id="14" name="Rectangle 13">
            <a:extLst>
              <a:ext uri="{FF2B5EF4-FFF2-40B4-BE49-F238E27FC236}">
                <a16:creationId xmlns:a16="http://schemas.microsoft.com/office/drawing/2014/main" id="{00F0BB02-F129-8E4A-8AE8-C44F3EFE4F71}"/>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grpSp>
        <p:nvGrpSpPr>
          <p:cNvPr id="27" name="Group 26">
            <a:extLst>
              <a:ext uri="{FF2B5EF4-FFF2-40B4-BE49-F238E27FC236}">
                <a16:creationId xmlns:a16="http://schemas.microsoft.com/office/drawing/2014/main" id="{F6063140-8CED-414F-9C70-B70C4DCD9B80}"/>
              </a:ext>
            </a:extLst>
          </p:cNvPr>
          <p:cNvGrpSpPr/>
          <p:nvPr/>
        </p:nvGrpSpPr>
        <p:grpSpPr>
          <a:xfrm>
            <a:off x="5063388" y="215742"/>
            <a:ext cx="6556289" cy="5651972"/>
            <a:chOff x="6096000" y="494432"/>
            <a:chExt cx="5518064" cy="4756951"/>
          </a:xfrm>
        </p:grpSpPr>
        <p:sp>
          <p:nvSpPr>
            <p:cNvPr id="3" name="Triangle 2">
              <a:extLst>
                <a:ext uri="{FF2B5EF4-FFF2-40B4-BE49-F238E27FC236}">
                  <a16:creationId xmlns:a16="http://schemas.microsoft.com/office/drawing/2014/main" id="{3C7D8BEA-B3A6-5A4A-AE51-8477E434D6B2}"/>
                </a:ext>
              </a:extLst>
            </p:cNvPr>
            <p:cNvSpPr/>
            <p:nvPr/>
          </p:nvSpPr>
          <p:spPr>
            <a:xfrm>
              <a:off x="6096000" y="494432"/>
              <a:ext cx="5518064" cy="4756951"/>
            </a:xfrm>
            <a:prstGeom prst="triangl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cxnSp>
          <p:nvCxnSpPr>
            <p:cNvPr id="13" name="Straight Connector 12">
              <a:extLst>
                <a:ext uri="{FF2B5EF4-FFF2-40B4-BE49-F238E27FC236}">
                  <a16:creationId xmlns:a16="http://schemas.microsoft.com/office/drawing/2014/main" id="{F9FB8BF8-E596-4D45-A5F9-115E4FDA86F7}"/>
                </a:ext>
              </a:extLst>
            </p:cNvPr>
            <p:cNvCxnSpPr>
              <a:cxnSpLocks/>
            </p:cNvCxnSpPr>
            <p:nvPr/>
          </p:nvCxnSpPr>
          <p:spPr>
            <a:xfrm>
              <a:off x="6770249" y="3903298"/>
              <a:ext cx="408874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D241816-00FA-C443-BE07-EBE6E99CF0DD}"/>
                </a:ext>
              </a:extLst>
            </p:cNvPr>
            <p:cNvCxnSpPr>
              <a:cxnSpLocks/>
            </p:cNvCxnSpPr>
            <p:nvPr/>
          </p:nvCxnSpPr>
          <p:spPr>
            <a:xfrm>
              <a:off x="7717839" y="2403111"/>
              <a:ext cx="22734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71740A7-44AC-6442-9503-151684522ADD}"/>
                </a:ext>
              </a:extLst>
            </p:cNvPr>
            <p:cNvSpPr/>
            <p:nvPr/>
          </p:nvSpPr>
          <p:spPr>
            <a:xfrm>
              <a:off x="6846132" y="4405329"/>
              <a:ext cx="3937006" cy="338963"/>
            </a:xfrm>
            <a:prstGeom prst="rect">
              <a:avLst/>
            </a:prstGeom>
          </p:spPr>
          <p:txBody>
            <a:bodyPr wrap="none">
              <a:spAutoFit/>
            </a:bodyPr>
            <a:lstStyle/>
            <a:p>
              <a:pPr algn="ctr">
                <a:lnSpc>
                  <a:spcPct val="120000"/>
                </a:lnSpc>
                <a:spcBef>
                  <a:spcPts val="1000"/>
                </a:spcBef>
              </a:pPr>
              <a:r>
                <a:rPr lang="en-US" dirty="0">
                  <a:solidFill>
                    <a:schemeClr val="bg1"/>
                  </a:solidFill>
                  <a:latin typeface="NeueHaasGroteskDisp Pro Md" panose="020B0504020202020204" pitchFamily="34" charset="77"/>
                </a:rPr>
                <a:t>Awareness Campaign of Obesity as a disease</a:t>
              </a:r>
            </a:p>
          </p:txBody>
        </p:sp>
        <p:sp>
          <p:nvSpPr>
            <p:cNvPr id="20" name="Rectangle 19">
              <a:extLst>
                <a:ext uri="{FF2B5EF4-FFF2-40B4-BE49-F238E27FC236}">
                  <a16:creationId xmlns:a16="http://schemas.microsoft.com/office/drawing/2014/main" id="{B42124D3-6F3E-1B4D-B6FD-7FA6EFF55BA7}"/>
                </a:ext>
              </a:extLst>
            </p:cNvPr>
            <p:cNvSpPr/>
            <p:nvPr/>
          </p:nvSpPr>
          <p:spPr>
            <a:xfrm>
              <a:off x="7344238" y="2946691"/>
              <a:ext cx="2940788" cy="726603"/>
            </a:xfrm>
            <a:prstGeom prst="rect">
              <a:avLst/>
            </a:prstGeom>
          </p:spPr>
          <p:txBody>
            <a:bodyPr wrap="none">
              <a:spAutoFit/>
            </a:bodyPr>
            <a:lstStyle/>
            <a:p>
              <a:pPr algn="ctr">
                <a:lnSpc>
                  <a:spcPct val="120000"/>
                </a:lnSpc>
                <a:spcBef>
                  <a:spcPts val="1000"/>
                </a:spcBef>
              </a:pPr>
              <a:r>
                <a:rPr lang="en-US" dirty="0">
                  <a:solidFill>
                    <a:schemeClr val="bg1"/>
                  </a:solidFill>
                  <a:latin typeface="NeueHaasGroteskDisp Pro Md" panose="020B0504020202020204" pitchFamily="34" charset="77"/>
                </a:rPr>
                <a:t>Pennington Generation, PROPEL</a:t>
              </a:r>
            </a:p>
            <a:p>
              <a:pPr algn="ctr">
                <a:lnSpc>
                  <a:spcPct val="120000"/>
                </a:lnSpc>
                <a:spcBef>
                  <a:spcPts val="1000"/>
                </a:spcBef>
              </a:pPr>
              <a:r>
                <a:rPr lang="en-US" dirty="0">
                  <a:solidFill>
                    <a:schemeClr val="bg1"/>
                  </a:solidFill>
                  <a:latin typeface="NeueHaasGroteskDisp Pro Md" panose="020B0504020202020204" pitchFamily="34" charset="77"/>
                </a:rPr>
                <a:t>and other programs</a:t>
              </a:r>
            </a:p>
          </p:txBody>
        </p:sp>
        <p:sp>
          <p:nvSpPr>
            <p:cNvPr id="21" name="Rectangle 20">
              <a:extLst>
                <a:ext uri="{FF2B5EF4-FFF2-40B4-BE49-F238E27FC236}">
                  <a16:creationId xmlns:a16="http://schemas.microsoft.com/office/drawing/2014/main" id="{4A5BB928-C870-E24D-91C6-2C8A15DDC4C8}"/>
                </a:ext>
              </a:extLst>
            </p:cNvPr>
            <p:cNvSpPr/>
            <p:nvPr/>
          </p:nvSpPr>
          <p:spPr>
            <a:xfrm>
              <a:off x="8517075" y="1656880"/>
              <a:ext cx="675011" cy="338963"/>
            </a:xfrm>
            <a:prstGeom prst="rect">
              <a:avLst/>
            </a:prstGeom>
          </p:spPr>
          <p:txBody>
            <a:bodyPr wrap="none">
              <a:spAutoFit/>
            </a:bodyPr>
            <a:lstStyle/>
            <a:p>
              <a:pPr algn="ctr">
                <a:lnSpc>
                  <a:spcPct val="120000"/>
                </a:lnSpc>
                <a:spcBef>
                  <a:spcPts val="1000"/>
                </a:spcBef>
              </a:pPr>
              <a:r>
                <a:rPr lang="en-US" dirty="0">
                  <a:solidFill>
                    <a:schemeClr val="bg1"/>
                  </a:solidFill>
                  <a:latin typeface="NeueHaasGroteskDisp Pro Md" panose="020B0504020202020204" pitchFamily="34" charset="77"/>
                </a:rPr>
                <a:t>Policy</a:t>
              </a:r>
            </a:p>
          </p:txBody>
        </p:sp>
      </p:grpSp>
      <p:sp>
        <p:nvSpPr>
          <p:cNvPr id="2" name="Slide Number Placeholder 1">
            <a:extLst>
              <a:ext uri="{FF2B5EF4-FFF2-40B4-BE49-F238E27FC236}">
                <a16:creationId xmlns:a16="http://schemas.microsoft.com/office/drawing/2014/main" id="{C22D5972-3BA1-7A41-8002-5E335054CE0A}"/>
              </a:ext>
            </a:extLst>
          </p:cNvPr>
          <p:cNvSpPr>
            <a:spLocks noGrp="1"/>
          </p:cNvSpPr>
          <p:nvPr>
            <p:ph type="sldNum" sz="quarter" idx="12"/>
          </p:nvPr>
        </p:nvSpPr>
        <p:spPr/>
        <p:txBody>
          <a:bodyPr/>
          <a:lstStyle/>
          <a:p>
            <a:fld id="{7F43BC75-A8B3-524C-9CB1-17F14D0EA8E1}" type="slidenum">
              <a:rPr lang="en-US" smtClean="0"/>
              <a:pPr/>
              <a:t>28</a:t>
            </a:fld>
            <a:endParaRPr lang="en-US" dirty="0"/>
          </a:p>
        </p:txBody>
      </p:sp>
    </p:spTree>
    <p:extLst>
      <p:ext uri="{BB962C8B-B14F-4D97-AF65-F5344CB8AC3E}">
        <p14:creationId xmlns:p14="http://schemas.microsoft.com/office/powerpoint/2010/main" val="17298750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8340B-A862-4169-8A07-AEC88D096C35}"/>
              </a:ext>
            </a:extLst>
          </p:cNvPr>
          <p:cNvSpPr>
            <a:spLocks noGrp="1"/>
          </p:cNvSpPr>
          <p:nvPr>
            <p:ph type="title"/>
          </p:nvPr>
        </p:nvSpPr>
        <p:spPr/>
        <p:txBody>
          <a:bodyPr>
            <a:noAutofit/>
          </a:bodyPr>
          <a:lstStyle/>
          <a:p>
            <a:r>
              <a:rPr lang="en-US" sz="4000" dirty="0"/>
              <a:t>Lorem ipsum dolor sit </a:t>
            </a:r>
            <a:r>
              <a:rPr lang="en-US" sz="4000" dirty="0" err="1"/>
              <a:t>amet</a:t>
            </a:r>
            <a:r>
              <a:rPr lang="en-US" sz="4000" dirty="0"/>
              <a:t> con </a:t>
            </a:r>
            <a:r>
              <a:rPr lang="en-US" sz="4000" dirty="0" err="1"/>
              <a:t>secte</a:t>
            </a:r>
            <a:r>
              <a:rPr lang="en-US" sz="4000" dirty="0"/>
              <a:t> tur.</a:t>
            </a:r>
          </a:p>
        </p:txBody>
      </p:sp>
      <p:sp>
        <p:nvSpPr>
          <p:cNvPr id="3" name="Content Placeholder 2">
            <a:extLst>
              <a:ext uri="{FF2B5EF4-FFF2-40B4-BE49-F238E27FC236}">
                <a16:creationId xmlns:a16="http://schemas.microsoft.com/office/drawing/2014/main" id="{AA893FD8-A4A4-40DF-863C-6C11D01D9EF0}"/>
              </a:ext>
            </a:extLst>
          </p:cNvPr>
          <p:cNvSpPr>
            <a:spLocks noGrp="1"/>
          </p:cNvSpPr>
          <p:nvPr>
            <p:ph idx="1"/>
          </p:nvPr>
        </p:nvSpPr>
        <p:spPr>
          <a:xfrm>
            <a:off x="451020" y="2140250"/>
            <a:ext cx="5051856" cy="1532540"/>
          </a:xfrm>
        </p:spPr>
        <p:txBody>
          <a:bodyPr>
            <a:noAutofit/>
          </a:bodyPr>
          <a:lstStyle/>
          <a:p>
            <a:pPr marL="342900" indent="-342900">
              <a:buFont typeface="NeueHaasGroteskDisp Pro" panose="020B0504020202020204" pitchFamily="34" charset="0"/>
              <a:buChar char="–"/>
            </a:pPr>
            <a:r>
              <a:rPr lang="en-US" sz="2000" dirty="0"/>
              <a:t>Lorem ipsum dolor sit </a:t>
            </a:r>
            <a:r>
              <a:rPr lang="en-US" sz="2000" dirty="0" err="1"/>
              <a:t>amet</a:t>
            </a:r>
            <a:r>
              <a:rPr lang="en-US" sz="2000" dirty="0"/>
              <a:t>, </a:t>
            </a:r>
            <a:r>
              <a:rPr lang="en-US" sz="2000" dirty="0" err="1"/>
              <a:t>consectetur</a:t>
            </a:r>
            <a:r>
              <a:rPr lang="en-US" sz="2000" dirty="0"/>
              <a:t> </a:t>
            </a:r>
            <a:r>
              <a:rPr lang="en-US" sz="2000" dirty="0" err="1"/>
              <a:t>adipiscing</a:t>
            </a:r>
            <a:r>
              <a:rPr lang="en-US" sz="2000" dirty="0"/>
              <a:t> </a:t>
            </a:r>
            <a:r>
              <a:rPr lang="en-US" sz="2000" dirty="0" err="1"/>
              <a:t>elit</a:t>
            </a:r>
            <a:r>
              <a:rPr lang="en-US" sz="2000" dirty="0"/>
              <a:t> </a:t>
            </a:r>
            <a:r>
              <a:rPr lang="en-US" sz="2000" dirty="0" err="1"/>
              <a:t>quisque</a:t>
            </a:r>
            <a:r>
              <a:rPr lang="en-US" sz="2000" dirty="0"/>
              <a:t> </a:t>
            </a:r>
            <a:r>
              <a:rPr lang="en-US" sz="2000" dirty="0" err="1"/>
              <a:t>quis</a:t>
            </a:r>
            <a:r>
              <a:rPr lang="en-US" sz="2000" dirty="0"/>
              <a:t> </a:t>
            </a:r>
            <a:r>
              <a:rPr lang="en-US" sz="2000" dirty="0" err="1"/>
              <a:t>molestie</a:t>
            </a:r>
            <a:r>
              <a:rPr lang="en-US" sz="2000" dirty="0"/>
              <a:t> </a:t>
            </a:r>
            <a:r>
              <a:rPr lang="en-US" sz="2000" dirty="0" err="1"/>
              <a:t>neque</a:t>
            </a:r>
            <a:endParaRPr lang="en-US" sz="2000" dirty="0"/>
          </a:p>
          <a:p>
            <a:pPr marL="342900" indent="-342900">
              <a:buFont typeface="NeueHaasGroteskDisp Pro" panose="020B0504020202020204" pitchFamily="34" charset="0"/>
              <a:buChar char="–"/>
            </a:pPr>
            <a:r>
              <a:rPr lang="en-US" sz="2000" dirty="0" err="1"/>
              <a:t>Adipiscing</a:t>
            </a:r>
            <a:r>
              <a:rPr lang="en-US" sz="2000" dirty="0"/>
              <a:t> </a:t>
            </a:r>
            <a:r>
              <a:rPr lang="en-US" sz="2000" dirty="0" err="1"/>
              <a:t>elit</a:t>
            </a:r>
            <a:r>
              <a:rPr lang="en-US" sz="2000" dirty="0"/>
              <a:t> </a:t>
            </a:r>
            <a:r>
              <a:rPr lang="en-US" sz="2000" dirty="0" err="1"/>
              <a:t>quisque</a:t>
            </a:r>
            <a:r>
              <a:rPr lang="en-US" sz="2000" dirty="0"/>
              <a:t> </a:t>
            </a:r>
            <a:r>
              <a:rPr lang="en-US" sz="2000" dirty="0" err="1"/>
              <a:t>quis</a:t>
            </a:r>
            <a:r>
              <a:rPr lang="en-US" sz="2000" dirty="0"/>
              <a:t> dolor </a:t>
            </a:r>
          </a:p>
          <a:p>
            <a:pPr marL="342900" indent="-342900">
              <a:buFont typeface="NeueHaasGroteskDisp Pro" panose="020B0504020202020204" pitchFamily="34" charset="0"/>
              <a:buChar char="–"/>
            </a:pPr>
            <a:r>
              <a:rPr lang="en-US" sz="2000" dirty="0"/>
              <a:t>Lorem ipsum dolor sit </a:t>
            </a:r>
            <a:r>
              <a:rPr lang="en-US" sz="2000" dirty="0" err="1"/>
              <a:t>amet</a:t>
            </a:r>
            <a:r>
              <a:rPr lang="en-US" sz="2000" dirty="0"/>
              <a:t>, </a:t>
            </a:r>
            <a:r>
              <a:rPr lang="en-US" sz="2000" dirty="0" err="1"/>
              <a:t>consectetur</a:t>
            </a:r>
            <a:r>
              <a:rPr lang="en-US" sz="2000" dirty="0"/>
              <a:t> </a:t>
            </a:r>
            <a:r>
              <a:rPr lang="en-US" sz="2000" dirty="0" err="1"/>
              <a:t>adipiscing</a:t>
            </a:r>
            <a:r>
              <a:rPr lang="en-US" sz="2000" dirty="0"/>
              <a:t> </a:t>
            </a:r>
            <a:r>
              <a:rPr lang="en-US" sz="2000" dirty="0" err="1"/>
              <a:t>elit</a:t>
            </a:r>
            <a:r>
              <a:rPr lang="en-US" sz="2000" dirty="0"/>
              <a:t> </a:t>
            </a:r>
            <a:r>
              <a:rPr lang="en-US" sz="2000" dirty="0" err="1"/>
              <a:t>quisque</a:t>
            </a:r>
            <a:r>
              <a:rPr lang="en-US" sz="2000" dirty="0"/>
              <a:t> </a:t>
            </a:r>
            <a:r>
              <a:rPr lang="en-US" sz="2000" dirty="0" err="1"/>
              <a:t>quis</a:t>
            </a:r>
            <a:r>
              <a:rPr lang="en-US" sz="2000" dirty="0"/>
              <a:t> </a:t>
            </a:r>
            <a:r>
              <a:rPr lang="en-US" sz="2000" dirty="0" err="1"/>
              <a:t>molestie</a:t>
            </a:r>
            <a:r>
              <a:rPr lang="en-US" sz="2000" dirty="0"/>
              <a:t> </a:t>
            </a:r>
            <a:r>
              <a:rPr lang="en-US" sz="2000" dirty="0" err="1"/>
              <a:t>neque</a:t>
            </a:r>
            <a:endParaRPr lang="en-US" sz="2000" dirty="0"/>
          </a:p>
          <a:p>
            <a:pPr marL="342900" indent="-342900">
              <a:buFont typeface="NeueHaasGroteskDisp Pro" panose="020B0504020202020204" pitchFamily="34" charset="0"/>
              <a:buChar char="–"/>
            </a:pPr>
            <a:r>
              <a:rPr lang="en-US" sz="2000" dirty="0" err="1"/>
              <a:t>Adipiscing</a:t>
            </a:r>
            <a:r>
              <a:rPr lang="en-US" sz="2000" dirty="0"/>
              <a:t> </a:t>
            </a:r>
            <a:r>
              <a:rPr lang="en-US" sz="2000" dirty="0" err="1"/>
              <a:t>elit</a:t>
            </a:r>
            <a:r>
              <a:rPr lang="en-US" sz="2000" dirty="0"/>
              <a:t> </a:t>
            </a:r>
            <a:r>
              <a:rPr lang="en-US" sz="2000" dirty="0" err="1"/>
              <a:t>quisque</a:t>
            </a:r>
            <a:r>
              <a:rPr lang="en-US" sz="2000" dirty="0"/>
              <a:t> </a:t>
            </a:r>
            <a:r>
              <a:rPr lang="en-US" sz="2000" dirty="0" err="1"/>
              <a:t>quis</a:t>
            </a:r>
            <a:r>
              <a:rPr lang="en-US" sz="2000" dirty="0"/>
              <a:t> dolor</a:t>
            </a:r>
          </a:p>
        </p:txBody>
      </p:sp>
      <p:pic>
        <p:nvPicPr>
          <p:cNvPr id="6" name="Content Placeholder 5">
            <a:extLst>
              <a:ext uri="{FF2B5EF4-FFF2-40B4-BE49-F238E27FC236}">
                <a16:creationId xmlns:a16="http://schemas.microsoft.com/office/drawing/2014/main" id="{0967FF0C-423D-4322-ABA1-AFCE8EE3142F}"/>
              </a:ext>
            </a:extLst>
          </p:cNvPr>
          <p:cNvPicPr>
            <a:picLocks noGrp="1" noChangeAspect="1"/>
          </p:cNvPicPr>
          <p:nvPr>
            <p:ph idx="13"/>
          </p:nvPr>
        </p:nvPicPr>
        <p:blipFill>
          <a:blip r:embed="rId2"/>
          <a:stretch>
            <a:fillRect/>
          </a:stretch>
        </p:blipFill>
        <p:spPr>
          <a:xfrm>
            <a:off x="6204369" y="577850"/>
            <a:ext cx="5377612" cy="5329238"/>
          </a:xfrm>
        </p:spPr>
      </p:pic>
      <p:sp>
        <p:nvSpPr>
          <p:cNvPr id="7" name="Date Placeholder 3">
            <a:extLst>
              <a:ext uri="{FF2B5EF4-FFF2-40B4-BE49-F238E27FC236}">
                <a16:creationId xmlns:a16="http://schemas.microsoft.com/office/drawing/2014/main" id="{091EDC8C-A376-4092-8BB6-F9D654FE8FE7}"/>
              </a:ext>
            </a:extLst>
          </p:cNvPr>
          <p:cNvSpPr>
            <a:spLocks noGrp="1"/>
          </p:cNvSpPr>
          <p:nvPr>
            <p:ph type="dt" sz="half" idx="10"/>
          </p:nvPr>
        </p:nvSpPr>
        <p:spPr>
          <a:xfrm>
            <a:off x="8806249" y="6129337"/>
            <a:ext cx="1151238" cy="365125"/>
          </a:xfrm>
        </p:spPr>
        <p:txBody>
          <a:bodyPr/>
          <a:lstStyle>
            <a:lvl1pPr algn="r">
              <a:defRPr sz="1000" b="0" i="0">
                <a:solidFill>
                  <a:srgbClr val="41218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8" name="Slide Number Placeholder 5">
            <a:extLst>
              <a:ext uri="{FF2B5EF4-FFF2-40B4-BE49-F238E27FC236}">
                <a16:creationId xmlns:a16="http://schemas.microsoft.com/office/drawing/2014/main" id="{0F079821-64C7-499C-8B22-F84D763BC06A}"/>
              </a:ext>
            </a:extLst>
          </p:cNvPr>
          <p:cNvSpPr>
            <a:spLocks noGrp="1"/>
          </p:cNvSpPr>
          <p:nvPr>
            <p:ph type="sldNum" sz="quarter" idx="12"/>
          </p:nvPr>
        </p:nvSpPr>
        <p:spPr>
          <a:xfrm>
            <a:off x="11236411" y="6129337"/>
            <a:ext cx="463378" cy="365125"/>
          </a:xfrm>
        </p:spPr>
        <p:txBody>
          <a:bodyPr/>
          <a:lstStyle>
            <a:lvl1pPr>
              <a:defRPr sz="1000" b="0" i="0">
                <a:solidFill>
                  <a:srgbClr val="412181"/>
                </a:solidFill>
                <a:latin typeface="NeueHaasGroteskDisp Pro" panose="020B0504020202020204" pitchFamily="34" charset="0"/>
              </a:defRPr>
            </a:lvl1pPr>
          </a:lstStyle>
          <a:p>
            <a:fld id="{7F43BC75-A8B3-524C-9CB1-17F14D0EA8E1}" type="slidenum">
              <a:rPr lang="en-US" smtClean="0"/>
              <a:pPr/>
              <a:t>29</a:t>
            </a:fld>
            <a:endParaRPr lang="en-US" dirty="0">
              <a:latin typeface="NeueHaasGroteskDisp Pro" panose="020B0504020202020204" pitchFamily="34" charset="0"/>
            </a:endParaRPr>
          </a:p>
        </p:txBody>
      </p:sp>
      <p:sp>
        <p:nvSpPr>
          <p:cNvPr id="9" name="Footer Placeholder 4">
            <a:extLst>
              <a:ext uri="{FF2B5EF4-FFF2-40B4-BE49-F238E27FC236}">
                <a16:creationId xmlns:a16="http://schemas.microsoft.com/office/drawing/2014/main" id="{11416722-33F5-4CEC-BCFB-423D9C5C983A}"/>
              </a:ext>
            </a:extLst>
          </p:cNvPr>
          <p:cNvSpPr>
            <a:spLocks noGrp="1"/>
          </p:cNvSpPr>
          <p:nvPr>
            <p:ph type="ftr" sz="quarter" idx="11"/>
          </p:nvPr>
        </p:nvSpPr>
        <p:spPr>
          <a:xfrm>
            <a:off x="6069184" y="6129337"/>
            <a:ext cx="2078038" cy="365125"/>
          </a:xfrm>
        </p:spPr>
        <p:txBody>
          <a:bodyPr/>
          <a:lstStyle>
            <a:lvl1pPr algn="l">
              <a:defRPr sz="1000" b="0" i="0">
                <a:solidFill>
                  <a:srgbClr val="412181"/>
                </a:solidFill>
                <a:latin typeface="NeueHaasGroteskDisp Pro" panose="020B0504020202020204" pitchFamily="34" charset="0"/>
              </a:defRPr>
            </a:lvl1pPr>
          </a:lstStyle>
          <a:p>
            <a:endParaRPr lang="en-US" dirty="0">
              <a:latin typeface="NeueHaasGroteskDisp Pro" panose="020B0504020202020204" pitchFamily="34" charset="0"/>
            </a:endParaRPr>
          </a:p>
        </p:txBody>
      </p:sp>
    </p:spTree>
    <p:extLst>
      <p:ext uri="{BB962C8B-B14F-4D97-AF65-F5344CB8AC3E}">
        <p14:creationId xmlns:p14="http://schemas.microsoft.com/office/powerpoint/2010/main" val="4410315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lose - up of a flower&#10;&#10;Description automatically generated with medium confidence">
            <a:extLst>
              <a:ext uri="{FF2B5EF4-FFF2-40B4-BE49-F238E27FC236}">
                <a16:creationId xmlns:a16="http://schemas.microsoft.com/office/drawing/2014/main" id="{032688A8-2774-DF46-9DA0-4B30544D373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7916747" y="-1154376"/>
            <a:ext cx="3067369" cy="5376122"/>
          </a:xfrm>
          <a:prstGeom prst="rect">
            <a:avLst/>
          </a:prstGeom>
        </p:spPr>
      </p:pic>
      <p:sp>
        <p:nvSpPr>
          <p:cNvPr id="10" name="Title 1">
            <a:extLst>
              <a:ext uri="{FF2B5EF4-FFF2-40B4-BE49-F238E27FC236}">
                <a16:creationId xmlns:a16="http://schemas.microsoft.com/office/drawing/2014/main" id="{0CB0FF64-C1D0-E04B-A450-5EC259ADB170}"/>
              </a:ext>
            </a:extLst>
          </p:cNvPr>
          <p:cNvSpPr txBox="1">
            <a:spLocks/>
          </p:cNvSpPr>
          <p:nvPr/>
        </p:nvSpPr>
        <p:spPr>
          <a:xfrm>
            <a:off x="385404" y="528706"/>
            <a:ext cx="5589355" cy="263069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17500" b="0" i="0" kern="1200" baseline="0">
                <a:solidFill>
                  <a:schemeClr val="bg1"/>
                </a:solidFill>
                <a:latin typeface="NeueHaasGroteskDisp Pro Md" panose="020B0604020202020204" pitchFamily="34" charset="0"/>
                <a:ea typeface="+mj-ea"/>
                <a:cs typeface="+mj-cs"/>
              </a:defRPr>
            </a:lvl1pPr>
          </a:lstStyle>
          <a:p>
            <a:r>
              <a:rPr lang="en-US" sz="6000" dirty="0">
                <a:solidFill>
                  <a:srgbClr val="3E1C84"/>
                </a:solidFill>
                <a:latin typeface="NeueHaasGroteskDisp Pro Md" panose="020B0504020202020204" pitchFamily="34" charset="77"/>
              </a:rPr>
              <a:t>Compelling Title</a:t>
            </a:r>
          </a:p>
        </p:txBody>
      </p:sp>
      <p:sp>
        <p:nvSpPr>
          <p:cNvPr id="12" name="Content Placeholder 2">
            <a:extLst>
              <a:ext uri="{FF2B5EF4-FFF2-40B4-BE49-F238E27FC236}">
                <a16:creationId xmlns:a16="http://schemas.microsoft.com/office/drawing/2014/main" id="{91398537-4F20-C340-8B91-AA8E2AA0D880}"/>
              </a:ext>
            </a:extLst>
          </p:cNvPr>
          <p:cNvSpPr txBox="1">
            <a:spLocks/>
          </p:cNvSpPr>
          <p:nvPr/>
        </p:nvSpPr>
        <p:spPr>
          <a:xfrm>
            <a:off x="385404" y="3698600"/>
            <a:ext cx="3163148" cy="805220"/>
          </a:xfrm>
          <a:prstGeom prst="rect">
            <a:avLst/>
          </a:prstGeom>
        </p:spPr>
        <p:txBody>
          <a:bodyPr>
            <a:noAutofit/>
          </a:bodyPr>
          <a:lstStyle>
            <a:lvl1pPr marL="228600" indent="-228600" algn="l" defTabSz="914400" rtl="0" eaLnBrk="1" latinLnBrk="0" hangingPunct="1">
              <a:lnSpc>
                <a:spcPct val="90000"/>
              </a:lnSpc>
              <a:spcBef>
                <a:spcPts val="1000"/>
              </a:spcBef>
              <a:buFont typeface="NeueHaasGroteskDisp Pro"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NeueHaasGroteskDisp Pro"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NeueHaasGroteskDisp Pro"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9pPr>
          </a:lstStyle>
          <a:p>
            <a:pPr marL="0" indent="0">
              <a:buNone/>
            </a:pPr>
            <a:r>
              <a:rPr lang="en-US" sz="2400" dirty="0">
                <a:solidFill>
                  <a:srgbClr val="3E1C84"/>
                </a:solidFill>
                <a:latin typeface="NeueHaasGroteskDisp Pro" panose="020B0504020202020204" pitchFamily="34" charset="77"/>
              </a:rPr>
              <a:t>Date</a:t>
            </a:r>
          </a:p>
        </p:txBody>
      </p:sp>
      <p:sp>
        <p:nvSpPr>
          <p:cNvPr id="11" name="Content Placeholder 2">
            <a:extLst>
              <a:ext uri="{FF2B5EF4-FFF2-40B4-BE49-F238E27FC236}">
                <a16:creationId xmlns:a16="http://schemas.microsoft.com/office/drawing/2014/main" id="{5034860A-89B0-7143-9735-7736BA0C3D78}"/>
              </a:ext>
            </a:extLst>
          </p:cNvPr>
          <p:cNvSpPr txBox="1">
            <a:spLocks/>
          </p:cNvSpPr>
          <p:nvPr/>
        </p:nvSpPr>
        <p:spPr>
          <a:xfrm>
            <a:off x="385404" y="2541010"/>
            <a:ext cx="4734900" cy="805220"/>
          </a:xfrm>
          <a:prstGeom prst="rect">
            <a:avLst/>
          </a:prstGeom>
        </p:spPr>
        <p:txBody>
          <a:bodyPr>
            <a:noAutofit/>
          </a:bodyPr>
          <a:lstStyle>
            <a:lvl1pPr marL="228600" indent="-228600" algn="l" defTabSz="914400" rtl="0" eaLnBrk="1" latinLnBrk="0" hangingPunct="1">
              <a:lnSpc>
                <a:spcPct val="90000"/>
              </a:lnSpc>
              <a:spcBef>
                <a:spcPts val="1000"/>
              </a:spcBef>
              <a:buFont typeface="NeueHaasGroteskDisp Pro"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NeueHaasGroteskDisp Pro"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NeueHaasGroteskDisp Pro"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9pPr>
          </a:lstStyle>
          <a:p>
            <a:pPr marL="0" indent="0">
              <a:buNone/>
            </a:pPr>
            <a:r>
              <a:rPr lang="en-US" sz="3600" dirty="0">
                <a:solidFill>
                  <a:srgbClr val="3E1C84"/>
                </a:solidFill>
                <a:latin typeface="NeueHaasGroteskDisp Pro" panose="020B0504020202020204" pitchFamily="34" charset="77"/>
              </a:rPr>
              <a:t>Sub title</a:t>
            </a:r>
          </a:p>
        </p:txBody>
      </p:sp>
      <p:pic>
        <p:nvPicPr>
          <p:cNvPr id="6" name="Picture 5">
            <a:extLst>
              <a:ext uri="{FF2B5EF4-FFF2-40B4-BE49-F238E27FC236}">
                <a16:creationId xmlns:a16="http://schemas.microsoft.com/office/drawing/2014/main" id="{893E4917-58CD-2849-B98E-C3169DCF099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8223866" y="2895308"/>
            <a:ext cx="2645164" cy="5291103"/>
          </a:xfrm>
          <a:prstGeom prst="rect">
            <a:avLst/>
          </a:prstGeom>
        </p:spPr>
      </p:pic>
      <p:sp>
        <p:nvSpPr>
          <p:cNvPr id="2" name="Rectangle 1">
            <a:extLst>
              <a:ext uri="{FF2B5EF4-FFF2-40B4-BE49-F238E27FC236}">
                <a16:creationId xmlns:a16="http://schemas.microsoft.com/office/drawing/2014/main" id="{C552A02F-A236-497B-9505-CC36AC1E6845}"/>
              </a:ext>
            </a:extLst>
          </p:cNvPr>
          <p:cNvSpPr/>
          <p:nvPr/>
        </p:nvSpPr>
        <p:spPr>
          <a:xfrm>
            <a:off x="304800" y="5396089"/>
            <a:ext cx="2968978" cy="1230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pic>
        <p:nvPicPr>
          <p:cNvPr id="4" name="Graphic 3">
            <a:extLst>
              <a:ext uri="{FF2B5EF4-FFF2-40B4-BE49-F238E27FC236}">
                <a16:creationId xmlns:a16="http://schemas.microsoft.com/office/drawing/2014/main" id="{A99C1615-BD45-4CAE-BA0B-79D685E9AC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156" y="4769287"/>
            <a:ext cx="4734900" cy="2072464"/>
          </a:xfrm>
          <a:prstGeom prst="rect">
            <a:avLst/>
          </a:prstGeom>
        </p:spPr>
      </p:pic>
    </p:spTree>
    <p:extLst>
      <p:ext uri="{BB962C8B-B14F-4D97-AF65-F5344CB8AC3E}">
        <p14:creationId xmlns:p14="http://schemas.microsoft.com/office/powerpoint/2010/main" val="14627391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19" y="445723"/>
            <a:ext cx="5376757" cy="1297352"/>
          </a:xfrm>
        </p:spPr>
        <p:txBody>
          <a:bodyPr>
            <a:noAutofit/>
          </a:bodyPr>
          <a:lstStyle/>
          <a:p>
            <a:r>
              <a:rPr lang="en-US" sz="4400" dirty="0"/>
              <a:t>Show impact in graphical form</a:t>
            </a:r>
          </a:p>
        </p:txBody>
      </p:sp>
      <p:sp>
        <p:nvSpPr>
          <p:cNvPr id="3" name="Content Placeholder 2">
            <a:extLst>
              <a:ext uri="{FF2B5EF4-FFF2-40B4-BE49-F238E27FC236}">
                <a16:creationId xmlns:a16="http://schemas.microsoft.com/office/drawing/2014/main" id="{2AD4E37D-B1E5-E242-B2E1-4D5D999531D4}"/>
              </a:ext>
            </a:extLst>
          </p:cNvPr>
          <p:cNvSpPr>
            <a:spLocks noGrp="1"/>
          </p:cNvSpPr>
          <p:nvPr>
            <p:ph idx="1"/>
          </p:nvPr>
        </p:nvSpPr>
        <p:spPr>
          <a:xfrm>
            <a:off x="442914" y="1895139"/>
            <a:ext cx="5051856" cy="3610559"/>
          </a:xfrm>
        </p:spPr>
        <p:txBody>
          <a:bodyPr>
            <a:normAutofit fontScale="92500" lnSpcReduction="10000"/>
          </a:bodyPr>
          <a:lstStyle/>
          <a:p>
            <a:pPr marL="285750" indent="-285750">
              <a:buFont typeface="NeueHaasGroteskDisp Pro"/>
              <a:buChar char="–"/>
            </a:pPr>
            <a:r>
              <a:rPr lang="en-US" dirty="0"/>
              <a:t>In the current PPT version, charts will </a:t>
            </a:r>
            <a:br>
              <a:rPr lang="en-US" dirty="0"/>
            </a:br>
            <a:r>
              <a:rPr lang="en-US" dirty="0"/>
              <a:t>default to the main colors of the brand color palette</a:t>
            </a:r>
          </a:p>
          <a:p>
            <a:pPr marL="285750" indent="-285750">
              <a:buFont typeface="NeueHaasGroteskDisp Pro"/>
              <a:buChar char="–"/>
            </a:pPr>
            <a:r>
              <a:rPr lang="en-US" dirty="0"/>
              <a:t>It’s better to manually put labels with category and value on the individual slices, to avoid the need </a:t>
            </a:r>
            <a:br>
              <a:rPr lang="en-US" dirty="0"/>
            </a:br>
            <a:r>
              <a:rPr lang="en-US" dirty="0"/>
              <a:t>for a legend</a:t>
            </a:r>
          </a:p>
          <a:p>
            <a:pPr marL="285750" indent="-285750">
              <a:buFont typeface="NeueHaasGroteskDisp Pro"/>
              <a:buChar char="–"/>
            </a:pPr>
            <a:r>
              <a:rPr lang="en-US" dirty="0"/>
              <a:t>You can also add a chart title in the text box provided</a:t>
            </a:r>
          </a:p>
          <a:p>
            <a:pPr marL="285750" indent="-285750">
              <a:buFont typeface="NeueHaasGroteskDisp Pro"/>
              <a:buChar char="–"/>
            </a:pPr>
            <a:r>
              <a:rPr lang="en-US" dirty="0"/>
              <a:t>If there are not many slices and you want to emphasize one, use only two colors (they can be changed manually)</a:t>
            </a:r>
          </a:p>
          <a:p>
            <a:pPr marL="285750" indent="-285750">
              <a:buFont typeface="NeueHaasGroteskDisp Pro"/>
              <a:buChar char="–"/>
            </a:pPr>
            <a:r>
              <a:rPr lang="en-US" dirty="0"/>
              <a:t>For ease in use, double click on the pie chart and “Edit Data in Excel” to update the data and maintain the style</a:t>
            </a:r>
          </a:p>
        </p:txBody>
      </p:sp>
      <p:sp>
        <p:nvSpPr>
          <p:cNvPr id="11" name="Date Placeholder 3">
            <a:extLst>
              <a:ext uri="{FF2B5EF4-FFF2-40B4-BE49-F238E27FC236}">
                <a16:creationId xmlns:a16="http://schemas.microsoft.com/office/drawing/2014/main" id="{A0C11A8F-C9E1-B445-8957-3F371E1BFC57}"/>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tx2"/>
                </a:solidFill>
              </a:rPr>
              <a:t>XX/XX/XXXX</a:t>
            </a:r>
          </a:p>
        </p:txBody>
      </p:sp>
      <p:sp>
        <p:nvSpPr>
          <p:cNvPr id="12" name="Slide Number Placeholder 5">
            <a:extLst>
              <a:ext uri="{FF2B5EF4-FFF2-40B4-BE49-F238E27FC236}">
                <a16:creationId xmlns:a16="http://schemas.microsoft.com/office/drawing/2014/main" id="{B8A52747-4968-B240-A9DE-C61B48C81B8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pPr/>
              <a:t>30</a:t>
            </a:fld>
            <a:endParaRPr lang="en-US" dirty="0"/>
          </a:p>
        </p:txBody>
      </p:sp>
      <p:sp>
        <p:nvSpPr>
          <p:cNvPr id="13" name="Footer Placeholder 4">
            <a:extLst>
              <a:ext uri="{FF2B5EF4-FFF2-40B4-BE49-F238E27FC236}">
                <a16:creationId xmlns:a16="http://schemas.microsoft.com/office/drawing/2014/main" id="{83DC4529-619C-294B-820B-783D3ED962CE}"/>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pPr algn="l"/>
            <a:r>
              <a:rPr lang="en-US" dirty="0"/>
              <a:t>Presentation Title</a:t>
            </a:r>
          </a:p>
        </p:txBody>
      </p:sp>
      <p:sp>
        <p:nvSpPr>
          <p:cNvPr id="8" name="Shape 524">
            <a:extLst>
              <a:ext uri="{FF2B5EF4-FFF2-40B4-BE49-F238E27FC236}">
                <a16:creationId xmlns:a16="http://schemas.microsoft.com/office/drawing/2014/main" id="{1CCA313C-65B9-714E-9A30-E6ABD7BFFDEF}"/>
              </a:ext>
            </a:extLst>
          </p:cNvPr>
          <p:cNvSpPr txBox="1">
            <a:spLocks/>
          </p:cNvSpPr>
          <p:nvPr/>
        </p:nvSpPr>
        <p:spPr>
          <a:xfrm>
            <a:off x="6795262" y="5725348"/>
            <a:ext cx="4318001" cy="2540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t">
            <a:noAutofit/>
          </a:bodyPr>
          <a:lstStyle>
            <a:lvl1pPr marL="0" marR="0" indent="0" algn="l" defTabSz="825500" rtl="0" latinLnBrk="0">
              <a:lnSpc>
                <a:spcPts val="12000"/>
              </a:lnSpc>
              <a:spcBef>
                <a:spcPts val="0"/>
              </a:spcBef>
              <a:spcAft>
                <a:spcPts val="0"/>
              </a:spcAft>
              <a:buClrTx/>
              <a:buSzTx/>
              <a:buFontTx/>
              <a:buNone/>
              <a:tabLst/>
              <a:defRPr sz="12000" b="1" i="0" u="none" strike="noStrike" cap="none" spc="0" baseline="0">
                <a:ln>
                  <a:noFill/>
                </a:ln>
                <a:solidFill>
                  <a:srgbClr val="000000"/>
                </a:solidFill>
                <a:uFillTx/>
                <a:latin typeface="Helvetica Bold" charset="0"/>
                <a:ea typeface="Helvetica Bold" charset="0"/>
                <a:cs typeface="Helvetica Bold" charset="0"/>
                <a:sym typeface="Neue Haas Grotesk Display Std 95 Black"/>
              </a:defRPr>
            </a:lvl1pPr>
            <a:lvl2pPr marL="0" marR="0" indent="2286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72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58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44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430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716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6002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88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a:lstStyle>
          <a:p>
            <a:pPr marL="381000" marR="381000" lvl="1" indent="0">
              <a:defRPr sz="1800" spc="36">
                <a:latin typeface="Consolas"/>
                <a:ea typeface="Consolas"/>
                <a:cs typeface="Consolas"/>
                <a:sym typeface="Consolas"/>
              </a:defRPr>
            </a:pPr>
            <a:r>
              <a:rPr lang="en-US" sz="800" spc="18" dirty="0">
                <a:solidFill>
                  <a:schemeClr val="tx1"/>
                </a:solidFill>
                <a:latin typeface="NeueHaasGroteskDisp Pro" panose="020B0504020202020204" pitchFamily="34" charset="0"/>
                <a:ea typeface="Consolas"/>
                <a:cs typeface="Consolas"/>
                <a:sym typeface="Consolas"/>
              </a:rPr>
              <a:t>Lorem ipsum dolor sit </a:t>
            </a:r>
            <a:r>
              <a:rPr lang="en-US" sz="800" spc="18" dirty="0" err="1">
                <a:solidFill>
                  <a:schemeClr val="tx1"/>
                </a:solidFill>
                <a:latin typeface="NeueHaasGroteskDisp Pro" panose="020B0504020202020204" pitchFamily="34" charset="0"/>
                <a:ea typeface="Consolas"/>
                <a:cs typeface="Consolas"/>
                <a:sym typeface="Consolas"/>
              </a:rPr>
              <a:t>amet</a:t>
            </a:r>
            <a:r>
              <a:rPr lang="en-US" sz="800" spc="18" dirty="0">
                <a:solidFill>
                  <a:schemeClr val="tx1"/>
                </a:solidFill>
                <a:latin typeface="NeueHaasGroteskDisp Pro" panose="020B0504020202020204" pitchFamily="34" charset="0"/>
                <a:ea typeface="Consolas"/>
                <a:cs typeface="Consolas"/>
                <a:sym typeface="Consolas"/>
              </a:rPr>
              <a:t> </a:t>
            </a:r>
            <a:r>
              <a:rPr lang="en-US" sz="800" spc="18" dirty="0" err="1">
                <a:solidFill>
                  <a:schemeClr val="tx1"/>
                </a:solidFill>
                <a:latin typeface="NeueHaasGroteskDisp Pro" panose="020B0504020202020204" pitchFamily="34" charset="0"/>
                <a:ea typeface="Consolas"/>
                <a:cs typeface="Consolas"/>
                <a:sym typeface="Consolas"/>
              </a:rPr>
              <a:t>consecteur</a:t>
            </a:r>
            <a:r>
              <a:rPr lang="en-US" sz="800" spc="18" dirty="0">
                <a:solidFill>
                  <a:schemeClr val="tx1"/>
                </a:solidFill>
                <a:latin typeface="NeueHaasGroteskDisp Pro" panose="020B0504020202020204" pitchFamily="34" charset="0"/>
                <a:ea typeface="Consolas"/>
                <a:cs typeface="Consolas"/>
                <a:sym typeface="Consolas"/>
              </a:rPr>
              <a:t> </a:t>
            </a:r>
            <a:r>
              <a:rPr lang="en-US" sz="800" spc="18" dirty="0" err="1">
                <a:solidFill>
                  <a:schemeClr val="tx1"/>
                </a:solidFill>
                <a:latin typeface="NeueHaasGroteskDisp Pro" panose="020B0504020202020204" pitchFamily="34" charset="0"/>
                <a:ea typeface="Consolas"/>
                <a:cs typeface="Consolas"/>
                <a:sym typeface="Consolas"/>
              </a:rPr>
              <a:t>exeanibh</a:t>
            </a:r>
            <a:r>
              <a:rPr lang="en-US" sz="800" spc="18" dirty="0">
                <a:solidFill>
                  <a:schemeClr val="tx1"/>
                </a:solidFill>
                <a:latin typeface="NeueHaasGroteskDisp Pro" panose="020B0504020202020204" pitchFamily="34" charset="0"/>
                <a:ea typeface="Consolas"/>
                <a:cs typeface="Consolas"/>
                <a:sym typeface="Consolas"/>
              </a:rPr>
              <a:t>. </a:t>
            </a:r>
          </a:p>
          <a:p>
            <a:pPr marL="381000" marR="381000" lvl="1" indent="0">
              <a:defRPr sz="1800" spc="36">
                <a:latin typeface="Consolas"/>
                <a:ea typeface="Consolas"/>
                <a:cs typeface="Consolas"/>
                <a:sym typeface="Consolas"/>
              </a:defRPr>
            </a:pPr>
            <a:r>
              <a:rPr lang="en-US" sz="800" spc="18" dirty="0">
                <a:solidFill>
                  <a:schemeClr val="tx1"/>
                </a:solidFill>
                <a:latin typeface="NeueHaasGroteskDisp Pro" panose="020B0504020202020204" pitchFamily="34" charset="0"/>
                <a:ea typeface="Consolas"/>
                <a:cs typeface="Consolas"/>
                <a:sym typeface="Consolas"/>
              </a:rPr>
              <a:t>©2017 Lorem Ipsum Dolor</a:t>
            </a:r>
          </a:p>
        </p:txBody>
      </p:sp>
      <p:graphicFrame>
        <p:nvGraphicFramePr>
          <p:cNvPr id="9" name="Chart 8">
            <a:extLst>
              <a:ext uri="{FF2B5EF4-FFF2-40B4-BE49-F238E27FC236}">
                <a16:creationId xmlns:a16="http://schemas.microsoft.com/office/drawing/2014/main" id="{7074D30C-C989-C742-98DE-E63AEDBC44FB}"/>
              </a:ext>
            </a:extLst>
          </p:cNvPr>
          <p:cNvGraphicFramePr/>
          <p:nvPr>
            <p:extLst>
              <p:ext uri="{D42A27DB-BD31-4B8C-83A1-F6EECF244321}">
                <p14:modId xmlns:p14="http://schemas.microsoft.com/office/powerpoint/2010/main" val="2160533301"/>
              </p:ext>
            </p:extLst>
          </p:nvPr>
        </p:nvGraphicFramePr>
        <p:xfrm>
          <a:off x="6364224" y="486486"/>
          <a:ext cx="5180076"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DD942CCE-AD34-0D47-AD38-F1BDCE263000}"/>
              </a:ext>
            </a:extLst>
          </p:cNvPr>
          <p:cNvSpPr txBox="1"/>
          <p:nvPr/>
        </p:nvSpPr>
        <p:spPr>
          <a:xfrm>
            <a:off x="8043018" y="2479384"/>
            <a:ext cx="459998"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solidFill>
                  <a:schemeClr val="bg1"/>
                </a:solidFill>
                <a:latin typeface="NeueHaasGroteskDisp Pro" panose="020B0504020202020204" pitchFamily="34" charset="0"/>
                <a:ea typeface="Consolas" charset="0"/>
                <a:cs typeface="Consolas" charset="0"/>
                <a:sym typeface="Helvetica Light"/>
              </a:rPr>
              <a:t>pecan</a:t>
            </a:r>
            <a:br>
              <a:rPr lang="en-US" sz="1200" dirty="0">
                <a:solidFill>
                  <a:schemeClr val="bg1"/>
                </a:solidFill>
                <a:latin typeface="NeueHaasGroteskDisp Pro" panose="020B0504020202020204" pitchFamily="34" charset="0"/>
                <a:ea typeface="Consolas" charset="0"/>
                <a:cs typeface="Consolas" charset="0"/>
                <a:sym typeface="Helvetica Light"/>
              </a:rPr>
            </a:br>
            <a:r>
              <a:rPr lang="en-US" sz="1200" dirty="0">
                <a:solidFill>
                  <a:schemeClr val="bg1"/>
                </a:solidFill>
                <a:latin typeface="NeueHaasGroteskDisp Pro" panose="020B0504020202020204" pitchFamily="34" charset="0"/>
                <a:ea typeface="Consolas" charset="0"/>
                <a:cs typeface="Consolas" charset="0"/>
                <a:sym typeface="Helvetica Light"/>
              </a:rPr>
              <a:t>5</a:t>
            </a:r>
          </a:p>
        </p:txBody>
      </p:sp>
      <p:sp>
        <p:nvSpPr>
          <p:cNvPr id="14" name="TextBox 13">
            <a:extLst>
              <a:ext uri="{FF2B5EF4-FFF2-40B4-BE49-F238E27FC236}">
                <a16:creationId xmlns:a16="http://schemas.microsoft.com/office/drawing/2014/main" id="{E435013B-945B-6844-8F16-A3500375530C}"/>
              </a:ext>
            </a:extLst>
          </p:cNvPr>
          <p:cNvSpPr txBox="1"/>
          <p:nvPr/>
        </p:nvSpPr>
        <p:spPr>
          <a:xfrm>
            <a:off x="9372470" y="2479384"/>
            <a:ext cx="476092"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latin typeface="NeueHaasGroteskDisp Pro" panose="020B0504020202020204" pitchFamily="34" charset="0"/>
                <a:ea typeface="Consolas" charset="0"/>
                <a:cs typeface="Consolas" charset="0"/>
                <a:sym typeface="Helvetica Light"/>
              </a:rPr>
              <a:t>cherry</a:t>
            </a:r>
            <a:br>
              <a:rPr lang="en-US" sz="1200" dirty="0">
                <a:latin typeface="NeueHaasGroteskDisp Pro" panose="020B0504020202020204" pitchFamily="34" charset="0"/>
                <a:ea typeface="Consolas" charset="0"/>
                <a:cs typeface="Consolas" charset="0"/>
                <a:sym typeface="Helvetica Light"/>
              </a:rPr>
            </a:br>
            <a:r>
              <a:rPr lang="en-US" sz="1200" dirty="0">
                <a:latin typeface="NeueHaasGroteskDisp Pro" panose="020B0504020202020204" pitchFamily="34" charset="0"/>
                <a:ea typeface="Consolas" charset="0"/>
                <a:cs typeface="Consolas" charset="0"/>
                <a:sym typeface="Helvetica Light"/>
              </a:rPr>
              <a:t>3.5</a:t>
            </a:r>
          </a:p>
        </p:txBody>
      </p:sp>
      <p:sp>
        <p:nvSpPr>
          <p:cNvPr id="15" name="TextBox 14">
            <a:extLst>
              <a:ext uri="{FF2B5EF4-FFF2-40B4-BE49-F238E27FC236}">
                <a16:creationId xmlns:a16="http://schemas.microsoft.com/office/drawing/2014/main" id="{D3489AF2-AC7D-C044-A19A-741D8FE63457}"/>
              </a:ext>
            </a:extLst>
          </p:cNvPr>
          <p:cNvSpPr txBox="1"/>
          <p:nvPr/>
        </p:nvSpPr>
        <p:spPr>
          <a:xfrm>
            <a:off x="8427108" y="4380068"/>
            <a:ext cx="411972"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latin typeface="NeueHaasGroteskDisp Pro" panose="020B0504020202020204" pitchFamily="34" charset="0"/>
                <a:ea typeface="Consolas" charset="0"/>
                <a:cs typeface="Consolas" charset="0"/>
                <a:sym typeface="Helvetica Light"/>
              </a:rPr>
              <a:t>apple</a:t>
            </a:r>
            <a:br>
              <a:rPr lang="en-US" sz="1200" dirty="0">
                <a:latin typeface="NeueHaasGroteskDisp Pro" panose="020B0504020202020204" pitchFamily="34" charset="0"/>
                <a:ea typeface="Consolas" charset="0"/>
                <a:cs typeface="Consolas" charset="0"/>
                <a:sym typeface="Helvetica Light"/>
              </a:rPr>
            </a:br>
            <a:r>
              <a:rPr lang="en-US" sz="1200" dirty="0">
                <a:latin typeface="NeueHaasGroteskDisp Pro" panose="020B0504020202020204" pitchFamily="34" charset="0"/>
                <a:ea typeface="Consolas" charset="0"/>
                <a:cs typeface="Consolas" charset="0"/>
                <a:sym typeface="Helvetica Light"/>
              </a:rPr>
              <a:t>8</a:t>
            </a:r>
          </a:p>
        </p:txBody>
      </p:sp>
      <p:sp>
        <p:nvSpPr>
          <p:cNvPr id="16" name="TextBox 15">
            <a:extLst>
              <a:ext uri="{FF2B5EF4-FFF2-40B4-BE49-F238E27FC236}">
                <a16:creationId xmlns:a16="http://schemas.microsoft.com/office/drawing/2014/main" id="{B6A03736-5A28-8446-9BFB-A9EA12A49C60}"/>
              </a:ext>
            </a:extLst>
          </p:cNvPr>
          <p:cNvSpPr txBox="1"/>
          <p:nvPr/>
        </p:nvSpPr>
        <p:spPr>
          <a:xfrm>
            <a:off x="10422844" y="3932090"/>
            <a:ext cx="381515"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latin typeface="NeueHaasGroteskDisp Pro" panose="020B0504020202020204" pitchFamily="34" charset="0"/>
                <a:ea typeface="Consolas" charset="0"/>
                <a:cs typeface="Consolas" charset="0"/>
                <a:sym typeface="Helvetica Light"/>
              </a:rPr>
              <a:t>none</a:t>
            </a:r>
            <a:br>
              <a:rPr lang="en-US" sz="1200" dirty="0">
                <a:latin typeface="NeueHaasGroteskDisp Pro" panose="020B0504020202020204" pitchFamily="34" charset="0"/>
                <a:ea typeface="Consolas" charset="0"/>
                <a:cs typeface="Consolas" charset="0"/>
                <a:sym typeface="Helvetica Light"/>
              </a:rPr>
            </a:br>
            <a:r>
              <a:rPr lang="en-US" sz="1200" dirty="0">
                <a:latin typeface="NeueHaasGroteskDisp Pro" panose="020B0504020202020204" pitchFamily="34" charset="0"/>
                <a:ea typeface="Consolas" charset="0"/>
                <a:cs typeface="Consolas" charset="0"/>
                <a:sym typeface="Helvetica Light"/>
              </a:rPr>
              <a:t>1</a:t>
            </a:r>
          </a:p>
        </p:txBody>
      </p:sp>
      <p:sp>
        <p:nvSpPr>
          <p:cNvPr id="17" name="TextBox 16">
            <a:extLst>
              <a:ext uri="{FF2B5EF4-FFF2-40B4-BE49-F238E27FC236}">
                <a16:creationId xmlns:a16="http://schemas.microsoft.com/office/drawing/2014/main" id="{0A2DF65C-5530-884E-9C7F-890FBF55A6FF}"/>
              </a:ext>
            </a:extLst>
          </p:cNvPr>
          <p:cNvSpPr txBox="1"/>
          <p:nvPr/>
        </p:nvSpPr>
        <p:spPr>
          <a:xfrm>
            <a:off x="10146095" y="3279791"/>
            <a:ext cx="609141"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latin typeface="NeueHaasGroteskDisp Pro" panose="020B0504020202020204" pitchFamily="34" charset="0"/>
                <a:ea typeface="Consolas" charset="0"/>
                <a:cs typeface="Consolas" charset="0"/>
                <a:sym typeface="Helvetica Light"/>
              </a:rPr>
              <a:t>pumpkin</a:t>
            </a:r>
            <a:br>
              <a:rPr lang="en-US" sz="1200" dirty="0">
                <a:latin typeface="NeueHaasGroteskDisp Pro" panose="020B0504020202020204" pitchFamily="34" charset="0"/>
                <a:ea typeface="Consolas" charset="0"/>
                <a:cs typeface="Consolas" charset="0"/>
                <a:sym typeface="Helvetica Light"/>
              </a:rPr>
            </a:br>
            <a:r>
              <a:rPr lang="en-US" sz="1200" dirty="0">
                <a:latin typeface="NeueHaasGroteskDisp Pro" panose="020B0504020202020204" pitchFamily="34" charset="0"/>
                <a:ea typeface="Consolas" charset="0"/>
                <a:cs typeface="Consolas" charset="0"/>
                <a:sym typeface="Helvetica Light"/>
              </a:rPr>
              <a:t>1.5</a:t>
            </a:r>
          </a:p>
        </p:txBody>
      </p:sp>
      <p:sp>
        <p:nvSpPr>
          <p:cNvPr id="18" name="TextBox 17">
            <a:extLst>
              <a:ext uri="{FF2B5EF4-FFF2-40B4-BE49-F238E27FC236}">
                <a16:creationId xmlns:a16="http://schemas.microsoft.com/office/drawing/2014/main" id="{E38B59D2-891E-B845-AA2C-B4051F8D0EED}"/>
              </a:ext>
            </a:extLst>
          </p:cNvPr>
          <p:cNvSpPr txBox="1"/>
          <p:nvPr/>
        </p:nvSpPr>
        <p:spPr>
          <a:xfrm>
            <a:off x="7485680" y="816651"/>
            <a:ext cx="2937164" cy="359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r>
              <a:rPr lang="en-US" sz="2000" dirty="0">
                <a:solidFill>
                  <a:schemeClr val="tx2"/>
                </a:solidFill>
                <a:latin typeface="NeueHaasGroteskDisp Pro" panose="020B0504020202020204" pitchFamily="34" charset="0"/>
                <a:ea typeface="Helvetica" charset="-52"/>
                <a:cs typeface="Helvetica" charset="-52"/>
                <a:sym typeface="Helvetica Light"/>
              </a:rPr>
              <a:t>Pie Chart Title</a:t>
            </a:r>
          </a:p>
        </p:txBody>
      </p:sp>
    </p:spTree>
    <p:extLst>
      <p:ext uri="{BB962C8B-B14F-4D97-AF65-F5344CB8AC3E}">
        <p14:creationId xmlns:p14="http://schemas.microsoft.com/office/powerpoint/2010/main" val="17496413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58DD6E6-EB43-4043-AB43-58DF89889110}"/>
              </a:ext>
            </a:extLst>
          </p:cNvPr>
          <p:cNvSpPr/>
          <p:nvPr/>
        </p:nvSpPr>
        <p:spPr>
          <a:xfrm>
            <a:off x="6161948" y="0"/>
            <a:ext cx="618245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NeueHaasGroteskDisp Pro" panose="020B0504020202020204" pitchFamily="34" charset="0"/>
              </a:rPr>
              <a:t> </a:t>
            </a:r>
          </a:p>
        </p:txBody>
      </p:sp>
      <p:sp>
        <p:nvSpPr>
          <p:cNvPr id="36" name="Rectangle 35">
            <a:extLst>
              <a:ext uri="{FF2B5EF4-FFF2-40B4-BE49-F238E27FC236}">
                <a16:creationId xmlns:a16="http://schemas.microsoft.com/office/drawing/2014/main" id="{8C985D13-D8CA-884F-98B2-F79FE0E98135}"/>
              </a:ext>
            </a:extLst>
          </p:cNvPr>
          <p:cNvSpPr/>
          <p:nvPr/>
        </p:nvSpPr>
        <p:spPr>
          <a:xfrm flipV="1">
            <a:off x="6161947" y="6053452"/>
            <a:ext cx="5614041"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37" name="Date Placeholder 3">
            <a:extLst>
              <a:ext uri="{FF2B5EF4-FFF2-40B4-BE49-F238E27FC236}">
                <a16:creationId xmlns:a16="http://schemas.microsoft.com/office/drawing/2014/main" id="{F309C96B-F4DE-8340-B371-1C248E4EB3D1}"/>
              </a:ext>
            </a:extLst>
          </p:cNvPr>
          <p:cNvSpPr txBox="1">
            <a:spLocks/>
          </p:cNvSpPr>
          <p:nvPr/>
        </p:nvSpPr>
        <p:spPr>
          <a:xfrm>
            <a:off x="8958649" y="6129338"/>
            <a:ext cx="1151238"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412181"/>
                </a:solidFill>
                <a:latin typeface="NeueHaasGroteskDisp Pro" panose="020B0504020202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chemeClr val="tx2"/>
                </a:solidFill>
                <a:latin typeface="NeueHaasGroteskDisp Pro" panose="020B0504020202020204" pitchFamily="34" charset="0"/>
              </a:rPr>
              <a:t>XX/XX/XXXX</a:t>
            </a:r>
          </a:p>
        </p:txBody>
      </p:sp>
      <p:sp>
        <p:nvSpPr>
          <p:cNvPr id="38" name="Slide Number Placeholder 5">
            <a:extLst>
              <a:ext uri="{FF2B5EF4-FFF2-40B4-BE49-F238E27FC236}">
                <a16:creationId xmlns:a16="http://schemas.microsoft.com/office/drawing/2014/main" id="{69399861-6D6A-DA42-8B03-29A54B860C55}"/>
              </a:ext>
            </a:extLst>
          </p:cNvPr>
          <p:cNvSpPr txBox="1">
            <a:spLocks/>
          </p:cNvSpPr>
          <p:nvPr/>
        </p:nvSpPr>
        <p:spPr>
          <a:xfrm>
            <a:off x="11388811" y="6129338"/>
            <a:ext cx="463378"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412181"/>
                </a:solidFill>
                <a:latin typeface="NeueHaasGroteskDisp Pro" panose="020B0504020202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43BC75-A8B3-524C-9CB1-17F14D0EA8E1}" type="slidenum">
              <a:rPr lang="en-US" smtClean="0">
                <a:latin typeface="NeueHaasGroteskDisp Pro" panose="020B0504020202020204" pitchFamily="34" charset="0"/>
              </a:rPr>
              <a:pPr/>
              <a:t>31</a:t>
            </a:fld>
            <a:endParaRPr lang="en-US" dirty="0">
              <a:latin typeface="NeueHaasGroteskDisp Pro" panose="020B0504020202020204" pitchFamily="34" charset="0"/>
            </a:endParaRPr>
          </a:p>
        </p:txBody>
      </p:sp>
      <p:sp>
        <p:nvSpPr>
          <p:cNvPr id="39" name="Footer Placeholder 4">
            <a:extLst>
              <a:ext uri="{FF2B5EF4-FFF2-40B4-BE49-F238E27FC236}">
                <a16:creationId xmlns:a16="http://schemas.microsoft.com/office/drawing/2014/main" id="{CB08101D-FB11-5D44-AF80-91BDF7D53100}"/>
              </a:ext>
            </a:extLst>
          </p:cNvPr>
          <p:cNvSpPr txBox="1">
            <a:spLocks/>
          </p:cNvSpPr>
          <p:nvPr/>
        </p:nvSpPr>
        <p:spPr>
          <a:xfrm>
            <a:off x="6221583" y="6129338"/>
            <a:ext cx="1847379" cy="365125"/>
          </a:xfrm>
          <a:prstGeom prst="rect">
            <a:avLst/>
          </a:prstGeom>
        </p:spPr>
        <p:txBody>
          <a:bodyPr vert="horz" lIns="91440" tIns="45720" rIns="91440" bIns="45720" rtlCol="0" anchor="ctr"/>
          <a:lstStyle>
            <a:defPPr>
              <a:defRPr lang="en-US"/>
            </a:defPPr>
            <a:lvl1pPr marL="0" algn="l" defTabSz="914400" rtl="0" eaLnBrk="1" latinLnBrk="0" hangingPunct="1">
              <a:defRPr sz="1000" b="0" i="0" kern="1200">
                <a:solidFill>
                  <a:srgbClr val="412181"/>
                </a:solidFill>
                <a:latin typeface="NeueHaasGroteskDisp Pro" panose="020B0504020202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NeueHaasGroteskDisp Pro" panose="020B0504020202020204" pitchFamily="34" charset="0"/>
              </a:rPr>
              <a:t>Presentation Title</a:t>
            </a:r>
          </a:p>
        </p:txBody>
      </p:sp>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p:txBody>
          <a:bodyPr>
            <a:noAutofit/>
          </a:bodyPr>
          <a:lstStyle/>
          <a:p>
            <a:r>
              <a:rPr lang="en-US" dirty="0"/>
              <a:t>A pie chart can also be put on a divided slide to give more emphasis.</a:t>
            </a:r>
          </a:p>
        </p:txBody>
      </p:sp>
      <p:sp>
        <p:nvSpPr>
          <p:cNvPr id="3" name="Content Placeholder 2">
            <a:extLst>
              <a:ext uri="{FF2B5EF4-FFF2-40B4-BE49-F238E27FC236}">
                <a16:creationId xmlns:a16="http://schemas.microsoft.com/office/drawing/2014/main" id="{2AD4E37D-B1E5-E242-B2E1-4D5D999531D4}"/>
              </a:ext>
            </a:extLst>
          </p:cNvPr>
          <p:cNvSpPr>
            <a:spLocks noGrp="1"/>
          </p:cNvSpPr>
          <p:nvPr>
            <p:ph idx="1"/>
          </p:nvPr>
        </p:nvSpPr>
        <p:spPr>
          <a:xfrm>
            <a:off x="451020" y="2133742"/>
            <a:ext cx="5051856" cy="1532540"/>
          </a:xfrm>
        </p:spPr>
        <p:txBody>
          <a:bodyPr/>
          <a:lstStyle/>
          <a:p>
            <a:r>
              <a:rPr lang="en-US" dirty="0"/>
              <a:t>The same instruction applies to </a:t>
            </a:r>
            <a:br>
              <a:rPr lang="en-US" dirty="0"/>
            </a:br>
            <a:r>
              <a:rPr lang="en-US" dirty="0"/>
              <a:t>this pie chart as previously noted</a:t>
            </a:r>
          </a:p>
        </p:txBody>
      </p:sp>
      <p:sp>
        <p:nvSpPr>
          <p:cNvPr id="27" name="Shape 524">
            <a:extLst>
              <a:ext uri="{FF2B5EF4-FFF2-40B4-BE49-F238E27FC236}">
                <a16:creationId xmlns:a16="http://schemas.microsoft.com/office/drawing/2014/main" id="{B168159E-B156-CE4C-8D7D-0D888778F12D}"/>
              </a:ext>
            </a:extLst>
          </p:cNvPr>
          <p:cNvSpPr txBox="1">
            <a:spLocks/>
          </p:cNvSpPr>
          <p:nvPr/>
        </p:nvSpPr>
        <p:spPr>
          <a:xfrm>
            <a:off x="6795262" y="5725348"/>
            <a:ext cx="4318001" cy="2540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t">
            <a:noAutofit/>
          </a:bodyPr>
          <a:lstStyle>
            <a:lvl1pPr marL="0" marR="0" indent="0" algn="l" defTabSz="825500" rtl="0" latinLnBrk="0">
              <a:lnSpc>
                <a:spcPts val="12000"/>
              </a:lnSpc>
              <a:spcBef>
                <a:spcPts val="0"/>
              </a:spcBef>
              <a:spcAft>
                <a:spcPts val="0"/>
              </a:spcAft>
              <a:buClrTx/>
              <a:buSzTx/>
              <a:buFontTx/>
              <a:buNone/>
              <a:tabLst/>
              <a:defRPr sz="12000" b="1" i="0" u="none" strike="noStrike" cap="none" spc="0" baseline="0">
                <a:ln>
                  <a:noFill/>
                </a:ln>
                <a:solidFill>
                  <a:srgbClr val="000000"/>
                </a:solidFill>
                <a:uFillTx/>
                <a:latin typeface="Helvetica Bold" charset="0"/>
                <a:ea typeface="Helvetica Bold" charset="0"/>
                <a:cs typeface="Helvetica Bold" charset="0"/>
                <a:sym typeface="Neue Haas Grotesk Display Std 95 Black"/>
              </a:defRPr>
            </a:lvl1pPr>
            <a:lvl2pPr marL="0" marR="0" indent="2286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72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58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44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430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716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6002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88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a:lstStyle>
          <a:p>
            <a:pPr marL="381000" marR="381000" lvl="1" indent="0">
              <a:defRPr sz="1800" spc="36">
                <a:latin typeface="Consolas"/>
                <a:ea typeface="Consolas"/>
                <a:cs typeface="Consolas"/>
                <a:sym typeface="Consolas"/>
              </a:defRPr>
            </a:pPr>
            <a:r>
              <a:rPr lang="en-US" sz="800" spc="18" dirty="0">
                <a:solidFill>
                  <a:schemeClr val="tx1"/>
                </a:solidFill>
                <a:latin typeface="NeueHaasGroteskDisp Pro" panose="020B0504020202020204" pitchFamily="34" charset="0"/>
                <a:ea typeface="Consolas"/>
                <a:cs typeface="Consolas"/>
                <a:sym typeface="Consolas"/>
              </a:rPr>
              <a:t>Lorem ipsum dolor sit </a:t>
            </a:r>
            <a:r>
              <a:rPr lang="en-US" sz="800" spc="18" dirty="0" err="1">
                <a:solidFill>
                  <a:schemeClr val="tx1"/>
                </a:solidFill>
                <a:latin typeface="NeueHaasGroteskDisp Pro" panose="020B0504020202020204" pitchFamily="34" charset="0"/>
                <a:ea typeface="Consolas"/>
                <a:cs typeface="Consolas"/>
                <a:sym typeface="Consolas"/>
              </a:rPr>
              <a:t>amet</a:t>
            </a:r>
            <a:r>
              <a:rPr lang="en-US" sz="800" spc="18" dirty="0">
                <a:solidFill>
                  <a:schemeClr val="tx1"/>
                </a:solidFill>
                <a:latin typeface="NeueHaasGroteskDisp Pro" panose="020B0504020202020204" pitchFamily="34" charset="0"/>
                <a:ea typeface="Consolas"/>
                <a:cs typeface="Consolas"/>
                <a:sym typeface="Consolas"/>
              </a:rPr>
              <a:t> </a:t>
            </a:r>
            <a:r>
              <a:rPr lang="en-US" sz="800" spc="18" dirty="0" err="1">
                <a:solidFill>
                  <a:schemeClr val="tx1"/>
                </a:solidFill>
                <a:latin typeface="NeueHaasGroteskDisp Pro" panose="020B0504020202020204" pitchFamily="34" charset="0"/>
                <a:ea typeface="Consolas"/>
                <a:cs typeface="Consolas"/>
                <a:sym typeface="Consolas"/>
              </a:rPr>
              <a:t>consecteur</a:t>
            </a:r>
            <a:r>
              <a:rPr lang="en-US" sz="800" spc="18" dirty="0">
                <a:solidFill>
                  <a:schemeClr val="tx1"/>
                </a:solidFill>
                <a:latin typeface="NeueHaasGroteskDisp Pro" panose="020B0504020202020204" pitchFamily="34" charset="0"/>
                <a:ea typeface="Consolas"/>
                <a:cs typeface="Consolas"/>
                <a:sym typeface="Consolas"/>
              </a:rPr>
              <a:t> </a:t>
            </a:r>
            <a:r>
              <a:rPr lang="en-US" sz="800" spc="18" dirty="0" err="1">
                <a:solidFill>
                  <a:schemeClr val="tx1"/>
                </a:solidFill>
                <a:latin typeface="NeueHaasGroteskDisp Pro" panose="020B0504020202020204" pitchFamily="34" charset="0"/>
                <a:ea typeface="Consolas"/>
                <a:cs typeface="Consolas"/>
                <a:sym typeface="Consolas"/>
              </a:rPr>
              <a:t>exeanibh</a:t>
            </a:r>
            <a:r>
              <a:rPr lang="en-US" sz="800" spc="18" dirty="0">
                <a:solidFill>
                  <a:schemeClr val="tx1"/>
                </a:solidFill>
                <a:latin typeface="NeueHaasGroteskDisp Pro" panose="020B0504020202020204" pitchFamily="34" charset="0"/>
                <a:ea typeface="Consolas"/>
                <a:cs typeface="Consolas"/>
                <a:sym typeface="Consolas"/>
              </a:rPr>
              <a:t>. </a:t>
            </a:r>
          </a:p>
          <a:p>
            <a:pPr marL="381000" marR="381000" lvl="1" indent="0">
              <a:defRPr sz="1800" spc="36">
                <a:latin typeface="Consolas"/>
                <a:ea typeface="Consolas"/>
                <a:cs typeface="Consolas"/>
                <a:sym typeface="Consolas"/>
              </a:defRPr>
            </a:pPr>
            <a:r>
              <a:rPr lang="en-US" sz="800" spc="18" dirty="0">
                <a:solidFill>
                  <a:schemeClr val="tx1"/>
                </a:solidFill>
                <a:latin typeface="NeueHaasGroteskDisp Pro" panose="020B0504020202020204" pitchFamily="34" charset="0"/>
                <a:ea typeface="Consolas"/>
                <a:cs typeface="Consolas"/>
                <a:sym typeface="Consolas"/>
              </a:rPr>
              <a:t>©2017 Lorem Ipsum Dolor</a:t>
            </a:r>
          </a:p>
        </p:txBody>
      </p:sp>
      <p:graphicFrame>
        <p:nvGraphicFramePr>
          <p:cNvPr id="28" name="Chart 27">
            <a:extLst>
              <a:ext uri="{FF2B5EF4-FFF2-40B4-BE49-F238E27FC236}">
                <a16:creationId xmlns:a16="http://schemas.microsoft.com/office/drawing/2014/main" id="{FC216EC7-B9D3-D74A-99FE-07248D896CFF}"/>
              </a:ext>
            </a:extLst>
          </p:cNvPr>
          <p:cNvGraphicFramePr/>
          <p:nvPr/>
        </p:nvGraphicFramePr>
        <p:xfrm>
          <a:off x="6364224" y="486486"/>
          <a:ext cx="5180076"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29" name="TextBox 28">
            <a:extLst>
              <a:ext uri="{FF2B5EF4-FFF2-40B4-BE49-F238E27FC236}">
                <a16:creationId xmlns:a16="http://schemas.microsoft.com/office/drawing/2014/main" id="{3B457C62-5903-8D49-8E83-8180C5E76463}"/>
              </a:ext>
            </a:extLst>
          </p:cNvPr>
          <p:cNvSpPr txBox="1"/>
          <p:nvPr/>
        </p:nvSpPr>
        <p:spPr>
          <a:xfrm>
            <a:off x="8043018" y="2479384"/>
            <a:ext cx="459998"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solidFill>
                  <a:schemeClr val="bg1"/>
                </a:solidFill>
                <a:latin typeface="NeueHaasGroteskDisp Pro" panose="020B0504020202020204" pitchFamily="34" charset="0"/>
                <a:ea typeface="Consolas" charset="0"/>
                <a:cs typeface="Consolas" charset="0"/>
                <a:sym typeface="Helvetica Light"/>
              </a:rPr>
              <a:t>pecan</a:t>
            </a:r>
            <a:br>
              <a:rPr lang="en-US" sz="1200" dirty="0">
                <a:solidFill>
                  <a:schemeClr val="bg1"/>
                </a:solidFill>
                <a:latin typeface="NeueHaasGroteskDisp Pro" panose="020B0504020202020204" pitchFamily="34" charset="0"/>
                <a:ea typeface="Consolas" charset="0"/>
                <a:cs typeface="Consolas" charset="0"/>
                <a:sym typeface="Helvetica Light"/>
              </a:rPr>
            </a:br>
            <a:r>
              <a:rPr lang="en-US" sz="1200" dirty="0">
                <a:solidFill>
                  <a:schemeClr val="bg1"/>
                </a:solidFill>
                <a:latin typeface="NeueHaasGroteskDisp Pro" panose="020B0504020202020204" pitchFamily="34" charset="0"/>
                <a:ea typeface="Consolas" charset="0"/>
                <a:cs typeface="Consolas" charset="0"/>
                <a:sym typeface="Helvetica Light"/>
              </a:rPr>
              <a:t>5</a:t>
            </a:r>
          </a:p>
        </p:txBody>
      </p:sp>
      <p:sp>
        <p:nvSpPr>
          <p:cNvPr id="30" name="TextBox 29">
            <a:extLst>
              <a:ext uri="{FF2B5EF4-FFF2-40B4-BE49-F238E27FC236}">
                <a16:creationId xmlns:a16="http://schemas.microsoft.com/office/drawing/2014/main" id="{D841BB7B-A84C-5646-B246-3D960A4FBF2C}"/>
              </a:ext>
            </a:extLst>
          </p:cNvPr>
          <p:cNvSpPr txBox="1"/>
          <p:nvPr/>
        </p:nvSpPr>
        <p:spPr>
          <a:xfrm>
            <a:off x="9372470" y="2479384"/>
            <a:ext cx="476092"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latin typeface="NeueHaasGroteskDisp Pro" panose="020B0504020202020204" pitchFamily="34" charset="0"/>
                <a:ea typeface="Consolas" charset="0"/>
                <a:cs typeface="Consolas" charset="0"/>
                <a:sym typeface="Helvetica Light"/>
              </a:rPr>
              <a:t>cherry</a:t>
            </a:r>
            <a:br>
              <a:rPr lang="en-US" sz="1200" dirty="0">
                <a:latin typeface="NeueHaasGroteskDisp Pro" panose="020B0504020202020204" pitchFamily="34" charset="0"/>
                <a:ea typeface="Consolas" charset="0"/>
                <a:cs typeface="Consolas" charset="0"/>
                <a:sym typeface="Helvetica Light"/>
              </a:rPr>
            </a:br>
            <a:r>
              <a:rPr lang="en-US" sz="1200" dirty="0">
                <a:latin typeface="NeueHaasGroteskDisp Pro" panose="020B0504020202020204" pitchFamily="34" charset="0"/>
                <a:ea typeface="Consolas" charset="0"/>
                <a:cs typeface="Consolas" charset="0"/>
                <a:sym typeface="Helvetica Light"/>
              </a:rPr>
              <a:t>3.5</a:t>
            </a:r>
          </a:p>
        </p:txBody>
      </p:sp>
      <p:sp>
        <p:nvSpPr>
          <p:cNvPr id="31" name="TextBox 30">
            <a:extLst>
              <a:ext uri="{FF2B5EF4-FFF2-40B4-BE49-F238E27FC236}">
                <a16:creationId xmlns:a16="http://schemas.microsoft.com/office/drawing/2014/main" id="{FF76A91A-C9D7-E644-A091-23E35880D907}"/>
              </a:ext>
            </a:extLst>
          </p:cNvPr>
          <p:cNvSpPr txBox="1"/>
          <p:nvPr/>
        </p:nvSpPr>
        <p:spPr>
          <a:xfrm>
            <a:off x="8427108" y="4380068"/>
            <a:ext cx="411972"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latin typeface="NeueHaasGroteskDisp Pro" panose="020B0504020202020204" pitchFamily="34" charset="0"/>
                <a:ea typeface="Consolas" charset="0"/>
                <a:cs typeface="Consolas" charset="0"/>
                <a:sym typeface="Helvetica Light"/>
              </a:rPr>
              <a:t>apple</a:t>
            </a:r>
            <a:br>
              <a:rPr lang="en-US" sz="1200" dirty="0">
                <a:latin typeface="NeueHaasGroteskDisp Pro" panose="020B0504020202020204" pitchFamily="34" charset="0"/>
                <a:ea typeface="Consolas" charset="0"/>
                <a:cs typeface="Consolas" charset="0"/>
                <a:sym typeface="Helvetica Light"/>
              </a:rPr>
            </a:br>
            <a:r>
              <a:rPr lang="en-US" sz="1200" dirty="0">
                <a:latin typeface="NeueHaasGroteskDisp Pro" panose="020B0504020202020204" pitchFamily="34" charset="0"/>
                <a:ea typeface="Consolas" charset="0"/>
                <a:cs typeface="Consolas" charset="0"/>
                <a:sym typeface="Helvetica Light"/>
              </a:rPr>
              <a:t>8</a:t>
            </a:r>
          </a:p>
        </p:txBody>
      </p:sp>
      <p:sp>
        <p:nvSpPr>
          <p:cNvPr id="32" name="TextBox 31">
            <a:extLst>
              <a:ext uri="{FF2B5EF4-FFF2-40B4-BE49-F238E27FC236}">
                <a16:creationId xmlns:a16="http://schemas.microsoft.com/office/drawing/2014/main" id="{52360F48-F8FF-F247-BD34-2B37BFD9AB05}"/>
              </a:ext>
            </a:extLst>
          </p:cNvPr>
          <p:cNvSpPr txBox="1"/>
          <p:nvPr/>
        </p:nvSpPr>
        <p:spPr>
          <a:xfrm>
            <a:off x="10422844" y="3932090"/>
            <a:ext cx="381515"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latin typeface="NeueHaasGroteskDisp Pro" panose="020B0504020202020204" pitchFamily="34" charset="0"/>
                <a:ea typeface="Consolas" charset="0"/>
                <a:cs typeface="Consolas" charset="0"/>
                <a:sym typeface="Helvetica Light"/>
              </a:rPr>
              <a:t>none</a:t>
            </a:r>
            <a:br>
              <a:rPr lang="en-US" sz="1200" dirty="0">
                <a:latin typeface="NeueHaasGroteskDisp Pro" panose="020B0504020202020204" pitchFamily="34" charset="0"/>
                <a:ea typeface="Consolas" charset="0"/>
                <a:cs typeface="Consolas" charset="0"/>
                <a:sym typeface="Helvetica Light"/>
              </a:rPr>
            </a:br>
            <a:r>
              <a:rPr lang="en-US" sz="1200" dirty="0">
                <a:latin typeface="NeueHaasGroteskDisp Pro" panose="020B0504020202020204" pitchFamily="34" charset="0"/>
                <a:ea typeface="Consolas" charset="0"/>
                <a:cs typeface="Consolas" charset="0"/>
                <a:sym typeface="Helvetica Light"/>
              </a:rPr>
              <a:t>1</a:t>
            </a:r>
          </a:p>
        </p:txBody>
      </p:sp>
      <p:sp>
        <p:nvSpPr>
          <p:cNvPr id="33" name="TextBox 32">
            <a:extLst>
              <a:ext uri="{FF2B5EF4-FFF2-40B4-BE49-F238E27FC236}">
                <a16:creationId xmlns:a16="http://schemas.microsoft.com/office/drawing/2014/main" id="{DF12C0A4-348D-6449-8C7D-47E29D82FA8A}"/>
              </a:ext>
            </a:extLst>
          </p:cNvPr>
          <p:cNvSpPr txBox="1"/>
          <p:nvPr/>
        </p:nvSpPr>
        <p:spPr>
          <a:xfrm>
            <a:off x="10146095" y="3279791"/>
            <a:ext cx="609141"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latin typeface="NeueHaasGroteskDisp Pro" panose="020B0504020202020204" pitchFamily="34" charset="0"/>
                <a:ea typeface="Consolas" charset="0"/>
                <a:cs typeface="Consolas" charset="0"/>
                <a:sym typeface="Helvetica Light"/>
              </a:rPr>
              <a:t>pumpkin</a:t>
            </a:r>
            <a:br>
              <a:rPr lang="en-US" sz="1200" dirty="0">
                <a:latin typeface="NeueHaasGroteskDisp Pro" panose="020B0504020202020204" pitchFamily="34" charset="0"/>
                <a:ea typeface="Consolas" charset="0"/>
                <a:cs typeface="Consolas" charset="0"/>
                <a:sym typeface="Helvetica Light"/>
              </a:rPr>
            </a:br>
            <a:r>
              <a:rPr lang="en-US" sz="1200" dirty="0">
                <a:latin typeface="NeueHaasGroteskDisp Pro" panose="020B0504020202020204" pitchFamily="34" charset="0"/>
                <a:ea typeface="Consolas" charset="0"/>
                <a:cs typeface="Consolas" charset="0"/>
                <a:sym typeface="Helvetica Light"/>
              </a:rPr>
              <a:t>1.5</a:t>
            </a:r>
          </a:p>
        </p:txBody>
      </p:sp>
      <p:sp>
        <p:nvSpPr>
          <p:cNvPr id="34" name="TextBox 33">
            <a:extLst>
              <a:ext uri="{FF2B5EF4-FFF2-40B4-BE49-F238E27FC236}">
                <a16:creationId xmlns:a16="http://schemas.microsoft.com/office/drawing/2014/main" id="{B90A7EB7-7707-1941-82D0-188C46C8DFDC}"/>
              </a:ext>
            </a:extLst>
          </p:cNvPr>
          <p:cNvSpPr txBox="1"/>
          <p:nvPr/>
        </p:nvSpPr>
        <p:spPr>
          <a:xfrm>
            <a:off x="7485680" y="816651"/>
            <a:ext cx="2937164" cy="359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r>
              <a:rPr lang="en-US" sz="2000" dirty="0">
                <a:solidFill>
                  <a:schemeClr val="tx2"/>
                </a:solidFill>
                <a:latin typeface="NeueHaasGroteskDisp Pro" panose="020B0504020202020204" pitchFamily="34" charset="0"/>
                <a:ea typeface="Helvetica" charset="-52"/>
                <a:cs typeface="Helvetica" charset="-52"/>
                <a:sym typeface="Helvetica Light"/>
              </a:rPr>
              <a:t>Pie Chart Title</a:t>
            </a:r>
          </a:p>
        </p:txBody>
      </p:sp>
    </p:spTree>
    <p:extLst>
      <p:ext uri="{BB962C8B-B14F-4D97-AF65-F5344CB8AC3E}">
        <p14:creationId xmlns:p14="http://schemas.microsoft.com/office/powerpoint/2010/main" val="33356069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19" y="445723"/>
            <a:ext cx="5376757" cy="1094451"/>
          </a:xfrm>
        </p:spPr>
        <p:txBody>
          <a:bodyPr>
            <a:noAutofit/>
          </a:bodyPr>
          <a:lstStyle/>
          <a:p>
            <a:r>
              <a:rPr lang="en-US" sz="4800" dirty="0"/>
              <a:t>The Urgency in numbers</a:t>
            </a:r>
            <a:endParaRPr lang="en-US" sz="4800" dirty="0">
              <a:latin typeface="NeueHaasGroteskDisp Pro Md" panose="020B0504020202020204" pitchFamily="34" charset="77"/>
            </a:endParaRPr>
          </a:p>
        </p:txBody>
      </p:sp>
      <p:sp>
        <p:nvSpPr>
          <p:cNvPr id="3" name="Content Placeholder 2">
            <a:extLst>
              <a:ext uri="{FF2B5EF4-FFF2-40B4-BE49-F238E27FC236}">
                <a16:creationId xmlns:a16="http://schemas.microsoft.com/office/drawing/2014/main" id="{2AD4E37D-B1E5-E242-B2E1-4D5D999531D4}"/>
              </a:ext>
            </a:extLst>
          </p:cNvPr>
          <p:cNvSpPr>
            <a:spLocks noGrp="1"/>
          </p:cNvSpPr>
          <p:nvPr>
            <p:ph idx="1"/>
          </p:nvPr>
        </p:nvSpPr>
        <p:spPr>
          <a:xfrm>
            <a:off x="442914" y="2306445"/>
            <a:ext cx="5051856" cy="1532540"/>
          </a:xfrm>
        </p:spPr>
        <p:txBody>
          <a:bodyPr/>
          <a:lstStyle/>
          <a:p>
            <a:r>
              <a:rPr lang="en-US" dirty="0"/>
              <a:t>Outline the urgency of the issue, frame it through a time lens, to instill urgency to act. </a:t>
            </a:r>
          </a:p>
        </p:txBody>
      </p:sp>
      <p:sp>
        <p:nvSpPr>
          <p:cNvPr id="11" name="Date Placeholder 3">
            <a:extLst>
              <a:ext uri="{FF2B5EF4-FFF2-40B4-BE49-F238E27FC236}">
                <a16:creationId xmlns:a16="http://schemas.microsoft.com/office/drawing/2014/main" id="{3367C149-A05E-DA4C-A77F-992D2D3F5DDE}"/>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bg1"/>
                </a:solidFill>
              </a:rPr>
              <a:t>XX/XX/XXXX</a:t>
            </a:r>
          </a:p>
        </p:txBody>
      </p:sp>
      <p:sp>
        <p:nvSpPr>
          <p:cNvPr id="12" name="Slide Number Placeholder 5">
            <a:extLst>
              <a:ext uri="{FF2B5EF4-FFF2-40B4-BE49-F238E27FC236}">
                <a16:creationId xmlns:a16="http://schemas.microsoft.com/office/drawing/2014/main" id="{E391B4A4-E196-2C44-94B0-3577F526CEF5}"/>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solidFill>
                  <a:schemeClr val="bg1"/>
                </a:solidFill>
              </a:rPr>
              <a:pPr/>
              <a:t>32</a:t>
            </a:fld>
            <a:endParaRPr lang="en-US" dirty="0">
              <a:solidFill>
                <a:schemeClr val="bg1"/>
              </a:solidFill>
            </a:endParaRPr>
          </a:p>
        </p:txBody>
      </p:sp>
      <p:sp>
        <p:nvSpPr>
          <p:cNvPr id="13" name="Footer Placeholder 4">
            <a:extLst>
              <a:ext uri="{FF2B5EF4-FFF2-40B4-BE49-F238E27FC236}">
                <a16:creationId xmlns:a16="http://schemas.microsoft.com/office/drawing/2014/main" id="{28E303F7-F417-CC4C-A9CA-F3E3AF06D1C2}"/>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pPr algn="l"/>
            <a:r>
              <a:rPr lang="en-US" dirty="0">
                <a:solidFill>
                  <a:schemeClr val="bg1"/>
                </a:solidFill>
              </a:rPr>
              <a:t>Presentation Title</a:t>
            </a:r>
          </a:p>
        </p:txBody>
      </p:sp>
      <p:sp>
        <p:nvSpPr>
          <p:cNvPr id="9" name="Shape 524">
            <a:extLst>
              <a:ext uri="{FF2B5EF4-FFF2-40B4-BE49-F238E27FC236}">
                <a16:creationId xmlns:a16="http://schemas.microsoft.com/office/drawing/2014/main" id="{AEEF1CCE-0C88-1C41-BDA8-3AABFE2419EF}"/>
              </a:ext>
            </a:extLst>
          </p:cNvPr>
          <p:cNvSpPr txBox="1">
            <a:spLocks/>
          </p:cNvSpPr>
          <p:nvPr/>
        </p:nvSpPr>
        <p:spPr>
          <a:xfrm>
            <a:off x="6795262" y="5725348"/>
            <a:ext cx="4318001" cy="254001"/>
          </a:xfrm>
          <a:prstGeom prst="rect">
            <a:avLst/>
          </a:prstGeom>
          <a:ln w="12700">
            <a:miter lim="400000"/>
          </a:ln>
          <a:extLst>
            <a:ext uri="{C572A759-6A51-4108-AA02-DFA0A04FC94B}">
              <ma14:wrappingTextBoxFlag xmlns="" xmlns:ma14="http://schemas.microsoft.com/office/mac/drawingml/2011/main" val="1"/>
            </a:ext>
          </a:extLst>
        </p:spPr>
        <p:txBody>
          <a:bodyPr lIns="0" tIns="0" rIns="0" bIns="0" anchor="t">
            <a:noAutofit/>
          </a:bodyPr>
          <a:lstStyle>
            <a:lvl1pPr marL="0" marR="0" indent="0" algn="l" defTabSz="825500" rtl="0" latinLnBrk="0">
              <a:lnSpc>
                <a:spcPts val="12000"/>
              </a:lnSpc>
              <a:spcBef>
                <a:spcPts val="0"/>
              </a:spcBef>
              <a:spcAft>
                <a:spcPts val="0"/>
              </a:spcAft>
              <a:buClrTx/>
              <a:buSzTx/>
              <a:buFontTx/>
              <a:buNone/>
              <a:tabLst/>
              <a:defRPr sz="12000" b="1" i="0" u="none" strike="noStrike" cap="none" spc="0" baseline="0">
                <a:ln>
                  <a:noFill/>
                </a:ln>
                <a:solidFill>
                  <a:srgbClr val="000000"/>
                </a:solidFill>
                <a:uFillTx/>
                <a:latin typeface="Helvetica Bold" charset="0"/>
                <a:ea typeface="Helvetica Bold" charset="0"/>
                <a:cs typeface="Helvetica Bold" charset="0"/>
                <a:sym typeface="Neue Haas Grotesk Display Std 95 Black"/>
              </a:defRPr>
            </a:lvl1pPr>
            <a:lvl2pPr marL="0" marR="0" indent="2286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72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58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44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430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716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6002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88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a:lstStyle>
          <a:p>
            <a:pPr marL="381000" marR="381000" lvl="1" indent="0">
              <a:defRPr sz="1800" spc="36">
                <a:latin typeface="Consolas"/>
                <a:ea typeface="Consolas"/>
                <a:cs typeface="Consolas"/>
                <a:sym typeface="Consolas"/>
              </a:defRPr>
            </a:pPr>
            <a:r>
              <a:rPr lang="en-US" sz="800" spc="18" dirty="0">
                <a:solidFill>
                  <a:schemeClr val="bg1"/>
                </a:solidFill>
                <a:latin typeface="NeueHaasGroteskDisp Pro" panose="020B0504020202020204" pitchFamily="34" charset="0"/>
                <a:ea typeface="Consolas"/>
                <a:cs typeface="Consolas"/>
                <a:sym typeface="Consolas"/>
              </a:rPr>
              <a:t>Lorem ipsum dolor sit </a:t>
            </a:r>
            <a:r>
              <a:rPr lang="en-US" sz="800" spc="18" dirty="0" err="1">
                <a:solidFill>
                  <a:schemeClr val="bg1"/>
                </a:solidFill>
                <a:latin typeface="NeueHaasGroteskDisp Pro" panose="020B0504020202020204" pitchFamily="34" charset="0"/>
                <a:ea typeface="Consolas"/>
                <a:cs typeface="Consolas"/>
                <a:sym typeface="Consolas"/>
              </a:rPr>
              <a:t>amet</a:t>
            </a:r>
            <a:r>
              <a:rPr lang="en-US" sz="800" spc="18" dirty="0">
                <a:solidFill>
                  <a:schemeClr val="bg1"/>
                </a:solidFill>
                <a:latin typeface="NeueHaasGroteskDisp Pro" panose="020B0504020202020204" pitchFamily="34" charset="0"/>
                <a:ea typeface="Consolas"/>
                <a:cs typeface="Consolas"/>
                <a:sym typeface="Consolas"/>
              </a:rPr>
              <a:t> </a:t>
            </a:r>
            <a:r>
              <a:rPr lang="en-US" sz="800" spc="18" dirty="0" err="1">
                <a:solidFill>
                  <a:schemeClr val="bg1"/>
                </a:solidFill>
                <a:latin typeface="NeueHaasGroteskDisp Pro" panose="020B0504020202020204" pitchFamily="34" charset="0"/>
                <a:ea typeface="Consolas"/>
                <a:cs typeface="Consolas"/>
                <a:sym typeface="Consolas"/>
              </a:rPr>
              <a:t>consecteur</a:t>
            </a:r>
            <a:r>
              <a:rPr lang="en-US" sz="800" spc="18" dirty="0">
                <a:solidFill>
                  <a:schemeClr val="bg1"/>
                </a:solidFill>
                <a:latin typeface="NeueHaasGroteskDisp Pro" panose="020B0504020202020204" pitchFamily="34" charset="0"/>
                <a:ea typeface="Consolas"/>
                <a:cs typeface="Consolas"/>
                <a:sym typeface="Consolas"/>
              </a:rPr>
              <a:t> </a:t>
            </a:r>
            <a:r>
              <a:rPr lang="en-US" sz="800" spc="18" dirty="0" err="1">
                <a:solidFill>
                  <a:schemeClr val="bg1"/>
                </a:solidFill>
                <a:latin typeface="NeueHaasGroteskDisp Pro" panose="020B0504020202020204" pitchFamily="34" charset="0"/>
                <a:ea typeface="Consolas"/>
                <a:cs typeface="Consolas"/>
                <a:sym typeface="Consolas"/>
              </a:rPr>
              <a:t>exeanibh</a:t>
            </a:r>
            <a:r>
              <a:rPr lang="en-US" sz="800" spc="18" dirty="0">
                <a:solidFill>
                  <a:schemeClr val="bg1"/>
                </a:solidFill>
                <a:latin typeface="NeueHaasGroteskDisp Pro" panose="020B0504020202020204" pitchFamily="34" charset="0"/>
                <a:ea typeface="Consolas"/>
                <a:cs typeface="Consolas"/>
                <a:sym typeface="Consolas"/>
              </a:rPr>
              <a:t>. </a:t>
            </a:r>
          </a:p>
          <a:p>
            <a:pPr marL="381000" marR="381000" lvl="1" indent="0">
              <a:defRPr sz="1800" spc="36">
                <a:latin typeface="Consolas"/>
                <a:ea typeface="Consolas"/>
                <a:cs typeface="Consolas"/>
                <a:sym typeface="Consolas"/>
              </a:defRPr>
            </a:pPr>
            <a:r>
              <a:rPr lang="en-US" sz="800" spc="18" dirty="0">
                <a:solidFill>
                  <a:schemeClr val="bg1"/>
                </a:solidFill>
                <a:latin typeface="NeueHaasGroteskDisp Pro" panose="020B0504020202020204" pitchFamily="34" charset="0"/>
                <a:ea typeface="Consolas"/>
                <a:cs typeface="Consolas"/>
                <a:sym typeface="Consolas"/>
              </a:rPr>
              <a:t>©2017 Lorem Ipsum Dolor</a:t>
            </a:r>
          </a:p>
        </p:txBody>
      </p:sp>
      <p:graphicFrame>
        <p:nvGraphicFramePr>
          <p:cNvPr id="10" name="Chart 9">
            <a:extLst>
              <a:ext uri="{FF2B5EF4-FFF2-40B4-BE49-F238E27FC236}">
                <a16:creationId xmlns:a16="http://schemas.microsoft.com/office/drawing/2014/main" id="{FEA8313F-675C-664B-8B96-01B2FB98E47F}"/>
              </a:ext>
            </a:extLst>
          </p:cNvPr>
          <p:cNvGraphicFramePr/>
          <p:nvPr>
            <p:extLst>
              <p:ext uri="{D42A27DB-BD31-4B8C-83A1-F6EECF244321}">
                <p14:modId xmlns:p14="http://schemas.microsoft.com/office/powerpoint/2010/main" val="3714116783"/>
              </p:ext>
            </p:extLst>
          </p:nvPr>
        </p:nvGraphicFramePr>
        <p:xfrm>
          <a:off x="6364224" y="486486"/>
          <a:ext cx="5180076"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4E911465-092D-EC4A-B4C3-CE0BAC683D9C}"/>
              </a:ext>
            </a:extLst>
          </p:cNvPr>
          <p:cNvSpPr txBox="1"/>
          <p:nvPr/>
        </p:nvSpPr>
        <p:spPr>
          <a:xfrm>
            <a:off x="8043018" y="2479384"/>
            <a:ext cx="459998"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solidFill>
                  <a:schemeClr val="bg1"/>
                </a:solidFill>
                <a:latin typeface="NeueHaasGroteskDisp Pro" panose="020B0504020202020204" pitchFamily="34" charset="0"/>
                <a:ea typeface="Consolas" charset="0"/>
                <a:cs typeface="Consolas" charset="0"/>
                <a:sym typeface="Helvetica Light"/>
              </a:rPr>
              <a:t>pecan</a:t>
            </a:r>
            <a:br>
              <a:rPr lang="en-US" sz="1200" dirty="0">
                <a:solidFill>
                  <a:schemeClr val="bg1"/>
                </a:solidFill>
                <a:latin typeface="NeueHaasGroteskDisp Pro" panose="020B0504020202020204" pitchFamily="34" charset="0"/>
                <a:ea typeface="Consolas" charset="0"/>
                <a:cs typeface="Consolas" charset="0"/>
                <a:sym typeface="Helvetica Light"/>
              </a:rPr>
            </a:br>
            <a:r>
              <a:rPr lang="en-US" sz="1200" dirty="0">
                <a:solidFill>
                  <a:schemeClr val="bg1"/>
                </a:solidFill>
                <a:latin typeface="NeueHaasGroteskDisp Pro" panose="020B0504020202020204" pitchFamily="34" charset="0"/>
                <a:ea typeface="Consolas" charset="0"/>
                <a:cs typeface="Consolas" charset="0"/>
                <a:sym typeface="Helvetica Light"/>
              </a:rPr>
              <a:t>5</a:t>
            </a:r>
          </a:p>
        </p:txBody>
      </p:sp>
      <p:sp>
        <p:nvSpPr>
          <p:cNvPr id="15" name="TextBox 14">
            <a:extLst>
              <a:ext uri="{FF2B5EF4-FFF2-40B4-BE49-F238E27FC236}">
                <a16:creationId xmlns:a16="http://schemas.microsoft.com/office/drawing/2014/main" id="{05BDCEA5-523E-F049-8EEB-A6811249B8C3}"/>
              </a:ext>
            </a:extLst>
          </p:cNvPr>
          <p:cNvSpPr txBox="1"/>
          <p:nvPr/>
        </p:nvSpPr>
        <p:spPr>
          <a:xfrm>
            <a:off x="9372470" y="2479384"/>
            <a:ext cx="476092"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latin typeface="NeueHaasGroteskDisp Pro" panose="020B0504020202020204" pitchFamily="34" charset="0"/>
                <a:ea typeface="Consolas" charset="0"/>
                <a:cs typeface="Consolas" charset="0"/>
                <a:sym typeface="Helvetica Light"/>
              </a:rPr>
              <a:t>cherry</a:t>
            </a:r>
            <a:br>
              <a:rPr lang="en-US" sz="1200" dirty="0">
                <a:latin typeface="NeueHaasGroteskDisp Pro" panose="020B0504020202020204" pitchFamily="34" charset="0"/>
                <a:ea typeface="Consolas" charset="0"/>
                <a:cs typeface="Consolas" charset="0"/>
                <a:sym typeface="Helvetica Light"/>
              </a:rPr>
            </a:br>
            <a:r>
              <a:rPr lang="en-US" sz="1200" dirty="0">
                <a:latin typeface="NeueHaasGroteskDisp Pro" panose="020B0504020202020204" pitchFamily="34" charset="0"/>
                <a:ea typeface="Consolas" charset="0"/>
                <a:cs typeface="Consolas" charset="0"/>
                <a:sym typeface="Helvetica Light"/>
              </a:rPr>
              <a:t>3.5</a:t>
            </a:r>
          </a:p>
        </p:txBody>
      </p:sp>
      <p:sp>
        <p:nvSpPr>
          <p:cNvPr id="16" name="TextBox 15">
            <a:extLst>
              <a:ext uri="{FF2B5EF4-FFF2-40B4-BE49-F238E27FC236}">
                <a16:creationId xmlns:a16="http://schemas.microsoft.com/office/drawing/2014/main" id="{2A2713C3-893E-6345-BA9C-13112D4C9610}"/>
              </a:ext>
            </a:extLst>
          </p:cNvPr>
          <p:cNvSpPr txBox="1"/>
          <p:nvPr/>
        </p:nvSpPr>
        <p:spPr>
          <a:xfrm>
            <a:off x="8427108" y="4380068"/>
            <a:ext cx="411972"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latin typeface="NeueHaasGroteskDisp Pro" panose="020B0504020202020204" pitchFamily="34" charset="0"/>
                <a:ea typeface="Consolas" charset="0"/>
                <a:cs typeface="Consolas" charset="0"/>
                <a:sym typeface="Helvetica Light"/>
              </a:rPr>
              <a:t>apple</a:t>
            </a:r>
            <a:br>
              <a:rPr lang="en-US" sz="1200" dirty="0">
                <a:latin typeface="NeueHaasGroteskDisp Pro" panose="020B0504020202020204" pitchFamily="34" charset="0"/>
                <a:ea typeface="Consolas" charset="0"/>
                <a:cs typeface="Consolas" charset="0"/>
                <a:sym typeface="Helvetica Light"/>
              </a:rPr>
            </a:br>
            <a:r>
              <a:rPr lang="en-US" sz="1200" dirty="0">
                <a:latin typeface="NeueHaasGroteskDisp Pro" panose="020B0504020202020204" pitchFamily="34" charset="0"/>
                <a:ea typeface="Consolas" charset="0"/>
                <a:cs typeface="Consolas" charset="0"/>
                <a:sym typeface="Helvetica Light"/>
              </a:rPr>
              <a:t>8</a:t>
            </a:r>
          </a:p>
        </p:txBody>
      </p:sp>
      <p:sp>
        <p:nvSpPr>
          <p:cNvPr id="17" name="TextBox 16">
            <a:extLst>
              <a:ext uri="{FF2B5EF4-FFF2-40B4-BE49-F238E27FC236}">
                <a16:creationId xmlns:a16="http://schemas.microsoft.com/office/drawing/2014/main" id="{8FAD65B8-8F14-2945-A1FE-5619269B122D}"/>
              </a:ext>
            </a:extLst>
          </p:cNvPr>
          <p:cNvSpPr txBox="1"/>
          <p:nvPr/>
        </p:nvSpPr>
        <p:spPr>
          <a:xfrm>
            <a:off x="10422844" y="3932090"/>
            <a:ext cx="381515"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latin typeface="NeueHaasGroteskDisp Pro" panose="020B0504020202020204" pitchFamily="34" charset="0"/>
                <a:ea typeface="Consolas" charset="0"/>
                <a:cs typeface="Consolas" charset="0"/>
                <a:sym typeface="Helvetica Light"/>
              </a:rPr>
              <a:t>none</a:t>
            </a:r>
            <a:br>
              <a:rPr lang="en-US" sz="1200" dirty="0">
                <a:latin typeface="NeueHaasGroteskDisp Pro" panose="020B0504020202020204" pitchFamily="34" charset="0"/>
                <a:ea typeface="Consolas" charset="0"/>
                <a:cs typeface="Consolas" charset="0"/>
                <a:sym typeface="Helvetica Light"/>
              </a:rPr>
            </a:br>
            <a:r>
              <a:rPr lang="en-US" sz="1200" dirty="0">
                <a:latin typeface="NeueHaasGroteskDisp Pro" panose="020B0504020202020204" pitchFamily="34" charset="0"/>
                <a:ea typeface="Consolas" charset="0"/>
                <a:cs typeface="Consolas" charset="0"/>
                <a:sym typeface="Helvetica Light"/>
              </a:rPr>
              <a:t>1</a:t>
            </a:r>
          </a:p>
        </p:txBody>
      </p:sp>
      <p:sp>
        <p:nvSpPr>
          <p:cNvPr id="18" name="TextBox 17">
            <a:extLst>
              <a:ext uri="{FF2B5EF4-FFF2-40B4-BE49-F238E27FC236}">
                <a16:creationId xmlns:a16="http://schemas.microsoft.com/office/drawing/2014/main" id="{2D44AB5A-8AF2-E24C-BEC1-42EF221F54C9}"/>
              </a:ext>
            </a:extLst>
          </p:cNvPr>
          <p:cNvSpPr txBox="1"/>
          <p:nvPr/>
        </p:nvSpPr>
        <p:spPr>
          <a:xfrm>
            <a:off x="10146095" y="3279791"/>
            <a:ext cx="609141"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solidFill>
                  <a:schemeClr val="bg1"/>
                </a:solidFill>
                <a:latin typeface="NeueHaasGroteskDisp Pro" panose="020B0504020202020204" pitchFamily="34" charset="0"/>
                <a:ea typeface="Consolas" charset="0"/>
                <a:cs typeface="Consolas" charset="0"/>
                <a:sym typeface="Helvetica Light"/>
              </a:rPr>
              <a:t>pumpkin</a:t>
            </a:r>
            <a:br>
              <a:rPr lang="en-US" sz="1200" dirty="0">
                <a:solidFill>
                  <a:schemeClr val="bg1"/>
                </a:solidFill>
                <a:latin typeface="NeueHaasGroteskDisp Pro" panose="020B0504020202020204" pitchFamily="34" charset="0"/>
                <a:ea typeface="Consolas" charset="0"/>
                <a:cs typeface="Consolas" charset="0"/>
                <a:sym typeface="Helvetica Light"/>
              </a:rPr>
            </a:br>
            <a:r>
              <a:rPr lang="en-US" sz="1200" dirty="0">
                <a:solidFill>
                  <a:schemeClr val="bg1"/>
                </a:solidFill>
                <a:latin typeface="NeueHaasGroteskDisp Pro" panose="020B0504020202020204" pitchFamily="34" charset="0"/>
                <a:ea typeface="Consolas" charset="0"/>
                <a:cs typeface="Consolas" charset="0"/>
                <a:sym typeface="Helvetica Light"/>
              </a:rPr>
              <a:t>1.5</a:t>
            </a:r>
          </a:p>
        </p:txBody>
      </p:sp>
      <p:sp>
        <p:nvSpPr>
          <p:cNvPr id="19" name="TextBox 18">
            <a:extLst>
              <a:ext uri="{FF2B5EF4-FFF2-40B4-BE49-F238E27FC236}">
                <a16:creationId xmlns:a16="http://schemas.microsoft.com/office/drawing/2014/main" id="{A34871E3-CEE0-4344-A873-E61AE2D11362}"/>
              </a:ext>
            </a:extLst>
          </p:cNvPr>
          <p:cNvSpPr txBox="1"/>
          <p:nvPr/>
        </p:nvSpPr>
        <p:spPr>
          <a:xfrm>
            <a:off x="7485680" y="816651"/>
            <a:ext cx="2937164" cy="359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r>
              <a:rPr lang="en-US" sz="2000" dirty="0">
                <a:solidFill>
                  <a:schemeClr val="bg1"/>
                </a:solidFill>
                <a:latin typeface="NeueHaasGroteskDisp Pro Md" panose="020B0604020202020204" pitchFamily="34" charset="0"/>
                <a:ea typeface="Helvetica" charset="-52"/>
                <a:cs typeface="Helvetica" charset="-52"/>
                <a:sym typeface="Helvetica Light"/>
              </a:rPr>
              <a:t>Pie Chart Title</a:t>
            </a:r>
          </a:p>
        </p:txBody>
      </p:sp>
    </p:spTree>
    <p:extLst>
      <p:ext uri="{BB962C8B-B14F-4D97-AF65-F5344CB8AC3E}">
        <p14:creationId xmlns:p14="http://schemas.microsoft.com/office/powerpoint/2010/main" val="31514088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p:txBody>
          <a:bodyPr>
            <a:noAutofit/>
          </a:bodyPr>
          <a:lstStyle/>
          <a:p>
            <a:r>
              <a:rPr lang="en-US" dirty="0"/>
              <a:t>The story in Numbers</a:t>
            </a:r>
            <a:endParaRPr lang="en-US" dirty="0">
              <a:latin typeface="NeueHaasGroteskDisp Pro Md" panose="020B0504020202020204" pitchFamily="34" charset="77"/>
            </a:endParaRPr>
          </a:p>
        </p:txBody>
      </p:sp>
      <p:sp>
        <p:nvSpPr>
          <p:cNvPr id="15" name="Rectangle 14">
            <a:extLst>
              <a:ext uri="{FF2B5EF4-FFF2-40B4-BE49-F238E27FC236}">
                <a16:creationId xmlns:a16="http://schemas.microsoft.com/office/drawing/2014/main" id="{2D5E9F68-0C4E-4D4C-B20A-D62B766E7DA0}"/>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9" name="Date Placeholder 3">
            <a:extLst>
              <a:ext uri="{FF2B5EF4-FFF2-40B4-BE49-F238E27FC236}">
                <a16:creationId xmlns:a16="http://schemas.microsoft.com/office/drawing/2014/main" id="{88EFAF7A-8AFF-A348-8411-EB797E4ACF35}"/>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tx2"/>
                </a:solidFill>
              </a:rPr>
              <a:t>XX/XX/XXXX</a:t>
            </a:r>
          </a:p>
        </p:txBody>
      </p:sp>
      <p:sp>
        <p:nvSpPr>
          <p:cNvPr id="10" name="Slide Number Placeholder 5">
            <a:extLst>
              <a:ext uri="{FF2B5EF4-FFF2-40B4-BE49-F238E27FC236}">
                <a16:creationId xmlns:a16="http://schemas.microsoft.com/office/drawing/2014/main" id="{F7B2ED2F-1604-9545-8A02-46660C47ABC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pPr/>
              <a:t>33</a:t>
            </a:fld>
            <a:endParaRPr lang="en-US" dirty="0"/>
          </a:p>
        </p:txBody>
      </p:sp>
      <p:sp>
        <p:nvSpPr>
          <p:cNvPr id="16" name="Footer Placeholder 4">
            <a:extLst>
              <a:ext uri="{FF2B5EF4-FFF2-40B4-BE49-F238E27FC236}">
                <a16:creationId xmlns:a16="http://schemas.microsoft.com/office/drawing/2014/main" id="{97D6E4B6-5566-5940-B43C-F92886AE55E2}"/>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pPr algn="l"/>
            <a:r>
              <a:rPr lang="en-US" dirty="0"/>
              <a:t>Presentation Title</a:t>
            </a:r>
          </a:p>
        </p:txBody>
      </p:sp>
      <p:grpSp>
        <p:nvGrpSpPr>
          <p:cNvPr id="13" name="Group 12">
            <a:extLst>
              <a:ext uri="{FF2B5EF4-FFF2-40B4-BE49-F238E27FC236}">
                <a16:creationId xmlns:a16="http://schemas.microsoft.com/office/drawing/2014/main" id="{3FAD54F7-65ED-864B-B5A1-E9FF3F380709}"/>
              </a:ext>
            </a:extLst>
          </p:cNvPr>
          <p:cNvGrpSpPr/>
          <p:nvPr/>
        </p:nvGrpSpPr>
        <p:grpSpPr>
          <a:xfrm>
            <a:off x="891709" y="2146040"/>
            <a:ext cx="3234124" cy="3234125"/>
            <a:chOff x="1783417" y="4292079"/>
            <a:chExt cx="6468248" cy="6468249"/>
          </a:xfrm>
        </p:grpSpPr>
        <p:sp>
          <p:nvSpPr>
            <p:cNvPr id="14" name="Shape 464">
              <a:extLst>
                <a:ext uri="{FF2B5EF4-FFF2-40B4-BE49-F238E27FC236}">
                  <a16:creationId xmlns:a16="http://schemas.microsoft.com/office/drawing/2014/main" id="{16D79FE4-E8A3-B743-AA61-194ECD320999}"/>
                </a:ext>
              </a:extLst>
            </p:cNvPr>
            <p:cNvSpPr/>
            <p:nvPr/>
          </p:nvSpPr>
          <p:spPr>
            <a:xfrm>
              <a:off x="1783417" y="4292079"/>
              <a:ext cx="6468248" cy="6468249"/>
            </a:xfrm>
            <a:prstGeom prst="ellipse">
              <a:avLst/>
            </a:prstGeom>
            <a:solidFill>
              <a:srgbClr val="FFFFFF"/>
            </a:solidFill>
            <a:ln w="38100" cap="flat">
              <a:solidFill>
                <a:schemeClr val="accent6"/>
              </a:solidFill>
              <a:custDash>
                <a:ds d="200000" sp="200000"/>
              </a:custDash>
              <a:miter lim="400000"/>
            </a:ln>
            <a:effectLst/>
            <a:extLst>
              <a:ext uri="{C572A759-6A51-4108-AA02-DFA0A04FC94B}">
                <ma14:wrappingTextBoxFlag xmlns="" xmlns:ma14="http://schemas.microsoft.com/office/mac/drawingml/2011/main" val="1"/>
              </a:ext>
            </a:extLst>
          </p:spPr>
          <p:txBody>
            <a:bodyPr wrap="square" lIns="25400" tIns="25400" rIns="25400" bIns="25400" numCol="1" anchor="ctr">
              <a:noAutofit/>
            </a:bodyPr>
            <a:lstStyle/>
            <a:p>
              <a:pPr marL="235744" marR="508007">
                <a:lnSpc>
                  <a:spcPts val="3800"/>
                </a:lnSpc>
                <a:defRPr sz="6600" b="0">
                  <a:solidFill>
                    <a:srgbClr val="00D800"/>
                  </a:solidFill>
                  <a:latin typeface="Neue Haas Grotesk Display Std 95 Black"/>
                  <a:ea typeface="Neue Haas Grotesk Display Std 95 Black"/>
                  <a:cs typeface="Neue Haas Grotesk Display Std 95 Black"/>
                  <a:sym typeface="Neue Haas Grotesk Display Std 95 Black"/>
                </a:defRPr>
              </a:pPr>
              <a:endParaRPr sz="800" dirty="0">
                <a:latin typeface="NeueHaasGroteskDisp Pro" panose="020B0504020202020204" pitchFamily="34" charset="77"/>
                <a:ea typeface="Helvetica" charset="-52"/>
                <a:cs typeface="Helvetica" charset="-52"/>
              </a:endParaRPr>
            </a:p>
          </p:txBody>
        </p:sp>
        <p:sp>
          <p:nvSpPr>
            <p:cNvPr id="17" name="Rectangle 16">
              <a:extLst>
                <a:ext uri="{FF2B5EF4-FFF2-40B4-BE49-F238E27FC236}">
                  <a16:creationId xmlns:a16="http://schemas.microsoft.com/office/drawing/2014/main" id="{88297E25-993D-2A49-9757-57D2035FC849}"/>
                </a:ext>
              </a:extLst>
            </p:cNvPr>
            <p:cNvSpPr/>
            <p:nvPr/>
          </p:nvSpPr>
          <p:spPr>
            <a:xfrm>
              <a:off x="3164357" y="5202491"/>
              <a:ext cx="3706368" cy="4647425"/>
            </a:xfrm>
            <a:prstGeom prst="rect">
              <a:avLst/>
            </a:prstGeom>
            <a:ln>
              <a:noFill/>
            </a:ln>
          </p:spPr>
          <p:txBody>
            <a:bodyPr wrap="square" anchor="ctr">
              <a:spAutoFit/>
            </a:bodyPr>
            <a:lstStyle/>
            <a:p>
              <a:pPr marR="4400">
                <a:lnSpc>
                  <a:spcPts val="4000"/>
                </a:lnSpc>
              </a:pPr>
              <a:r>
                <a:rPr lang="en-US" sz="3300" dirty="0">
                  <a:solidFill>
                    <a:srgbClr val="412181"/>
                  </a:solidFill>
                  <a:latin typeface="NeueHaasGroteskDisp Pro Md" panose="020B0604020202020204" pitchFamily="34" charset="0"/>
                  <a:ea typeface="Helvetica" charset="0"/>
                  <a:cs typeface="Helvetica" charset="0"/>
                </a:rPr>
                <a:t>XX%</a:t>
              </a:r>
            </a:p>
            <a:p>
              <a:pPr marR="4400">
                <a:lnSpc>
                  <a:spcPts val="3000"/>
                </a:lnSpc>
              </a:pPr>
              <a:r>
                <a:rPr lang="en-US" sz="2700" baseline="30000" dirty="0" err="1">
                  <a:latin typeface="NeueHaasGroteskDisp Pro" panose="020B0504020202020204" pitchFamily="34" charset="0"/>
                  <a:ea typeface="Helvetica" charset="0"/>
                  <a:cs typeface="Helvetica" charset="0"/>
                </a:rPr>
                <a:t>Sed</a:t>
              </a:r>
              <a:r>
                <a:rPr lang="en-US" sz="2700" baseline="30000" dirty="0">
                  <a:latin typeface="NeueHaasGroteskDisp Pro" panose="020B0504020202020204" pitchFamily="34" charset="0"/>
                  <a:ea typeface="Helvetica" charset="0"/>
                  <a:cs typeface="Helvetica" charset="0"/>
                </a:rPr>
                <a:t> </a:t>
              </a:r>
              <a:r>
                <a:rPr lang="en-US" sz="2700" baseline="30000" dirty="0" err="1">
                  <a:latin typeface="NeueHaasGroteskDisp Pro" panose="020B0504020202020204" pitchFamily="34" charset="0"/>
                  <a:ea typeface="Helvetica" charset="0"/>
                  <a:cs typeface="Helvetica" charset="0"/>
                </a:rPr>
                <a:t>icies</a:t>
              </a:r>
              <a:r>
                <a:rPr lang="en-US" sz="2700" baseline="30000" dirty="0">
                  <a:latin typeface="NeueHaasGroteskDisp Pro" panose="020B0504020202020204" pitchFamily="34" charset="0"/>
                  <a:ea typeface="Helvetica" charset="0"/>
                  <a:cs typeface="Helvetica" charset="0"/>
                </a:rPr>
                <a:t> lacus </a:t>
              </a:r>
              <a:r>
                <a:rPr lang="en-US" sz="2700" baseline="30000" dirty="0" err="1">
                  <a:latin typeface="NeueHaasGroteskDisp Pro" panose="020B0504020202020204" pitchFamily="34" charset="0"/>
                  <a:ea typeface="Helvetica" charset="0"/>
                  <a:cs typeface="Helvetica" charset="0"/>
                </a:rPr>
                <a:t>enim</a:t>
              </a:r>
              <a:r>
                <a:rPr lang="en-US" sz="2700" baseline="30000" dirty="0">
                  <a:latin typeface="NeueHaasGroteskDisp Pro" panose="020B0504020202020204" pitchFamily="34" charset="0"/>
                  <a:ea typeface="Helvetica" charset="0"/>
                  <a:cs typeface="Helvetica" charset="0"/>
                </a:rPr>
                <a:t> sit </a:t>
              </a:r>
              <a:r>
                <a:rPr lang="en-US" sz="2700" baseline="30000" dirty="0" err="1">
                  <a:latin typeface="NeueHaasGroteskDisp Pro" panose="020B0504020202020204" pitchFamily="34" charset="0"/>
                  <a:ea typeface="Helvetica" charset="0"/>
                  <a:cs typeface="Helvetica" charset="0"/>
                </a:rPr>
                <a:t>amet</a:t>
              </a:r>
              <a:r>
                <a:rPr lang="en-US" sz="2700" baseline="30000" dirty="0">
                  <a:latin typeface="NeueHaasGroteskDisp Pro" panose="020B0504020202020204" pitchFamily="34" charset="0"/>
                  <a:ea typeface="Helvetica" charset="0"/>
                  <a:cs typeface="Helvetica" charset="0"/>
                </a:rPr>
                <a:t> </a:t>
              </a:r>
              <a:r>
                <a:rPr lang="en-US" sz="2700" baseline="30000" dirty="0" err="1">
                  <a:latin typeface="NeueHaasGroteskDisp Pro" panose="020B0504020202020204" pitchFamily="34" charset="0"/>
                  <a:ea typeface="Helvetica" charset="0"/>
                  <a:cs typeface="Helvetica" charset="0"/>
                </a:rPr>
                <a:t>ultricies</a:t>
              </a:r>
              <a:r>
                <a:rPr lang="en-US" sz="2700" baseline="30000" dirty="0">
                  <a:latin typeface="NeueHaasGroteskDisp Pro" panose="020B0504020202020204" pitchFamily="34" charset="0"/>
                  <a:ea typeface="Helvetica" charset="0"/>
                  <a:cs typeface="Helvetica" charset="0"/>
                </a:rPr>
                <a:t> </a:t>
              </a:r>
              <a:r>
                <a:rPr lang="en-US" sz="2700" baseline="30000" dirty="0" err="1">
                  <a:latin typeface="NeueHaasGroteskDisp Pro" panose="020B0504020202020204" pitchFamily="34" charset="0"/>
                  <a:ea typeface="Helvetica" charset="0"/>
                  <a:cs typeface="Helvetica" charset="0"/>
                </a:rPr>
                <a:t>leo</a:t>
              </a:r>
              <a:r>
                <a:rPr lang="en-US" sz="2700" baseline="30000" dirty="0">
                  <a:latin typeface="NeueHaasGroteskDisp Pro" panose="020B0504020202020204" pitchFamily="34" charset="0"/>
                  <a:ea typeface="Helvetica" charset="0"/>
                  <a:cs typeface="Helvetica" charset="0"/>
                </a:rPr>
                <a:t> porta </a:t>
              </a:r>
              <a:r>
                <a:rPr lang="en-US" sz="2700" baseline="30000" dirty="0" err="1">
                  <a:latin typeface="NeueHaasGroteskDisp Pro" panose="020B0504020202020204" pitchFamily="34" charset="0"/>
                  <a:ea typeface="Helvetica" charset="0"/>
                  <a:cs typeface="Helvetica" charset="0"/>
                </a:rPr>
                <a:t>nibh</a:t>
              </a:r>
              <a:r>
                <a:rPr lang="en-US" sz="2700" baseline="30000" dirty="0">
                  <a:latin typeface="NeueHaasGroteskDisp Pro" panose="020B0504020202020204" pitchFamily="34" charset="0"/>
                  <a:ea typeface="Helvetica" charset="0"/>
                  <a:cs typeface="Helvetica" charset="0"/>
                </a:rPr>
                <a:t> et </a:t>
              </a:r>
              <a:r>
                <a:rPr lang="en-US" sz="2700" baseline="30000" dirty="0" err="1">
                  <a:latin typeface="NeueHaasGroteskDisp Pro" panose="020B0504020202020204" pitchFamily="34" charset="0"/>
                  <a:ea typeface="Helvetica" charset="0"/>
                  <a:cs typeface="Helvetica" charset="0"/>
                </a:rPr>
                <a:t>quis</a:t>
              </a:r>
              <a:r>
                <a:rPr lang="en-US" sz="2700" baseline="30000" dirty="0">
                  <a:latin typeface="NeueHaasGroteskDisp Pro" panose="020B0504020202020204" pitchFamily="34" charset="0"/>
                  <a:ea typeface="Helvetica" charset="0"/>
                  <a:cs typeface="Helvetica" charset="0"/>
                </a:rPr>
                <a:t>.</a:t>
              </a:r>
            </a:p>
            <a:p>
              <a:pPr marR="4400">
                <a:lnSpc>
                  <a:spcPts val="1400"/>
                </a:lnSpc>
              </a:pPr>
              <a:r>
                <a:rPr lang="en-US" sz="1400" baseline="30000" dirty="0">
                  <a:latin typeface="NeueHaasGroteskDisp Pro" panose="020B0504020202020204" pitchFamily="34" charset="0"/>
                  <a:ea typeface="Helvetica Regular" charset="0"/>
                  <a:cs typeface="Helvetica Regular" charset="0"/>
                </a:rPr>
                <a:t>Nielsen</a:t>
              </a:r>
              <a:endParaRPr lang="en-US" sz="900" dirty="0">
                <a:latin typeface="NeueHaasGroteskDisp Pro" panose="020B0504020202020204" pitchFamily="34" charset="0"/>
                <a:ea typeface="Helvetica Regular" charset="0"/>
                <a:cs typeface="Helvetica Regular" charset="0"/>
              </a:endParaRPr>
            </a:p>
          </p:txBody>
        </p:sp>
      </p:grpSp>
      <p:grpSp>
        <p:nvGrpSpPr>
          <p:cNvPr id="18" name="Group 17">
            <a:extLst>
              <a:ext uri="{FF2B5EF4-FFF2-40B4-BE49-F238E27FC236}">
                <a16:creationId xmlns:a16="http://schemas.microsoft.com/office/drawing/2014/main" id="{9A073A76-8EDB-8246-8D9F-584DC09E01F7}"/>
              </a:ext>
            </a:extLst>
          </p:cNvPr>
          <p:cNvGrpSpPr/>
          <p:nvPr/>
        </p:nvGrpSpPr>
        <p:grpSpPr>
          <a:xfrm>
            <a:off x="4478939" y="2146040"/>
            <a:ext cx="3234124" cy="3234125"/>
            <a:chOff x="1783417" y="4292079"/>
            <a:chExt cx="6468248" cy="6468249"/>
          </a:xfrm>
        </p:grpSpPr>
        <p:sp>
          <p:nvSpPr>
            <p:cNvPr id="19" name="Shape 464">
              <a:extLst>
                <a:ext uri="{FF2B5EF4-FFF2-40B4-BE49-F238E27FC236}">
                  <a16:creationId xmlns:a16="http://schemas.microsoft.com/office/drawing/2014/main" id="{93B938D8-1AF1-9F42-9870-FE841B578CF5}"/>
                </a:ext>
              </a:extLst>
            </p:cNvPr>
            <p:cNvSpPr/>
            <p:nvPr/>
          </p:nvSpPr>
          <p:spPr>
            <a:xfrm>
              <a:off x="1783417" y="4292079"/>
              <a:ext cx="6468248" cy="6468249"/>
            </a:xfrm>
            <a:prstGeom prst="ellipse">
              <a:avLst/>
            </a:prstGeom>
            <a:solidFill>
              <a:srgbClr val="FFFFFF"/>
            </a:solidFill>
            <a:ln w="38100" cap="flat">
              <a:solidFill>
                <a:schemeClr val="accent6"/>
              </a:solidFill>
              <a:custDash>
                <a:ds d="200000" sp="200000"/>
              </a:custDash>
              <a:miter lim="400000"/>
            </a:ln>
            <a:effectLst/>
            <a:extLst>
              <a:ext uri="{C572A759-6A51-4108-AA02-DFA0A04FC94B}">
                <ma14:wrappingTextBoxFlag xmlns="" xmlns:ma14="http://schemas.microsoft.com/office/mac/drawingml/2011/main" val="1"/>
              </a:ext>
            </a:extLst>
          </p:spPr>
          <p:txBody>
            <a:bodyPr wrap="square" lIns="25400" tIns="25400" rIns="25400" bIns="25400" numCol="1" anchor="ctr">
              <a:noAutofit/>
            </a:bodyPr>
            <a:lstStyle/>
            <a:p>
              <a:pPr marL="235744" marR="508007">
                <a:lnSpc>
                  <a:spcPts val="3800"/>
                </a:lnSpc>
                <a:defRPr sz="6600" b="0">
                  <a:solidFill>
                    <a:srgbClr val="00D800"/>
                  </a:solidFill>
                  <a:latin typeface="Neue Haas Grotesk Display Std 95 Black"/>
                  <a:ea typeface="Neue Haas Grotesk Display Std 95 Black"/>
                  <a:cs typeface="Neue Haas Grotesk Display Std 95 Black"/>
                  <a:sym typeface="Neue Haas Grotesk Display Std 95 Black"/>
                </a:defRPr>
              </a:pPr>
              <a:endParaRPr sz="800" dirty="0">
                <a:latin typeface="NeueHaasGroteskDisp Pro" panose="020B0504020202020204" pitchFamily="34" charset="77"/>
                <a:ea typeface="Helvetica" charset="-52"/>
                <a:cs typeface="Helvetica" charset="-52"/>
              </a:endParaRPr>
            </a:p>
          </p:txBody>
        </p:sp>
        <p:sp>
          <p:nvSpPr>
            <p:cNvPr id="20" name="Rectangle 19">
              <a:extLst>
                <a:ext uri="{FF2B5EF4-FFF2-40B4-BE49-F238E27FC236}">
                  <a16:creationId xmlns:a16="http://schemas.microsoft.com/office/drawing/2014/main" id="{40F3C9B2-6D88-AD4C-AF6A-38C815B6254D}"/>
                </a:ext>
              </a:extLst>
            </p:cNvPr>
            <p:cNvSpPr/>
            <p:nvPr/>
          </p:nvSpPr>
          <p:spPr>
            <a:xfrm>
              <a:off x="3164357" y="5202491"/>
              <a:ext cx="3706368" cy="4647425"/>
            </a:xfrm>
            <a:prstGeom prst="rect">
              <a:avLst/>
            </a:prstGeom>
            <a:ln>
              <a:noFill/>
            </a:ln>
          </p:spPr>
          <p:txBody>
            <a:bodyPr wrap="square" anchor="ctr">
              <a:spAutoFit/>
            </a:bodyPr>
            <a:lstStyle/>
            <a:p>
              <a:pPr marR="4400">
                <a:lnSpc>
                  <a:spcPts val="4000"/>
                </a:lnSpc>
              </a:pPr>
              <a:r>
                <a:rPr lang="en-US" sz="3300" dirty="0">
                  <a:solidFill>
                    <a:srgbClr val="412181"/>
                  </a:solidFill>
                  <a:latin typeface="NeueHaasGroteskDisp Pro Md" panose="020B0604020202020204" pitchFamily="34" charset="0"/>
                  <a:ea typeface="Helvetica" charset="0"/>
                  <a:cs typeface="Helvetica" charset="0"/>
                </a:rPr>
                <a:t>XX%</a:t>
              </a:r>
            </a:p>
            <a:p>
              <a:pPr marR="4400">
                <a:lnSpc>
                  <a:spcPts val="3000"/>
                </a:lnSpc>
              </a:pPr>
              <a:r>
                <a:rPr lang="en-US" sz="2700" baseline="30000" dirty="0">
                  <a:latin typeface="NeueHaasGroteskDisp Pro" panose="020B0504020202020204" pitchFamily="34" charset="0"/>
                  <a:ea typeface="Helvetica" charset="0"/>
                  <a:cs typeface="Helvetica" charset="0"/>
                </a:rPr>
                <a:t>Sed </a:t>
              </a:r>
              <a:r>
                <a:rPr lang="en-US" sz="2700" baseline="30000" dirty="0" err="1">
                  <a:latin typeface="NeueHaasGroteskDisp Pro" panose="020B0504020202020204" pitchFamily="34" charset="0"/>
                  <a:ea typeface="Helvetica" charset="0"/>
                  <a:cs typeface="Helvetica" charset="0"/>
                </a:rPr>
                <a:t>icies</a:t>
              </a:r>
              <a:r>
                <a:rPr lang="en-US" sz="2700" baseline="30000" dirty="0">
                  <a:latin typeface="NeueHaasGroteskDisp Pro" panose="020B0504020202020204" pitchFamily="34" charset="0"/>
                  <a:ea typeface="Helvetica" charset="0"/>
                  <a:cs typeface="Helvetica" charset="0"/>
                </a:rPr>
                <a:t> lacus </a:t>
              </a:r>
              <a:r>
                <a:rPr lang="en-US" sz="2700" baseline="30000" dirty="0" err="1">
                  <a:latin typeface="NeueHaasGroteskDisp Pro" panose="020B0504020202020204" pitchFamily="34" charset="0"/>
                  <a:ea typeface="Helvetica" charset="0"/>
                  <a:cs typeface="Helvetica" charset="0"/>
                </a:rPr>
                <a:t>enim</a:t>
              </a:r>
              <a:r>
                <a:rPr lang="en-US" sz="2700" baseline="30000" dirty="0">
                  <a:latin typeface="NeueHaasGroteskDisp Pro" panose="020B0504020202020204" pitchFamily="34" charset="0"/>
                  <a:ea typeface="Helvetica" charset="0"/>
                  <a:cs typeface="Helvetica" charset="0"/>
                </a:rPr>
                <a:t> sit </a:t>
              </a:r>
              <a:r>
                <a:rPr lang="en-US" sz="2700" baseline="30000" dirty="0" err="1">
                  <a:latin typeface="NeueHaasGroteskDisp Pro" panose="020B0504020202020204" pitchFamily="34" charset="0"/>
                  <a:ea typeface="Helvetica" charset="0"/>
                  <a:cs typeface="Helvetica" charset="0"/>
                </a:rPr>
                <a:t>amet</a:t>
              </a:r>
              <a:r>
                <a:rPr lang="en-US" sz="2700" baseline="30000" dirty="0">
                  <a:latin typeface="NeueHaasGroteskDisp Pro" panose="020B0504020202020204" pitchFamily="34" charset="0"/>
                  <a:ea typeface="Helvetica" charset="0"/>
                  <a:cs typeface="Helvetica" charset="0"/>
                </a:rPr>
                <a:t> </a:t>
              </a:r>
              <a:r>
                <a:rPr lang="en-US" sz="2700" baseline="30000" dirty="0" err="1">
                  <a:latin typeface="NeueHaasGroteskDisp Pro" panose="020B0504020202020204" pitchFamily="34" charset="0"/>
                  <a:ea typeface="Helvetica" charset="0"/>
                  <a:cs typeface="Helvetica" charset="0"/>
                </a:rPr>
                <a:t>ultricies</a:t>
              </a:r>
              <a:r>
                <a:rPr lang="en-US" sz="2700" baseline="30000" dirty="0">
                  <a:latin typeface="NeueHaasGroteskDisp Pro" panose="020B0504020202020204" pitchFamily="34" charset="0"/>
                  <a:ea typeface="Helvetica" charset="0"/>
                  <a:cs typeface="Helvetica" charset="0"/>
                </a:rPr>
                <a:t> </a:t>
              </a:r>
              <a:r>
                <a:rPr lang="en-US" sz="2700" baseline="30000" dirty="0" err="1">
                  <a:latin typeface="NeueHaasGroteskDisp Pro" panose="020B0504020202020204" pitchFamily="34" charset="0"/>
                  <a:ea typeface="Helvetica" charset="0"/>
                  <a:cs typeface="Helvetica" charset="0"/>
                </a:rPr>
                <a:t>leo</a:t>
              </a:r>
              <a:r>
                <a:rPr lang="en-US" sz="2700" baseline="30000" dirty="0">
                  <a:latin typeface="NeueHaasGroteskDisp Pro" panose="020B0504020202020204" pitchFamily="34" charset="0"/>
                  <a:ea typeface="Helvetica" charset="0"/>
                  <a:cs typeface="Helvetica" charset="0"/>
                </a:rPr>
                <a:t> porta </a:t>
              </a:r>
              <a:r>
                <a:rPr lang="en-US" sz="2700" baseline="30000" dirty="0" err="1">
                  <a:latin typeface="NeueHaasGroteskDisp Pro" panose="020B0504020202020204" pitchFamily="34" charset="0"/>
                  <a:ea typeface="Helvetica" charset="0"/>
                  <a:cs typeface="Helvetica" charset="0"/>
                </a:rPr>
                <a:t>nibh</a:t>
              </a:r>
              <a:r>
                <a:rPr lang="en-US" sz="2700" baseline="30000" dirty="0">
                  <a:latin typeface="NeueHaasGroteskDisp Pro" panose="020B0504020202020204" pitchFamily="34" charset="0"/>
                  <a:ea typeface="Helvetica" charset="0"/>
                  <a:cs typeface="Helvetica" charset="0"/>
                </a:rPr>
                <a:t> et </a:t>
              </a:r>
              <a:r>
                <a:rPr lang="en-US" sz="2700" baseline="30000" dirty="0" err="1">
                  <a:latin typeface="NeueHaasGroteskDisp Pro" panose="020B0504020202020204" pitchFamily="34" charset="0"/>
                  <a:ea typeface="Helvetica" charset="0"/>
                  <a:cs typeface="Helvetica" charset="0"/>
                </a:rPr>
                <a:t>quis</a:t>
              </a:r>
              <a:r>
                <a:rPr lang="en-US" sz="2700" baseline="30000" dirty="0">
                  <a:latin typeface="NeueHaasGroteskDisp Pro" panose="020B0504020202020204" pitchFamily="34" charset="0"/>
                  <a:ea typeface="Helvetica" charset="0"/>
                  <a:cs typeface="Helvetica" charset="0"/>
                </a:rPr>
                <a:t>.</a:t>
              </a:r>
            </a:p>
            <a:p>
              <a:pPr marR="4400">
                <a:lnSpc>
                  <a:spcPts val="1400"/>
                </a:lnSpc>
              </a:pPr>
              <a:r>
                <a:rPr lang="en-US" sz="1400" baseline="30000" dirty="0">
                  <a:latin typeface="NeueHaasGroteskDisp Pro" panose="020B0504020202020204" pitchFamily="34" charset="0"/>
                  <a:ea typeface="Helvetica Regular" charset="0"/>
                  <a:cs typeface="Helvetica Regular" charset="0"/>
                </a:rPr>
                <a:t>Nielsen</a:t>
              </a:r>
              <a:endParaRPr lang="en-US" sz="900" dirty="0">
                <a:latin typeface="NeueHaasGroteskDisp Pro" panose="020B0504020202020204" pitchFamily="34" charset="0"/>
                <a:ea typeface="Helvetica Regular" charset="0"/>
                <a:cs typeface="Helvetica Regular" charset="0"/>
              </a:endParaRPr>
            </a:p>
          </p:txBody>
        </p:sp>
      </p:grpSp>
      <p:grpSp>
        <p:nvGrpSpPr>
          <p:cNvPr id="21" name="Group 20">
            <a:extLst>
              <a:ext uri="{FF2B5EF4-FFF2-40B4-BE49-F238E27FC236}">
                <a16:creationId xmlns:a16="http://schemas.microsoft.com/office/drawing/2014/main" id="{A21043A0-A21A-E749-9D4B-CCE08B9B3CA6}"/>
              </a:ext>
            </a:extLst>
          </p:cNvPr>
          <p:cNvGrpSpPr/>
          <p:nvPr/>
        </p:nvGrpSpPr>
        <p:grpSpPr>
          <a:xfrm>
            <a:off x="8066171" y="2146039"/>
            <a:ext cx="3234124" cy="3234125"/>
            <a:chOff x="1783417" y="4292079"/>
            <a:chExt cx="6468248" cy="6468249"/>
          </a:xfrm>
        </p:grpSpPr>
        <p:sp>
          <p:nvSpPr>
            <p:cNvPr id="22" name="Shape 464">
              <a:extLst>
                <a:ext uri="{FF2B5EF4-FFF2-40B4-BE49-F238E27FC236}">
                  <a16:creationId xmlns:a16="http://schemas.microsoft.com/office/drawing/2014/main" id="{E85F325E-2004-FE49-A0F9-EBBDE1B0EBF8}"/>
                </a:ext>
              </a:extLst>
            </p:cNvPr>
            <p:cNvSpPr/>
            <p:nvPr/>
          </p:nvSpPr>
          <p:spPr>
            <a:xfrm>
              <a:off x="1783417" y="4292079"/>
              <a:ext cx="6468248" cy="6468249"/>
            </a:xfrm>
            <a:prstGeom prst="ellipse">
              <a:avLst/>
            </a:prstGeom>
            <a:solidFill>
              <a:srgbClr val="FFFFFF"/>
            </a:solidFill>
            <a:ln w="38100" cap="flat">
              <a:solidFill>
                <a:schemeClr val="accent6"/>
              </a:solidFill>
              <a:custDash>
                <a:ds d="200000" sp="200000"/>
              </a:custDash>
              <a:miter lim="400000"/>
            </a:ln>
            <a:effectLst/>
            <a:extLst>
              <a:ext uri="{C572A759-6A51-4108-AA02-DFA0A04FC94B}">
                <ma14:wrappingTextBoxFlag xmlns="" xmlns:ma14="http://schemas.microsoft.com/office/mac/drawingml/2011/main" val="1"/>
              </a:ext>
            </a:extLst>
          </p:spPr>
          <p:txBody>
            <a:bodyPr wrap="square" lIns="25400" tIns="25400" rIns="25400" bIns="25400" numCol="1" anchor="ctr">
              <a:noAutofit/>
            </a:bodyPr>
            <a:lstStyle/>
            <a:p>
              <a:pPr marL="235744" marR="508007">
                <a:lnSpc>
                  <a:spcPts val="3800"/>
                </a:lnSpc>
                <a:defRPr sz="6600" b="0">
                  <a:solidFill>
                    <a:srgbClr val="00D800"/>
                  </a:solidFill>
                  <a:latin typeface="Neue Haas Grotesk Display Std 95 Black"/>
                  <a:ea typeface="Neue Haas Grotesk Display Std 95 Black"/>
                  <a:cs typeface="Neue Haas Grotesk Display Std 95 Black"/>
                  <a:sym typeface="Neue Haas Grotesk Display Std 95 Black"/>
                </a:defRPr>
              </a:pPr>
              <a:endParaRPr sz="800" dirty="0">
                <a:latin typeface="NeueHaasGroteskDisp Pro" panose="020B0504020202020204" pitchFamily="34" charset="77"/>
                <a:ea typeface="Helvetica" charset="-52"/>
                <a:cs typeface="Helvetica" charset="-52"/>
              </a:endParaRPr>
            </a:p>
          </p:txBody>
        </p:sp>
        <p:sp>
          <p:nvSpPr>
            <p:cNvPr id="23" name="Rectangle 22">
              <a:extLst>
                <a:ext uri="{FF2B5EF4-FFF2-40B4-BE49-F238E27FC236}">
                  <a16:creationId xmlns:a16="http://schemas.microsoft.com/office/drawing/2014/main" id="{0E784ABC-1B5C-5346-8A18-AB9D8128F890}"/>
                </a:ext>
              </a:extLst>
            </p:cNvPr>
            <p:cNvSpPr/>
            <p:nvPr/>
          </p:nvSpPr>
          <p:spPr>
            <a:xfrm>
              <a:off x="3164357" y="5202491"/>
              <a:ext cx="3706368" cy="4647425"/>
            </a:xfrm>
            <a:prstGeom prst="rect">
              <a:avLst/>
            </a:prstGeom>
            <a:ln>
              <a:noFill/>
            </a:ln>
          </p:spPr>
          <p:txBody>
            <a:bodyPr wrap="square" anchor="ctr">
              <a:spAutoFit/>
            </a:bodyPr>
            <a:lstStyle/>
            <a:p>
              <a:pPr marR="4400">
                <a:lnSpc>
                  <a:spcPts val="4000"/>
                </a:lnSpc>
              </a:pPr>
              <a:r>
                <a:rPr lang="en-US" sz="3300" dirty="0">
                  <a:solidFill>
                    <a:srgbClr val="412181"/>
                  </a:solidFill>
                  <a:latin typeface="NeueHaasGroteskDisp Pro Md" panose="020B0604020202020204" pitchFamily="34" charset="0"/>
                  <a:ea typeface="Helvetica" charset="0"/>
                  <a:cs typeface="Helvetica" charset="0"/>
                </a:rPr>
                <a:t>XX%</a:t>
              </a:r>
            </a:p>
            <a:p>
              <a:pPr marR="4400">
                <a:lnSpc>
                  <a:spcPts val="3000"/>
                </a:lnSpc>
              </a:pPr>
              <a:r>
                <a:rPr lang="en-US" sz="2700" baseline="30000" dirty="0" err="1">
                  <a:latin typeface="NeueHaasGroteskDisp Pro" panose="020B0504020202020204" pitchFamily="34" charset="0"/>
                  <a:ea typeface="Helvetica" charset="0"/>
                  <a:cs typeface="Helvetica" charset="0"/>
                </a:rPr>
                <a:t>Sed</a:t>
              </a:r>
              <a:r>
                <a:rPr lang="en-US" sz="2700" baseline="30000" dirty="0">
                  <a:latin typeface="NeueHaasGroteskDisp Pro" panose="020B0504020202020204" pitchFamily="34" charset="0"/>
                  <a:ea typeface="Helvetica" charset="0"/>
                  <a:cs typeface="Helvetica" charset="0"/>
                </a:rPr>
                <a:t> </a:t>
              </a:r>
              <a:r>
                <a:rPr lang="en-US" sz="2700" baseline="30000" dirty="0" err="1">
                  <a:latin typeface="NeueHaasGroteskDisp Pro" panose="020B0504020202020204" pitchFamily="34" charset="0"/>
                  <a:ea typeface="Helvetica" charset="0"/>
                  <a:cs typeface="Helvetica" charset="0"/>
                </a:rPr>
                <a:t>icies</a:t>
              </a:r>
              <a:r>
                <a:rPr lang="en-US" sz="2700" baseline="30000" dirty="0">
                  <a:latin typeface="NeueHaasGroteskDisp Pro" panose="020B0504020202020204" pitchFamily="34" charset="0"/>
                  <a:ea typeface="Helvetica" charset="0"/>
                  <a:cs typeface="Helvetica" charset="0"/>
                </a:rPr>
                <a:t> lacus </a:t>
              </a:r>
              <a:r>
                <a:rPr lang="en-US" sz="2700" baseline="30000" dirty="0" err="1">
                  <a:latin typeface="NeueHaasGroteskDisp Pro" panose="020B0504020202020204" pitchFamily="34" charset="0"/>
                  <a:ea typeface="Helvetica" charset="0"/>
                  <a:cs typeface="Helvetica" charset="0"/>
                </a:rPr>
                <a:t>enim</a:t>
              </a:r>
              <a:r>
                <a:rPr lang="en-US" sz="2700" baseline="30000" dirty="0">
                  <a:latin typeface="NeueHaasGroteskDisp Pro" panose="020B0504020202020204" pitchFamily="34" charset="0"/>
                  <a:ea typeface="Helvetica" charset="0"/>
                  <a:cs typeface="Helvetica" charset="0"/>
                </a:rPr>
                <a:t> sit </a:t>
              </a:r>
              <a:r>
                <a:rPr lang="en-US" sz="2700" baseline="30000" dirty="0" err="1">
                  <a:latin typeface="NeueHaasGroteskDisp Pro" panose="020B0504020202020204" pitchFamily="34" charset="0"/>
                  <a:ea typeface="Helvetica" charset="0"/>
                  <a:cs typeface="Helvetica" charset="0"/>
                </a:rPr>
                <a:t>amet</a:t>
              </a:r>
              <a:r>
                <a:rPr lang="en-US" sz="2700" baseline="30000" dirty="0">
                  <a:latin typeface="NeueHaasGroteskDisp Pro" panose="020B0504020202020204" pitchFamily="34" charset="0"/>
                  <a:ea typeface="Helvetica" charset="0"/>
                  <a:cs typeface="Helvetica" charset="0"/>
                </a:rPr>
                <a:t> </a:t>
              </a:r>
              <a:r>
                <a:rPr lang="en-US" sz="2700" baseline="30000" dirty="0" err="1">
                  <a:latin typeface="NeueHaasGroteskDisp Pro" panose="020B0504020202020204" pitchFamily="34" charset="0"/>
                  <a:ea typeface="Helvetica" charset="0"/>
                  <a:cs typeface="Helvetica" charset="0"/>
                </a:rPr>
                <a:t>ultricies</a:t>
              </a:r>
              <a:r>
                <a:rPr lang="en-US" sz="2700" baseline="30000" dirty="0">
                  <a:latin typeface="NeueHaasGroteskDisp Pro" panose="020B0504020202020204" pitchFamily="34" charset="0"/>
                  <a:ea typeface="Helvetica" charset="0"/>
                  <a:cs typeface="Helvetica" charset="0"/>
                </a:rPr>
                <a:t> </a:t>
              </a:r>
              <a:r>
                <a:rPr lang="en-US" sz="2700" baseline="30000" dirty="0" err="1">
                  <a:latin typeface="NeueHaasGroteskDisp Pro" panose="020B0504020202020204" pitchFamily="34" charset="0"/>
                  <a:ea typeface="Helvetica" charset="0"/>
                  <a:cs typeface="Helvetica" charset="0"/>
                </a:rPr>
                <a:t>leo</a:t>
              </a:r>
              <a:r>
                <a:rPr lang="en-US" sz="2700" baseline="30000" dirty="0">
                  <a:latin typeface="NeueHaasGroteskDisp Pro" panose="020B0504020202020204" pitchFamily="34" charset="0"/>
                  <a:ea typeface="Helvetica" charset="0"/>
                  <a:cs typeface="Helvetica" charset="0"/>
                </a:rPr>
                <a:t> porta </a:t>
              </a:r>
              <a:r>
                <a:rPr lang="en-US" sz="2700" baseline="30000" dirty="0" err="1">
                  <a:latin typeface="NeueHaasGroteskDisp Pro" panose="020B0504020202020204" pitchFamily="34" charset="0"/>
                  <a:ea typeface="Helvetica" charset="0"/>
                  <a:cs typeface="Helvetica" charset="0"/>
                </a:rPr>
                <a:t>nibh</a:t>
              </a:r>
              <a:r>
                <a:rPr lang="en-US" sz="2700" baseline="30000" dirty="0">
                  <a:latin typeface="NeueHaasGroteskDisp Pro" panose="020B0504020202020204" pitchFamily="34" charset="0"/>
                  <a:ea typeface="Helvetica" charset="0"/>
                  <a:cs typeface="Helvetica" charset="0"/>
                </a:rPr>
                <a:t> et </a:t>
              </a:r>
              <a:r>
                <a:rPr lang="en-US" sz="2700" baseline="30000" dirty="0" err="1">
                  <a:latin typeface="NeueHaasGroteskDisp Pro" panose="020B0504020202020204" pitchFamily="34" charset="0"/>
                  <a:ea typeface="Helvetica" charset="0"/>
                  <a:cs typeface="Helvetica" charset="0"/>
                </a:rPr>
                <a:t>quis</a:t>
              </a:r>
              <a:r>
                <a:rPr lang="en-US" sz="2700" baseline="30000" dirty="0">
                  <a:latin typeface="NeueHaasGroteskDisp Pro" panose="020B0504020202020204" pitchFamily="34" charset="0"/>
                  <a:ea typeface="Helvetica" charset="0"/>
                  <a:cs typeface="Helvetica" charset="0"/>
                </a:rPr>
                <a:t>.</a:t>
              </a:r>
            </a:p>
            <a:p>
              <a:pPr marR="4400">
                <a:lnSpc>
                  <a:spcPts val="1400"/>
                </a:lnSpc>
              </a:pPr>
              <a:r>
                <a:rPr lang="en-US" sz="1400" baseline="30000" dirty="0">
                  <a:latin typeface="NeueHaasGroteskDisp Pro" panose="020B0504020202020204" pitchFamily="34" charset="0"/>
                  <a:ea typeface="Helvetica Regular" charset="0"/>
                  <a:cs typeface="Helvetica Regular" charset="0"/>
                </a:rPr>
                <a:t>Nielsen</a:t>
              </a:r>
              <a:endParaRPr lang="en-US" sz="900" dirty="0">
                <a:latin typeface="NeueHaasGroteskDisp Pro" panose="020B0504020202020204" pitchFamily="34" charset="0"/>
                <a:ea typeface="Helvetica Regular" charset="0"/>
                <a:cs typeface="Helvetica Regular" charset="0"/>
              </a:endParaRPr>
            </a:p>
          </p:txBody>
        </p:sp>
      </p:grpSp>
    </p:spTree>
    <p:extLst>
      <p:ext uri="{BB962C8B-B14F-4D97-AF65-F5344CB8AC3E}">
        <p14:creationId xmlns:p14="http://schemas.microsoft.com/office/powerpoint/2010/main" val="20230391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20" y="445723"/>
            <a:ext cx="7667068" cy="1094451"/>
          </a:xfrm>
        </p:spPr>
        <p:txBody>
          <a:bodyPr>
            <a:noAutofit/>
          </a:bodyPr>
          <a:lstStyle/>
          <a:p>
            <a:r>
              <a:rPr lang="en-US" sz="4000" dirty="0"/>
              <a:t>Pennington’s Track Record</a:t>
            </a:r>
            <a:endParaRPr lang="en-US" sz="4000" dirty="0">
              <a:latin typeface="NeueHaasGroteskDisp Pro Md" panose="020B0504020202020204" pitchFamily="34" charset="77"/>
            </a:endParaRPr>
          </a:p>
        </p:txBody>
      </p:sp>
      <p:sp>
        <p:nvSpPr>
          <p:cNvPr id="15" name="Rectangle 14">
            <a:extLst>
              <a:ext uri="{FF2B5EF4-FFF2-40B4-BE49-F238E27FC236}">
                <a16:creationId xmlns:a16="http://schemas.microsoft.com/office/drawing/2014/main" id="{2D5E9F68-0C4E-4D4C-B20A-D62B766E7DA0}"/>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9" name="Date Placeholder 3">
            <a:extLst>
              <a:ext uri="{FF2B5EF4-FFF2-40B4-BE49-F238E27FC236}">
                <a16:creationId xmlns:a16="http://schemas.microsoft.com/office/drawing/2014/main" id="{88EFAF7A-8AFF-A348-8411-EB797E4ACF35}"/>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tx2"/>
                </a:solidFill>
              </a:rPr>
              <a:t>XX/XX/XXXX</a:t>
            </a:r>
          </a:p>
        </p:txBody>
      </p:sp>
      <p:sp>
        <p:nvSpPr>
          <p:cNvPr id="10" name="Slide Number Placeholder 5">
            <a:extLst>
              <a:ext uri="{FF2B5EF4-FFF2-40B4-BE49-F238E27FC236}">
                <a16:creationId xmlns:a16="http://schemas.microsoft.com/office/drawing/2014/main" id="{F7B2ED2F-1604-9545-8A02-46660C47ABC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pPr/>
              <a:t>34</a:t>
            </a:fld>
            <a:endParaRPr lang="en-US" dirty="0"/>
          </a:p>
        </p:txBody>
      </p:sp>
      <p:sp>
        <p:nvSpPr>
          <p:cNvPr id="16" name="Footer Placeholder 4">
            <a:extLst>
              <a:ext uri="{FF2B5EF4-FFF2-40B4-BE49-F238E27FC236}">
                <a16:creationId xmlns:a16="http://schemas.microsoft.com/office/drawing/2014/main" id="{97D6E4B6-5566-5940-B43C-F92886AE55E2}"/>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pPr algn="l"/>
            <a:r>
              <a:rPr lang="en-US" dirty="0"/>
              <a:t>Presentation Title</a:t>
            </a:r>
          </a:p>
        </p:txBody>
      </p:sp>
      <p:sp>
        <p:nvSpPr>
          <p:cNvPr id="13" name="Shape 473">
            <a:extLst>
              <a:ext uri="{FF2B5EF4-FFF2-40B4-BE49-F238E27FC236}">
                <a16:creationId xmlns:a16="http://schemas.microsoft.com/office/drawing/2014/main" id="{BBA6874C-6361-E54F-95A6-82D5503C5CB9}"/>
              </a:ext>
            </a:extLst>
          </p:cNvPr>
          <p:cNvSpPr/>
          <p:nvPr/>
        </p:nvSpPr>
        <p:spPr>
          <a:xfrm>
            <a:off x="813722" y="2196463"/>
            <a:ext cx="1855086" cy="1855084"/>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marL="8732"/>
            <a:r>
              <a:rPr lang="en-US" sz="1400" dirty="0">
                <a:solidFill>
                  <a:schemeClr val="bg1"/>
                </a:solidFill>
                <a:latin typeface="NeueHaasGroteskDisp Pro" panose="020B0504020202020204" pitchFamily="34" charset="0"/>
                <a:ea typeface="Consolas" charset="0"/>
                <a:cs typeface="Consolas" charset="0"/>
              </a:rPr>
              <a:t>Header</a:t>
            </a:r>
          </a:p>
        </p:txBody>
      </p:sp>
      <p:sp>
        <p:nvSpPr>
          <p:cNvPr id="14" name="Shape 474">
            <a:extLst>
              <a:ext uri="{FF2B5EF4-FFF2-40B4-BE49-F238E27FC236}">
                <a16:creationId xmlns:a16="http://schemas.microsoft.com/office/drawing/2014/main" id="{3F9B31C6-256C-6045-B5AC-DEF8585C4B59}"/>
              </a:ext>
            </a:extLst>
          </p:cNvPr>
          <p:cNvSpPr/>
          <p:nvPr/>
        </p:nvSpPr>
        <p:spPr>
          <a:xfrm>
            <a:off x="2991343" y="2196463"/>
            <a:ext cx="1855086" cy="1855084"/>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marL="8732"/>
            <a:r>
              <a:rPr lang="en-US" sz="1400" dirty="0">
                <a:solidFill>
                  <a:schemeClr val="bg1"/>
                </a:solidFill>
                <a:latin typeface="NeueHaasGroteskDisp Pro" panose="020B0504020202020204" pitchFamily="34" charset="0"/>
                <a:ea typeface="Consolas" charset="0"/>
                <a:cs typeface="Consolas" charset="0"/>
              </a:rPr>
              <a:t>Header</a:t>
            </a:r>
            <a:endParaRPr sz="1400" dirty="0">
              <a:solidFill>
                <a:schemeClr val="bg1"/>
              </a:solidFill>
              <a:latin typeface="NeueHaasGroteskDisp Pro" panose="020B0504020202020204" pitchFamily="34" charset="0"/>
              <a:ea typeface="Consolas" charset="0"/>
              <a:cs typeface="Consolas" charset="0"/>
            </a:endParaRPr>
          </a:p>
        </p:txBody>
      </p:sp>
      <p:sp>
        <p:nvSpPr>
          <p:cNvPr id="17" name="Shape 475">
            <a:extLst>
              <a:ext uri="{FF2B5EF4-FFF2-40B4-BE49-F238E27FC236}">
                <a16:creationId xmlns:a16="http://schemas.microsoft.com/office/drawing/2014/main" id="{6D046F1B-0CD5-4343-9A8E-1ED9F40AB13C}"/>
              </a:ext>
            </a:extLst>
          </p:cNvPr>
          <p:cNvSpPr/>
          <p:nvPr/>
        </p:nvSpPr>
        <p:spPr>
          <a:xfrm>
            <a:off x="5168964" y="2196463"/>
            <a:ext cx="1855086" cy="1855084"/>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marL="8732"/>
            <a:r>
              <a:rPr lang="en-US" sz="1400" dirty="0">
                <a:solidFill>
                  <a:schemeClr val="bg1"/>
                </a:solidFill>
                <a:latin typeface="NeueHaasGroteskDisp Pro" panose="020B0504020202020204" pitchFamily="34" charset="0"/>
                <a:ea typeface="Consolas" charset="0"/>
                <a:cs typeface="Consolas" charset="0"/>
              </a:rPr>
              <a:t>Header</a:t>
            </a:r>
            <a:endParaRPr sz="1400" dirty="0">
              <a:solidFill>
                <a:schemeClr val="bg1"/>
              </a:solidFill>
              <a:latin typeface="NeueHaasGroteskDisp Pro" panose="020B0504020202020204" pitchFamily="34" charset="0"/>
              <a:ea typeface="Consolas" charset="0"/>
              <a:cs typeface="Consolas" charset="0"/>
            </a:endParaRPr>
          </a:p>
        </p:txBody>
      </p:sp>
      <p:sp>
        <p:nvSpPr>
          <p:cNvPr id="18" name="Shape 476">
            <a:extLst>
              <a:ext uri="{FF2B5EF4-FFF2-40B4-BE49-F238E27FC236}">
                <a16:creationId xmlns:a16="http://schemas.microsoft.com/office/drawing/2014/main" id="{DB9422D6-65AC-D948-9DF6-8CA5C0105E73}"/>
              </a:ext>
            </a:extLst>
          </p:cNvPr>
          <p:cNvSpPr/>
          <p:nvPr/>
        </p:nvSpPr>
        <p:spPr>
          <a:xfrm>
            <a:off x="7346586" y="2196463"/>
            <a:ext cx="1855086" cy="1855084"/>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r>
              <a:rPr lang="en-US" sz="1400" dirty="0">
                <a:solidFill>
                  <a:schemeClr val="bg1"/>
                </a:solidFill>
                <a:latin typeface="NeueHaasGroteskDisp Pro" panose="020B0504020202020204" pitchFamily="34" charset="0"/>
                <a:ea typeface="Consolas" charset="0"/>
                <a:cs typeface="Consolas" charset="0"/>
              </a:rPr>
              <a:t>Header</a:t>
            </a:r>
            <a:endParaRPr sz="1400" dirty="0">
              <a:solidFill>
                <a:schemeClr val="bg1"/>
              </a:solidFill>
              <a:latin typeface="NeueHaasGroteskDisp Pro" panose="020B0504020202020204" pitchFamily="34" charset="0"/>
              <a:ea typeface="Consolas" charset="0"/>
              <a:cs typeface="Consolas" charset="0"/>
            </a:endParaRPr>
          </a:p>
        </p:txBody>
      </p:sp>
      <p:sp>
        <p:nvSpPr>
          <p:cNvPr id="19" name="Shape 477">
            <a:extLst>
              <a:ext uri="{FF2B5EF4-FFF2-40B4-BE49-F238E27FC236}">
                <a16:creationId xmlns:a16="http://schemas.microsoft.com/office/drawing/2014/main" id="{4BDDF8EB-CC15-534D-BDCF-4DA0AB2D00D1}"/>
              </a:ext>
            </a:extLst>
          </p:cNvPr>
          <p:cNvSpPr/>
          <p:nvPr/>
        </p:nvSpPr>
        <p:spPr>
          <a:xfrm>
            <a:off x="9524209" y="2196463"/>
            <a:ext cx="1855084" cy="1855084"/>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r>
              <a:rPr lang="en-US" sz="1400" dirty="0">
                <a:solidFill>
                  <a:schemeClr val="bg1"/>
                </a:solidFill>
                <a:latin typeface="NeueHaasGroteskDisp Pro" panose="020B0504020202020204" pitchFamily="34" charset="0"/>
                <a:ea typeface="Consolas" charset="0"/>
                <a:cs typeface="Consolas" charset="0"/>
              </a:rPr>
              <a:t>Header</a:t>
            </a:r>
            <a:endParaRPr sz="1400" dirty="0">
              <a:solidFill>
                <a:schemeClr val="bg1"/>
              </a:solidFill>
              <a:latin typeface="NeueHaasGroteskDisp Pro" panose="020B0504020202020204" pitchFamily="34" charset="0"/>
              <a:ea typeface="Consolas" charset="0"/>
              <a:cs typeface="Consolas" charset="0"/>
            </a:endParaRPr>
          </a:p>
        </p:txBody>
      </p:sp>
      <p:sp>
        <p:nvSpPr>
          <p:cNvPr id="20" name="Shape 478">
            <a:extLst>
              <a:ext uri="{FF2B5EF4-FFF2-40B4-BE49-F238E27FC236}">
                <a16:creationId xmlns:a16="http://schemas.microsoft.com/office/drawing/2014/main" id="{1AC6B5C8-25CD-5549-B915-DEDAEAED1375}"/>
              </a:ext>
            </a:extLst>
          </p:cNvPr>
          <p:cNvSpPr/>
          <p:nvPr/>
        </p:nvSpPr>
        <p:spPr>
          <a:xfrm>
            <a:off x="813722" y="4169320"/>
            <a:ext cx="1855086" cy="1905000"/>
          </a:xfrm>
          <a:prstGeom prst="rect">
            <a:avLst/>
          </a:prstGeom>
          <a:ln w="12700">
            <a:miter lim="400000"/>
          </a:ln>
          <a:extLst>
            <a:ext uri="{C572A759-6A51-4108-AA02-DFA0A04FC94B}">
              <ma14:wrappingTextBoxFlag xmlns="" xmlns:ma14="http://schemas.microsoft.com/office/mac/drawingml/2011/main" val="1"/>
            </a:ext>
          </a:extLst>
        </p:spPr>
        <p:txBody>
          <a:bodyPr lIns="26126" tIns="26126" rIns="26126" bIns="26126"/>
          <a:lstStyle>
            <a:lvl1pPr>
              <a:lnSpc>
                <a:spcPts val="3800"/>
              </a:lnSpc>
              <a:defRPr sz="2800" b="0" spc="112">
                <a:solidFill>
                  <a:srgbClr val="000000"/>
                </a:solidFill>
                <a:latin typeface="Consolas"/>
                <a:ea typeface="Consolas"/>
                <a:cs typeface="Consolas"/>
                <a:sym typeface="Consolas"/>
              </a:defRPr>
            </a:lvl1pPr>
          </a:lstStyle>
          <a:p>
            <a:pPr>
              <a:lnSpc>
                <a:spcPct val="100000"/>
              </a:lnSpc>
            </a:pPr>
            <a:r>
              <a:rPr sz="1200" dirty="0">
                <a:latin typeface="NeueHaasGroteskDisp Pro" panose="020B0504020202020204" pitchFamily="34" charset="0"/>
                <a:ea typeface="Helvetica Regular" charset="0"/>
                <a:cs typeface="Helvetica Regular" charset="0"/>
              </a:rPr>
              <a:t>Lorem ipsum dolor </a:t>
            </a:r>
            <a:br>
              <a:rPr lang="en-US" sz="1200" dirty="0">
                <a:latin typeface="NeueHaasGroteskDisp Pro" panose="020B0504020202020204" pitchFamily="34" charset="0"/>
                <a:ea typeface="Helvetica Regular" charset="0"/>
                <a:cs typeface="Helvetica Regular" charset="0"/>
              </a:rPr>
            </a:br>
            <a:r>
              <a:rPr sz="1200" dirty="0">
                <a:latin typeface="NeueHaasGroteskDisp Pro" panose="020B0504020202020204" pitchFamily="34" charset="0"/>
                <a:ea typeface="Helvetica Regular" charset="0"/>
                <a:cs typeface="Helvetica Regular" charset="0"/>
              </a:rPr>
              <a:t>sit nibh sed exea consectutuer erat vellum adspicing </a:t>
            </a:r>
            <a:br>
              <a:rPr lang="en-US" sz="1200" dirty="0">
                <a:latin typeface="NeueHaasGroteskDisp Pro" panose="020B0504020202020204" pitchFamily="34" charset="0"/>
                <a:ea typeface="Helvetica Regular" charset="0"/>
                <a:cs typeface="Helvetica Regular" charset="0"/>
              </a:rPr>
            </a:br>
            <a:r>
              <a:rPr sz="1200" dirty="0">
                <a:latin typeface="NeueHaasGroteskDisp Pro" panose="020B0504020202020204" pitchFamily="34" charset="0"/>
                <a:ea typeface="Helvetica Regular" charset="0"/>
                <a:cs typeface="Helvetica Regular" charset="0"/>
              </a:rPr>
              <a:t>molor et finibus</a:t>
            </a:r>
          </a:p>
        </p:txBody>
      </p:sp>
      <p:sp>
        <p:nvSpPr>
          <p:cNvPr id="21" name="Shape 479">
            <a:extLst>
              <a:ext uri="{FF2B5EF4-FFF2-40B4-BE49-F238E27FC236}">
                <a16:creationId xmlns:a16="http://schemas.microsoft.com/office/drawing/2014/main" id="{D53C4011-63AD-294A-9252-BE2A2A30FA94}"/>
              </a:ext>
            </a:extLst>
          </p:cNvPr>
          <p:cNvSpPr/>
          <p:nvPr/>
        </p:nvSpPr>
        <p:spPr>
          <a:xfrm>
            <a:off x="2991343" y="4169320"/>
            <a:ext cx="1855086" cy="1905000"/>
          </a:xfrm>
          <a:prstGeom prst="rect">
            <a:avLst/>
          </a:prstGeom>
          <a:ln w="12700">
            <a:miter lim="400000"/>
          </a:ln>
          <a:extLst>
            <a:ext uri="{C572A759-6A51-4108-AA02-DFA0A04FC94B}">
              <ma14:wrappingTextBoxFlag xmlns="" xmlns:ma14="http://schemas.microsoft.com/office/mac/drawingml/2011/main" val="1"/>
            </a:ext>
          </a:extLst>
        </p:spPr>
        <p:txBody>
          <a:bodyPr lIns="26126" tIns="26126" rIns="26126" bIns="26126"/>
          <a:lstStyle>
            <a:lvl1pPr>
              <a:lnSpc>
                <a:spcPts val="3800"/>
              </a:lnSpc>
              <a:defRPr sz="2800" b="0" spc="112">
                <a:solidFill>
                  <a:srgbClr val="000000"/>
                </a:solidFill>
                <a:latin typeface="Consolas"/>
                <a:ea typeface="Consolas"/>
                <a:cs typeface="Consolas"/>
                <a:sym typeface="Consolas"/>
              </a:defRPr>
            </a:lvl1pPr>
          </a:lstStyle>
          <a:p>
            <a:pPr>
              <a:lnSpc>
                <a:spcPct val="100000"/>
              </a:lnSpc>
            </a:pPr>
            <a:r>
              <a:rPr sz="1200" dirty="0">
                <a:latin typeface="NeueHaasGroteskDisp Pro" panose="020B0504020202020204" pitchFamily="34" charset="0"/>
                <a:ea typeface="Helvetica Regular" charset="0"/>
                <a:cs typeface="Helvetica Regular" charset="0"/>
              </a:rPr>
              <a:t>Nibh sed exea consectutuer erat vellum adspicing </a:t>
            </a:r>
            <a:br>
              <a:rPr lang="en-US" sz="1200" dirty="0">
                <a:latin typeface="NeueHaasGroteskDisp Pro" panose="020B0504020202020204" pitchFamily="34" charset="0"/>
                <a:ea typeface="Helvetica Regular" charset="0"/>
                <a:cs typeface="Helvetica Regular" charset="0"/>
              </a:rPr>
            </a:br>
            <a:r>
              <a:rPr sz="1200" dirty="0">
                <a:latin typeface="NeueHaasGroteskDisp Pro" panose="020B0504020202020204" pitchFamily="34" charset="0"/>
                <a:ea typeface="Helvetica Regular" charset="0"/>
                <a:cs typeface="Helvetica Regular" charset="0"/>
              </a:rPr>
              <a:t>molor et finibus</a:t>
            </a:r>
          </a:p>
        </p:txBody>
      </p:sp>
      <p:sp>
        <p:nvSpPr>
          <p:cNvPr id="22" name="Shape 480">
            <a:extLst>
              <a:ext uri="{FF2B5EF4-FFF2-40B4-BE49-F238E27FC236}">
                <a16:creationId xmlns:a16="http://schemas.microsoft.com/office/drawing/2014/main" id="{6F05015F-28E9-C440-995E-49BA9864ECAC}"/>
              </a:ext>
            </a:extLst>
          </p:cNvPr>
          <p:cNvSpPr/>
          <p:nvPr/>
        </p:nvSpPr>
        <p:spPr>
          <a:xfrm>
            <a:off x="5168458" y="4169320"/>
            <a:ext cx="1855086" cy="1905000"/>
          </a:xfrm>
          <a:prstGeom prst="rect">
            <a:avLst/>
          </a:prstGeom>
          <a:ln w="12700">
            <a:miter lim="400000"/>
          </a:ln>
          <a:extLst>
            <a:ext uri="{C572A759-6A51-4108-AA02-DFA0A04FC94B}">
              <ma14:wrappingTextBoxFlag xmlns="" xmlns:ma14="http://schemas.microsoft.com/office/mac/drawingml/2011/main" val="1"/>
            </a:ext>
          </a:extLst>
        </p:spPr>
        <p:txBody>
          <a:bodyPr lIns="26126" tIns="26126" rIns="26126" bIns="26126"/>
          <a:lstStyle>
            <a:lvl1pPr>
              <a:lnSpc>
                <a:spcPts val="3800"/>
              </a:lnSpc>
              <a:defRPr sz="2800" b="0" spc="112">
                <a:solidFill>
                  <a:srgbClr val="000000"/>
                </a:solidFill>
                <a:latin typeface="Consolas"/>
                <a:ea typeface="Consolas"/>
                <a:cs typeface="Consolas"/>
                <a:sym typeface="Consolas"/>
              </a:defRPr>
            </a:lvl1pPr>
          </a:lstStyle>
          <a:p>
            <a:pPr>
              <a:lnSpc>
                <a:spcPct val="100000"/>
              </a:lnSpc>
            </a:pPr>
            <a:r>
              <a:rPr sz="1200" dirty="0">
                <a:latin typeface="NeueHaasGroteskDisp Pro" panose="020B0504020202020204" pitchFamily="34" charset="0"/>
                <a:ea typeface="Helvetica Regular" charset="0"/>
                <a:cs typeface="Helvetica Regular" charset="0"/>
              </a:rPr>
              <a:t>Molor et finibus ipsum dolor sit nibh sed exea consectutuer erat vellum adspicing</a:t>
            </a:r>
          </a:p>
        </p:txBody>
      </p:sp>
      <p:sp>
        <p:nvSpPr>
          <p:cNvPr id="23" name="Shape 481">
            <a:extLst>
              <a:ext uri="{FF2B5EF4-FFF2-40B4-BE49-F238E27FC236}">
                <a16:creationId xmlns:a16="http://schemas.microsoft.com/office/drawing/2014/main" id="{4FF16299-2B95-0344-98A0-5F22BC369780}"/>
              </a:ext>
            </a:extLst>
          </p:cNvPr>
          <p:cNvSpPr/>
          <p:nvPr/>
        </p:nvSpPr>
        <p:spPr>
          <a:xfrm>
            <a:off x="7346586" y="4169320"/>
            <a:ext cx="1855086" cy="1905000"/>
          </a:xfrm>
          <a:prstGeom prst="rect">
            <a:avLst/>
          </a:prstGeom>
          <a:ln w="12700">
            <a:miter lim="400000"/>
          </a:ln>
          <a:extLst>
            <a:ext uri="{C572A759-6A51-4108-AA02-DFA0A04FC94B}">
              <ma14:wrappingTextBoxFlag xmlns="" xmlns:ma14="http://schemas.microsoft.com/office/mac/drawingml/2011/main" val="1"/>
            </a:ext>
          </a:extLst>
        </p:spPr>
        <p:txBody>
          <a:bodyPr lIns="26126" tIns="26126" rIns="26126" bIns="26126"/>
          <a:lstStyle>
            <a:lvl1pPr>
              <a:lnSpc>
                <a:spcPts val="3800"/>
              </a:lnSpc>
              <a:defRPr sz="2800" b="0" spc="112">
                <a:solidFill>
                  <a:srgbClr val="000000"/>
                </a:solidFill>
                <a:latin typeface="Consolas"/>
                <a:ea typeface="Consolas"/>
                <a:cs typeface="Consolas"/>
                <a:sym typeface="Consolas"/>
              </a:defRPr>
            </a:lvl1pPr>
          </a:lstStyle>
          <a:p>
            <a:pPr>
              <a:lnSpc>
                <a:spcPct val="100000"/>
              </a:lnSpc>
            </a:pPr>
            <a:r>
              <a:rPr sz="1200" dirty="0">
                <a:latin typeface="NeueHaasGroteskDisp Pro" panose="020B0504020202020204" pitchFamily="34" charset="0"/>
                <a:ea typeface="Helvetica Regular" charset="0"/>
                <a:cs typeface="Helvetica Regular" charset="0"/>
              </a:rPr>
              <a:t>Erat vellum </a:t>
            </a:r>
            <a:br>
              <a:rPr lang="en-US" sz="1200" dirty="0">
                <a:latin typeface="NeueHaasGroteskDisp Pro" panose="020B0504020202020204" pitchFamily="34" charset="0"/>
                <a:ea typeface="Helvetica Regular" charset="0"/>
                <a:cs typeface="Helvetica Regular" charset="0"/>
              </a:rPr>
            </a:br>
            <a:r>
              <a:rPr sz="1200" dirty="0">
                <a:latin typeface="NeueHaasGroteskDisp Pro" panose="020B0504020202020204" pitchFamily="34" charset="0"/>
                <a:ea typeface="Helvetica Regular" charset="0"/>
                <a:cs typeface="Helvetica Regular" charset="0"/>
              </a:rPr>
              <a:t>adspicing molor</a:t>
            </a:r>
            <a:r>
              <a:rPr lang="en-US" sz="1200" dirty="0">
                <a:latin typeface="NeueHaasGroteskDisp Pro" panose="020B0504020202020204" pitchFamily="34" charset="0"/>
                <a:ea typeface="Helvetica Regular" charset="0"/>
                <a:cs typeface="Helvetica Regular" charset="0"/>
              </a:rPr>
              <a:t> </a:t>
            </a:r>
            <a:r>
              <a:rPr sz="1200" dirty="0">
                <a:latin typeface="NeueHaasGroteskDisp Pro" panose="020B0504020202020204" pitchFamily="34" charset="0"/>
                <a:ea typeface="Helvetica Regular" charset="0"/>
                <a:cs typeface="Helvetica Regular" charset="0"/>
              </a:rPr>
              <a:t>et finibus lorem ipsum dolor sit nibh sed</a:t>
            </a:r>
            <a:br>
              <a:rPr lang="en-US" sz="1200" dirty="0">
                <a:latin typeface="NeueHaasGroteskDisp Pro" panose="020B0504020202020204" pitchFamily="34" charset="0"/>
                <a:ea typeface="Helvetica Regular" charset="0"/>
                <a:cs typeface="Helvetica Regular" charset="0"/>
              </a:rPr>
            </a:br>
            <a:r>
              <a:rPr sz="1200" dirty="0">
                <a:latin typeface="NeueHaasGroteskDisp Pro" panose="020B0504020202020204" pitchFamily="34" charset="0"/>
                <a:ea typeface="Helvetica Regular" charset="0"/>
                <a:cs typeface="Helvetica Regular" charset="0"/>
              </a:rPr>
              <a:t>exea consectutuer</a:t>
            </a:r>
          </a:p>
        </p:txBody>
      </p:sp>
      <p:sp>
        <p:nvSpPr>
          <p:cNvPr id="24" name="Shape 482">
            <a:extLst>
              <a:ext uri="{FF2B5EF4-FFF2-40B4-BE49-F238E27FC236}">
                <a16:creationId xmlns:a16="http://schemas.microsoft.com/office/drawing/2014/main" id="{28CCEED0-B956-3148-95D3-A132E699D637}"/>
              </a:ext>
            </a:extLst>
          </p:cNvPr>
          <p:cNvSpPr/>
          <p:nvPr/>
        </p:nvSpPr>
        <p:spPr>
          <a:xfrm>
            <a:off x="9524209" y="4169320"/>
            <a:ext cx="1855084" cy="1905000"/>
          </a:xfrm>
          <a:prstGeom prst="rect">
            <a:avLst/>
          </a:prstGeom>
          <a:ln w="12700">
            <a:miter lim="400000"/>
          </a:ln>
          <a:extLst>
            <a:ext uri="{C572A759-6A51-4108-AA02-DFA0A04FC94B}">
              <ma14:wrappingTextBoxFlag xmlns="" xmlns:ma14="http://schemas.microsoft.com/office/mac/drawingml/2011/main" val="1"/>
            </a:ext>
          </a:extLst>
        </p:spPr>
        <p:txBody>
          <a:bodyPr lIns="26126" tIns="26126" rIns="26126" bIns="26126"/>
          <a:lstStyle>
            <a:lvl1pPr>
              <a:lnSpc>
                <a:spcPts val="3800"/>
              </a:lnSpc>
              <a:defRPr sz="2800" b="0" spc="112">
                <a:solidFill>
                  <a:srgbClr val="000000"/>
                </a:solidFill>
                <a:latin typeface="Consolas"/>
                <a:ea typeface="Consolas"/>
                <a:cs typeface="Consolas"/>
                <a:sym typeface="Consolas"/>
              </a:defRPr>
            </a:lvl1pPr>
          </a:lstStyle>
          <a:p>
            <a:pPr>
              <a:lnSpc>
                <a:spcPct val="100000"/>
              </a:lnSpc>
            </a:pPr>
            <a:r>
              <a:rPr sz="1200" dirty="0">
                <a:latin typeface="NeueHaasGroteskDisp Pro" panose="020B0504020202020204" pitchFamily="34" charset="0"/>
                <a:ea typeface="Helvetica Regular" charset="0"/>
                <a:cs typeface="Helvetica Regular" charset="0"/>
              </a:rPr>
              <a:t>Dolor sit nibh </a:t>
            </a:r>
            <a:br>
              <a:rPr lang="en-US" sz="1200" dirty="0">
                <a:latin typeface="NeueHaasGroteskDisp Pro" panose="020B0504020202020204" pitchFamily="34" charset="0"/>
                <a:ea typeface="Helvetica Regular" charset="0"/>
                <a:cs typeface="Helvetica Regular" charset="0"/>
              </a:rPr>
            </a:br>
            <a:r>
              <a:rPr sz="1200" dirty="0">
                <a:latin typeface="NeueHaasGroteskDisp Pro" panose="020B0504020202020204" pitchFamily="34" charset="0"/>
                <a:ea typeface="Helvetica Regular" charset="0"/>
                <a:cs typeface="Helvetica Regular" charset="0"/>
              </a:rPr>
              <a:t>sed exea consect </a:t>
            </a:r>
            <a:br>
              <a:rPr lang="en-US" sz="1200" dirty="0">
                <a:latin typeface="NeueHaasGroteskDisp Pro" panose="020B0504020202020204" pitchFamily="34" charset="0"/>
                <a:ea typeface="Helvetica Regular" charset="0"/>
                <a:cs typeface="Helvetica Regular" charset="0"/>
              </a:rPr>
            </a:br>
            <a:r>
              <a:rPr sz="1200" dirty="0">
                <a:latin typeface="NeueHaasGroteskDisp Pro" panose="020B0504020202020204" pitchFamily="34" charset="0"/>
                <a:ea typeface="Helvetica Regular" charset="0"/>
                <a:cs typeface="Helvetica Regular" charset="0"/>
              </a:rPr>
              <a:t>utuer erat vellum adspicing molor</a:t>
            </a:r>
          </a:p>
        </p:txBody>
      </p:sp>
    </p:spTree>
    <p:extLst>
      <p:ext uri="{BB962C8B-B14F-4D97-AF65-F5344CB8AC3E}">
        <p14:creationId xmlns:p14="http://schemas.microsoft.com/office/powerpoint/2010/main" val="35440057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D3B3E36-1E60-6E43-A510-0CDB8FF47D73}"/>
              </a:ext>
            </a:extLst>
          </p:cNvPr>
          <p:cNvSpPr/>
          <p:nvPr/>
        </p:nvSpPr>
        <p:spPr>
          <a:xfrm>
            <a:off x="533501" y="2690336"/>
            <a:ext cx="3997401" cy="400110"/>
          </a:xfrm>
          <a:prstGeom prst="rect">
            <a:avLst/>
          </a:prstGeom>
        </p:spPr>
        <p:txBody>
          <a:bodyPr wrap="square">
            <a:spAutoFit/>
          </a:bodyPr>
          <a:lstStyle/>
          <a:p>
            <a:endParaRPr lang="en-US" sz="2000" dirty="0">
              <a:effectLst/>
              <a:latin typeface="NeueHaasGroteskDisp Pro" panose="020B0504020202020204" pitchFamily="34" charset="77"/>
              <a:ea typeface="Times New Roman" panose="02020603050405020304" pitchFamily="18" charset="0"/>
            </a:endParaRPr>
          </a:p>
        </p:txBody>
      </p:sp>
      <p:sp>
        <p:nvSpPr>
          <p:cNvPr id="5" name="Title 1">
            <a:extLst>
              <a:ext uri="{FF2B5EF4-FFF2-40B4-BE49-F238E27FC236}">
                <a16:creationId xmlns:a16="http://schemas.microsoft.com/office/drawing/2014/main" id="{82C5FB27-D619-1143-8039-E8170E7FE0F5}"/>
              </a:ext>
            </a:extLst>
          </p:cNvPr>
          <p:cNvSpPr>
            <a:spLocks noGrp="1"/>
          </p:cNvSpPr>
          <p:nvPr>
            <p:ph type="title"/>
          </p:nvPr>
        </p:nvSpPr>
        <p:spPr>
          <a:xfrm>
            <a:off x="451020" y="445725"/>
            <a:ext cx="8138798" cy="1133694"/>
          </a:xfrm>
        </p:spPr>
        <p:txBody>
          <a:bodyPr>
            <a:noAutofit/>
          </a:bodyPr>
          <a:lstStyle/>
          <a:p>
            <a:r>
              <a:rPr lang="en-US" dirty="0"/>
              <a:t>Key drivers of a national strategy to strengthen nutritional research</a:t>
            </a:r>
          </a:p>
        </p:txBody>
      </p:sp>
      <p:sp>
        <p:nvSpPr>
          <p:cNvPr id="14" name="Shape 473">
            <a:extLst>
              <a:ext uri="{FF2B5EF4-FFF2-40B4-BE49-F238E27FC236}">
                <a16:creationId xmlns:a16="http://schemas.microsoft.com/office/drawing/2014/main" id="{37E118D3-58E1-E442-A762-B15E5B239D87}"/>
              </a:ext>
            </a:extLst>
          </p:cNvPr>
          <p:cNvSpPr/>
          <p:nvPr/>
        </p:nvSpPr>
        <p:spPr>
          <a:xfrm>
            <a:off x="6221494" y="4004627"/>
            <a:ext cx="1772422" cy="1772420"/>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algn="ctr">
              <a:lnSpc>
                <a:spcPct val="100000"/>
              </a:lnSpc>
            </a:pPr>
            <a:br>
              <a:rPr lang="en-US" sz="1400" dirty="0">
                <a:solidFill>
                  <a:schemeClr val="bg1"/>
                </a:solidFill>
                <a:latin typeface="NeueHaasGroteskDisp Pro Md" panose="020B0504020202020204" pitchFamily="34" charset="77"/>
              </a:rPr>
            </a:b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Partnership</a:t>
            </a: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and Innovation</a:t>
            </a:r>
          </a:p>
        </p:txBody>
      </p:sp>
      <p:sp>
        <p:nvSpPr>
          <p:cNvPr id="15" name="Shape 473">
            <a:extLst>
              <a:ext uri="{FF2B5EF4-FFF2-40B4-BE49-F238E27FC236}">
                <a16:creationId xmlns:a16="http://schemas.microsoft.com/office/drawing/2014/main" id="{6EC7917E-7EC5-D349-9927-174A3065B685}"/>
              </a:ext>
            </a:extLst>
          </p:cNvPr>
          <p:cNvSpPr/>
          <p:nvPr/>
        </p:nvSpPr>
        <p:spPr>
          <a:xfrm>
            <a:off x="8140427" y="4004627"/>
            <a:ext cx="1772422" cy="1772420"/>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algn="ctr">
              <a:lnSpc>
                <a:spcPct val="100000"/>
              </a:lnSpc>
            </a:pPr>
            <a:br>
              <a:rPr lang="en-US" sz="1400" dirty="0">
                <a:solidFill>
                  <a:schemeClr val="bg1"/>
                </a:solidFill>
                <a:latin typeface="NeueHaasGroteskDisp Pro Md" panose="020B0504020202020204" pitchFamily="34" charset="77"/>
              </a:rPr>
            </a:b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Agriculture and Sustainability</a:t>
            </a:r>
          </a:p>
        </p:txBody>
      </p:sp>
      <p:sp>
        <p:nvSpPr>
          <p:cNvPr id="16" name="Shape 473">
            <a:extLst>
              <a:ext uri="{FF2B5EF4-FFF2-40B4-BE49-F238E27FC236}">
                <a16:creationId xmlns:a16="http://schemas.microsoft.com/office/drawing/2014/main" id="{E5423E28-6403-1D4B-AA3B-813886DED335}"/>
              </a:ext>
            </a:extLst>
          </p:cNvPr>
          <p:cNvSpPr/>
          <p:nvPr/>
        </p:nvSpPr>
        <p:spPr>
          <a:xfrm>
            <a:off x="10059360" y="4004627"/>
            <a:ext cx="1772422" cy="1772420"/>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algn="ctr">
              <a:lnSpc>
                <a:spcPct val="100000"/>
              </a:lnSpc>
            </a:pPr>
            <a:br>
              <a:rPr lang="en-US" sz="1400" dirty="0">
                <a:solidFill>
                  <a:schemeClr val="bg1"/>
                </a:solidFill>
                <a:latin typeface="NeueHaasGroteskDisp Pro Md" panose="020B0504020202020204" pitchFamily="34" charset="77"/>
              </a:rPr>
            </a:b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Monitoring and Surveillance</a:t>
            </a:r>
          </a:p>
        </p:txBody>
      </p:sp>
      <p:sp>
        <p:nvSpPr>
          <p:cNvPr id="17" name="Shape 473">
            <a:extLst>
              <a:ext uri="{FF2B5EF4-FFF2-40B4-BE49-F238E27FC236}">
                <a16:creationId xmlns:a16="http://schemas.microsoft.com/office/drawing/2014/main" id="{B3D4FA9E-B7CA-4E41-96FE-CE306711CA49}"/>
              </a:ext>
            </a:extLst>
          </p:cNvPr>
          <p:cNvSpPr/>
          <p:nvPr/>
        </p:nvSpPr>
        <p:spPr>
          <a:xfrm>
            <a:off x="464694" y="4004627"/>
            <a:ext cx="1772422" cy="1772420"/>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algn="ctr">
              <a:lnSpc>
                <a:spcPct val="100000"/>
              </a:lnSpc>
            </a:pPr>
            <a:br>
              <a:rPr lang="en-US" sz="1400" dirty="0">
                <a:solidFill>
                  <a:schemeClr val="bg1"/>
                </a:solidFill>
                <a:latin typeface="NeueHaasGroteskDisp Pro Md" panose="020B0504020202020204" pitchFamily="34" charset="77"/>
              </a:rPr>
            </a:b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Federal</a:t>
            </a: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Investment</a:t>
            </a:r>
          </a:p>
        </p:txBody>
      </p:sp>
      <p:sp>
        <p:nvSpPr>
          <p:cNvPr id="18" name="Shape 473">
            <a:extLst>
              <a:ext uri="{FF2B5EF4-FFF2-40B4-BE49-F238E27FC236}">
                <a16:creationId xmlns:a16="http://schemas.microsoft.com/office/drawing/2014/main" id="{EA4F6862-9E4E-4B4B-81A2-D2589128BF03}"/>
              </a:ext>
            </a:extLst>
          </p:cNvPr>
          <p:cNvSpPr/>
          <p:nvPr/>
        </p:nvSpPr>
        <p:spPr>
          <a:xfrm>
            <a:off x="2383628" y="4004627"/>
            <a:ext cx="1772422" cy="1772420"/>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algn="ctr">
              <a:lnSpc>
                <a:spcPct val="100000"/>
              </a:lnSpc>
            </a:pPr>
            <a:br>
              <a:rPr lang="en-US" sz="1400" dirty="0">
                <a:solidFill>
                  <a:schemeClr val="bg1"/>
                </a:solidFill>
                <a:latin typeface="NeueHaasGroteskDisp Pro Md" panose="020B0504020202020204" pitchFamily="34" charset="77"/>
              </a:rPr>
            </a:br>
            <a:br>
              <a:rPr lang="en-US" sz="1400" dirty="0">
                <a:solidFill>
                  <a:schemeClr val="bg1"/>
                </a:solidFill>
                <a:latin typeface="NeueHaasGroteskDisp Pro Md" panose="020B0504020202020204" pitchFamily="34" charset="77"/>
              </a:rPr>
            </a:b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Reduce Healthcare Spending</a:t>
            </a:r>
          </a:p>
        </p:txBody>
      </p:sp>
      <p:sp>
        <p:nvSpPr>
          <p:cNvPr id="19" name="Shape 473">
            <a:extLst>
              <a:ext uri="{FF2B5EF4-FFF2-40B4-BE49-F238E27FC236}">
                <a16:creationId xmlns:a16="http://schemas.microsoft.com/office/drawing/2014/main" id="{2BACFCE0-016D-F146-B94B-9E36520FB0B9}"/>
              </a:ext>
            </a:extLst>
          </p:cNvPr>
          <p:cNvSpPr/>
          <p:nvPr/>
        </p:nvSpPr>
        <p:spPr>
          <a:xfrm>
            <a:off x="4302560" y="4004627"/>
            <a:ext cx="1772422" cy="1772420"/>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algn="ctr">
              <a:lnSpc>
                <a:spcPct val="100000"/>
              </a:lnSpc>
            </a:pP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Regulation</a:t>
            </a:r>
          </a:p>
        </p:txBody>
      </p:sp>
      <p:sp>
        <p:nvSpPr>
          <p:cNvPr id="23" name="Shape 473">
            <a:extLst>
              <a:ext uri="{FF2B5EF4-FFF2-40B4-BE49-F238E27FC236}">
                <a16:creationId xmlns:a16="http://schemas.microsoft.com/office/drawing/2014/main" id="{75972339-1A35-0641-B3AB-6BF3D89A36EE}"/>
              </a:ext>
            </a:extLst>
          </p:cNvPr>
          <p:cNvSpPr/>
          <p:nvPr/>
        </p:nvSpPr>
        <p:spPr>
          <a:xfrm>
            <a:off x="6221494" y="2043499"/>
            <a:ext cx="1772422" cy="1772420"/>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algn="ctr">
              <a:lnSpc>
                <a:spcPct val="100000"/>
              </a:lnSpc>
            </a:pPr>
            <a:br>
              <a:rPr lang="en-US" sz="1400" dirty="0">
                <a:solidFill>
                  <a:schemeClr val="bg1"/>
                </a:solidFill>
                <a:latin typeface="NeueHaasGroteskDisp Pro Md" panose="020B0504020202020204" pitchFamily="34" charset="77"/>
              </a:rPr>
            </a:b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Healthy</a:t>
            </a: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Equity</a:t>
            </a:r>
          </a:p>
        </p:txBody>
      </p:sp>
      <p:sp>
        <p:nvSpPr>
          <p:cNvPr id="24" name="Shape 473">
            <a:extLst>
              <a:ext uri="{FF2B5EF4-FFF2-40B4-BE49-F238E27FC236}">
                <a16:creationId xmlns:a16="http://schemas.microsoft.com/office/drawing/2014/main" id="{91BFB35C-9151-004E-BCCA-3D3C7A0CC88F}"/>
              </a:ext>
            </a:extLst>
          </p:cNvPr>
          <p:cNvSpPr/>
          <p:nvPr/>
        </p:nvSpPr>
        <p:spPr>
          <a:xfrm>
            <a:off x="8140427" y="2043499"/>
            <a:ext cx="1772422" cy="1772420"/>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algn="ctr">
              <a:lnSpc>
                <a:spcPct val="100000"/>
              </a:lnSpc>
            </a:pPr>
            <a:br>
              <a:rPr lang="en-US" sz="1400" dirty="0">
                <a:solidFill>
                  <a:schemeClr val="bg1"/>
                </a:solidFill>
                <a:latin typeface="NeueHaasGroteskDisp Pro Md" panose="020B0504020202020204" pitchFamily="34" charset="77"/>
              </a:rPr>
            </a:b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Implementation</a:t>
            </a: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Science</a:t>
            </a:r>
          </a:p>
        </p:txBody>
      </p:sp>
      <p:sp>
        <p:nvSpPr>
          <p:cNvPr id="25" name="Shape 473">
            <a:extLst>
              <a:ext uri="{FF2B5EF4-FFF2-40B4-BE49-F238E27FC236}">
                <a16:creationId xmlns:a16="http://schemas.microsoft.com/office/drawing/2014/main" id="{4BBD3BB6-B26E-5E42-86A6-45A5E13FAEB3}"/>
              </a:ext>
            </a:extLst>
          </p:cNvPr>
          <p:cNvSpPr/>
          <p:nvPr/>
        </p:nvSpPr>
        <p:spPr>
          <a:xfrm>
            <a:off x="10059360" y="2043499"/>
            <a:ext cx="1772422" cy="1772420"/>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algn="ctr">
              <a:lnSpc>
                <a:spcPct val="100000"/>
              </a:lnSpc>
            </a:pPr>
            <a:br>
              <a:rPr lang="en-US" sz="1400" dirty="0">
                <a:solidFill>
                  <a:schemeClr val="bg1"/>
                </a:solidFill>
                <a:latin typeface="NeueHaasGroteskDisp Pro Md" panose="020B0504020202020204" pitchFamily="34" charset="77"/>
              </a:rPr>
            </a:b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Food is Medicine</a:t>
            </a:r>
          </a:p>
        </p:txBody>
      </p:sp>
      <p:sp>
        <p:nvSpPr>
          <p:cNvPr id="26" name="Shape 473">
            <a:extLst>
              <a:ext uri="{FF2B5EF4-FFF2-40B4-BE49-F238E27FC236}">
                <a16:creationId xmlns:a16="http://schemas.microsoft.com/office/drawing/2014/main" id="{2F08AE5E-DB9F-E24D-8E54-750F2AB1D68E}"/>
              </a:ext>
            </a:extLst>
          </p:cNvPr>
          <p:cNvSpPr/>
          <p:nvPr/>
        </p:nvSpPr>
        <p:spPr>
          <a:xfrm>
            <a:off x="464694" y="2043499"/>
            <a:ext cx="1772422" cy="1772420"/>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algn="ctr">
              <a:lnSpc>
                <a:spcPct val="100000"/>
              </a:lnSpc>
            </a:pPr>
            <a:br>
              <a:rPr lang="en-US" sz="1400" dirty="0">
                <a:solidFill>
                  <a:schemeClr val="bg1"/>
                </a:solidFill>
                <a:latin typeface="NeueHaasGroteskDisp Pro Md" panose="020B0504020202020204" pitchFamily="34" charset="77"/>
              </a:rPr>
            </a:b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Public</a:t>
            </a: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Guidance</a:t>
            </a:r>
          </a:p>
        </p:txBody>
      </p:sp>
      <p:sp>
        <p:nvSpPr>
          <p:cNvPr id="27" name="Shape 473">
            <a:extLst>
              <a:ext uri="{FF2B5EF4-FFF2-40B4-BE49-F238E27FC236}">
                <a16:creationId xmlns:a16="http://schemas.microsoft.com/office/drawing/2014/main" id="{C0C7B9D5-2B95-4C4D-B971-FEC7DDF11DC0}"/>
              </a:ext>
            </a:extLst>
          </p:cNvPr>
          <p:cNvSpPr/>
          <p:nvPr/>
        </p:nvSpPr>
        <p:spPr>
          <a:xfrm>
            <a:off x="2383628" y="2043499"/>
            <a:ext cx="1772422" cy="1772420"/>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algn="ctr">
              <a:lnSpc>
                <a:spcPct val="100000"/>
              </a:lnSpc>
            </a:pPr>
            <a:br>
              <a:rPr lang="en-US" sz="1400" dirty="0">
                <a:solidFill>
                  <a:schemeClr val="bg1"/>
                </a:solidFill>
                <a:latin typeface="NeueHaasGroteskDisp Pro Md" panose="020B0504020202020204" pitchFamily="34" charset="77"/>
              </a:rPr>
            </a:b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Fundamental</a:t>
            </a: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Discovery</a:t>
            </a:r>
          </a:p>
        </p:txBody>
      </p:sp>
      <p:sp>
        <p:nvSpPr>
          <p:cNvPr id="28" name="Shape 473">
            <a:extLst>
              <a:ext uri="{FF2B5EF4-FFF2-40B4-BE49-F238E27FC236}">
                <a16:creationId xmlns:a16="http://schemas.microsoft.com/office/drawing/2014/main" id="{A5465B4B-EC0F-EF4D-8EF7-9B1BB69FE018}"/>
              </a:ext>
            </a:extLst>
          </p:cNvPr>
          <p:cNvSpPr/>
          <p:nvPr/>
        </p:nvSpPr>
        <p:spPr>
          <a:xfrm>
            <a:off x="4302560" y="2043499"/>
            <a:ext cx="1772422" cy="1772420"/>
          </a:xfrm>
          <a:prstGeom prst="ellipse">
            <a:avLst/>
          </a:prstGeom>
          <a:solidFill>
            <a:schemeClr val="tx2"/>
          </a:solidFill>
          <a:ln w="12700">
            <a:miter lim="400000"/>
          </a:ln>
          <a:extLst>
            <a:ext uri="{C572A759-6A51-4108-AA02-DFA0A04FC94B}">
              <ma14:wrappingTextBoxFlag xmlns="" xmlns:ma14="http://schemas.microsoft.com/office/mac/drawingml/2011/main" val="1"/>
            </a:ext>
          </a:extLst>
        </p:spPr>
        <p:txBody>
          <a:bodyPr lIns="0" tIns="0" rIns="0" bIns="0" anchor="ctr"/>
          <a:lstStyle>
            <a:lvl1pPr>
              <a:lnSpc>
                <a:spcPts val="3000"/>
              </a:lnSpc>
              <a:defRPr sz="3800" b="0">
                <a:solidFill>
                  <a:srgbClr val="00D800"/>
                </a:solidFill>
                <a:latin typeface="Neue Haas Grotesk Display Std 95 Black"/>
                <a:ea typeface="Neue Haas Grotesk Display Std 95 Black"/>
                <a:cs typeface="Neue Haas Grotesk Display Std 95 Black"/>
                <a:sym typeface="Neue Haas Grotesk Display Std 95 Black"/>
              </a:defRPr>
            </a:lvl1pPr>
          </a:lstStyle>
          <a:p>
            <a:pPr algn="ctr">
              <a:lnSpc>
                <a:spcPct val="100000"/>
              </a:lnSpc>
            </a:pPr>
            <a:br>
              <a:rPr lang="en-US" sz="1400" dirty="0">
                <a:solidFill>
                  <a:schemeClr val="bg1"/>
                </a:solidFill>
                <a:latin typeface="NeueHaasGroteskDisp Pro Md" panose="020B0504020202020204" pitchFamily="34" charset="77"/>
              </a:rPr>
            </a:b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Precision</a:t>
            </a:r>
            <a:br>
              <a:rPr lang="en-US" sz="1400" dirty="0">
                <a:solidFill>
                  <a:schemeClr val="bg1"/>
                </a:solidFill>
                <a:latin typeface="NeueHaasGroteskDisp Pro Md" panose="020B0504020202020204" pitchFamily="34" charset="77"/>
              </a:rPr>
            </a:br>
            <a:r>
              <a:rPr lang="en-US" sz="1400" dirty="0">
                <a:solidFill>
                  <a:schemeClr val="bg1"/>
                </a:solidFill>
                <a:latin typeface="NeueHaasGroteskDisp Pro Md" panose="020B0504020202020204" pitchFamily="34" charset="77"/>
              </a:rPr>
              <a:t>Nutrition</a:t>
            </a:r>
          </a:p>
        </p:txBody>
      </p:sp>
      <p:pic>
        <p:nvPicPr>
          <p:cNvPr id="29" name="Picture 28">
            <a:extLst>
              <a:ext uri="{FF2B5EF4-FFF2-40B4-BE49-F238E27FC236}">
                <a16:creationId xmlns:a16="http://schemas.microsoft.com/office/drawing/2014/main" id="{C596FD82-84B0-E441-B5EF-FA0B9E38EDD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08963" y="2246743"/>
            <a:ext cx="728711" cy="676780"/>
          </a:xfrm>
          <a:prstGeom prst="rect">
            <a:avLst/>
          </a:prstGeom>
        </p:spPr>
      </p:pic>
      <p:pic>
        <p:nvPicPr>
          <p:cNvPr id="30" name="Picture 29">
            <a:extLst>
              <a:ext uri="{FF2B5EF4-FFF2-40B4-BE49-F238E27FC236}">
                <a16:creationId xmlns:a16="http://schemas.microsoft.com/office/drawing/2014/main" id="{CE8F9EF3-A124-544A-9828-63557F7D79A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74044" y="2148552"/>
            <a:ext cx="782562" cy="782562"/>
          </a:xfrm>
          <a:prstGeom prst="rect">
            <a:avLst/>
          </a:prstGeom>
        </p:spPr>
      </p:pic>
      <p:pic>
        <p:nvPicPr>
          <p:cNvPr id="31" name="Picture 30">
            <a:extLst>
              <a:ext uri="{FF2B5EF4-FFF2-40B4-BE49-F238E27FC236}">
                <a16:creationId xmlns:a16="http://schemas.microsoft.com/office/drawing/2014/main" id="{752F45E7-5717-E545-B23B-B61DA755438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22317" y="2214445"/>
            <a:ext cx="709078" cy="709078"/>
          </a:xfrm>
          <a:prstGeom prst="rect">
            <a:avLst/>
          </a:prstGeom>
        </p:spPr>
      </p:pic>
      <p:pic>
        <p:nvPicPr>
          <p:cNvPr id="32" name="Picture 31">
            <a:extLst>
              <a:ext uri="{FF2B5EF4-FFF2-40B4-BE49-F238E27FC236}">
                <a16:creationId xmlns:a16="http://schemas.microsoft.com/office/drawing/2014/main" id="{7F822926-FD32-6A4F-B129-E2A0790A39E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747260" y="2148552"/>
            <a:ext cx="747213" cy="747213"/>
          </a:xfrm>
          <a:prstGeom prst="rect">
            <a:avLst/>
          </a:prstGeom>
        </p:spPr>
      </p:pic>
      <p:pic>
        <p:nvPicPr>
          <p:cNvPr id="33" name="Picture 32">
            <a:extLst>
              <a:ext uri="{FF2B5EF4-FFF2-40B4-BE49-F238E27FC236}">
                <a16:creationId xmlns:a16="http://schemas.microsoft.com/office/drawing/2014/main" id="{46956743-15B1-5447-8B37-88F43DD0EE3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655043" y="2148552"/>
            <a:ext cx="720124" cy="720124"/>
          </a:xfrm>
          <a:prstGeom prst="rect">
            <a:avLst/>
          </a:prstGeom>
        </p:spPr>
      </p:pic>
      <p:pic>
        <p:nvPicPr>
          <p:cNvPr id="34" name="Picture 33">
            <a:extLst>
              <a:ext uri="{FF2B5EF4-FFF2-40B4-BE49-F238E27FC236}">
                <a16:creationId xmlns:a16="http://schemas.microsoft.com/office/drawing/2014/main" id="{1FEB80CD-DAB8-D943-A144-26EDF634EAF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591470" y="2239152"/>
            <a:ext cx="684371" cy="684371"/>
          </a:xfrm>
          <a:prstGeom prst="rect">
            <a:avLst/>
          </a:prstGeom>
        </p:spPr>
      </p:pic>
      <p:pic>
        <p:nvPicPr>
          <p:cNvPr id="35" name="Picture 34">
            <a:extLst>
              <a:ext uri="{FF2B5EF4-FFF2-40B4-BE49-F238E27FC236}">
                <a16:creationId xmlns:a16="http://schemas.microsoft.com/office/drawing/2014/main" id="{87B35674-1F68-3E44-ACCC-2BD2409DE34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98866" y="4093352"/>
            <a:ext cx="738808" cy="738808"/>
          </a:xfrm>
          <a:prstGeom prst="rect">
            <a:avLst/>
          </a:prstGeom>
        </p:spPr>
      </p:pic>
      <p:pic>
        <p:nvPicPr>
          <p:cNvPr id="36" name="Picture 35">
            <a:extLst>
              <a:ext uri="{FF2B5EF4-FFF2-40B4-BE49-F238E27FC236}">
                <a16:creationId xmlns:a16="http://schemas.microsoft.com/office/drawing/2014/main" id="{3BBCF0C4-12E4-D94A-97AF-CE6E936FF10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015063" y="4167894"/>
            <a:ext cx="443754" cy="589723"/>
          </a:xfrm>
          <a:prstGeom prst="rect">
            <a:avLst/>
          </a:prstGeom>
        </p:spPr>
      </p:pic>
      <p:pic>
        <p:nvPicPr>
          <p:cNvPr id="37" name="Picture 36">
            <a:extLst>
              <a:ext uri="{FF2B5EF4-FFF2-40B4-BE49-F238E27FC236}">
                <a16:creationId xmlns:a16="http://schemas.microsoft.com/office/drawing/2014/main" id="{E2614B45-7774-F545-BA56-C589A1D1CEC9}"/>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893910" y="4235812"/>
            <a:ext cx="589722" cy="583096"/>
          </a:xfrm>
          <a:prstGeom prst="rect">
            <a:avLst/>
          </a:prstGeom>
        </p:spPr>
      </p:pic>
      <p:pic>
        <p:nvPicPr>
          <p:cNvPr id="38" name="Picture 37">
            <a:extLst>
              <a:ext uri="{FF2B5EF4-FFF2-40B4-BE49-F238E27FC236}">
                <a16:creationId xmlns:a16="http://schemas.microsoft.com/office/drawing/2014/main" id="{BA80A669-D377-F642-8B36-2295375C8D3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747260" y="4167894"/>
            <a:ext cx="672671" cy="672671"/>
          </a:xfrm>
          <a:prstGeom prst="rect">
            <a:avLst/>
          </a:prstGeom>
        </p:spPr>
      </p:pic>
      <p:pic>
        <p:nvPicPr>
          <p:cNvPr id="39" name="Picture 38">
            <a:extLst>
              <a:ext uri="{FF2B5EF4-FFF2-40B4-BE49-F238E27FC236}">
                <a16:creationId xmlns:a16="http://schemas.microsoft.com/office/drawing/2014/main" id="{AE4ACD12-E604-F448-8E32-F3AFCED599D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754914" y="4195866"/>
            <a:ext cx="520382" cy="623042"/>
          </a:xfrm>
          <a:prstGeom prst="rect">
            <a:avLst/>
          </a:prstGeom>
        </p:spPr>
      </p:pic>
      <p:pic>
        <p:nvPicPr>
          <p:cNvPr id="40" name="Picture 39">
            <a:extLst>
              <a:ext uri="{FF2B5EF4-FFF2-40B4-BE49-F238E27FC236}">
                <a16:creationId xmlns:a16="http://schemas.microsoft.com/office/drawing/2014/main" id="{36C20D4D-14C1-D34F-B304-5F117F3CC13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648793" y="4191861"/>
            <a:ext cx="627048" cy="627048"/>
          </a:xfrm>
          <a:prstGeom prst="rect">
            <a:avLst/>
          </a:prstGeom>
        </p:spPr>
      </p:pic>
      <p:sp>
        <p:nvSpPr>
          <p:cNvPr id="42" name="Rectangle 41">
            <a:extLst>
              <a:ext uri="{FF2B5EF4-FFF2-40B4-BE49-F238E27FC236}">
                <a16:creationId xmlns:a16="http://schemas.microsoft.com/office/drawing/2014/main" id="{3469033D-4CB5-FF45-9459-A07413A010BE}"/>
              </a:ext>
            </a:extLst>
          </p:cNvPr>
          <p:cNvSpPr/>
          <p:nvPr/>
        </p:nvSpPr>
        <p:spPr>
          <a:xfrm>
            <a:off x="5916193" y="6234519"/>
            <a:ext cx="5297037" cy="519886"/>
          </a:xfrm>
          <a:prstGeom prst="rect">
            <a:avLst/>
          </a:prstGeom>
        </p:spPr>
        <p:txBody>
          <a:bodyPr wrap="square">
            <a:spAutoFit/>
          </a:bodyPr>
          <a:lstStyle/>
          <a:p>
            <a:pPr>
              <a:lnSpc>
                <a:spcPct val="120000"/>
              </a:lnSpc>
              <a:spcBef>
                <a:spcPts val="1000"/>
              </a:spcBef>
            </a:pPr>
            <a:r>
              <a:rPr lang="en-US" sz="1200" i="1" dirty="0">
                <a:latin typeface="NeueHaasGroteskDisp Pro" panose="020B0504020202020204" pitchFamily="34" charset="0"/>
              </a:rPr>
              <a:t>The American Journal of Clinical Nutrition</a:t>
            </a:r>
            <a:r>
              <a:rPr lang="en-US" sz="1200" dirty="0">
                <a:latin typeface="NeueHaasGroteskDisp Pro" panose="020B0504020202020204" pitchFamily="34" charset="0"/>
              </a:rPr>
              <a:t>, Volume 112, Issue 3, September 2020, Pages 721–769, </a:t>
            </a:r>
            <a:r>
              <a:rPr lang="en-US" sz="1200" dirty="0">
                <a:latin typeface="NeueHaasGroteskDisp Pro" panose="020B0504020202020204" pitchFamily="34" charset="0"/>
                <a:hlinkClick r:id="rId15">
                  <a:extLst>
                    <a:ext uri="{A12FA001-AC4F-418D-AE19-62706E023703}">
                      <ahyp:hlinkClr xmlns:ahyp="http://schemas.microsoft.com/office/drawing/2018/hyperlinkcolor" val="tx"/>
                    </a:ext>
                  </a:extLst>
                </a:hlinkClick>
              </a:rPr>
              <a:t>https://doi.org/10.1093/ajcn/nqaa179</a:t>
            </a:r>
            <a:endParaRPr lang="en-US" sz="1050" dirty="0">
              <a:latin typeface="NeueHaasGroteskDisp Pro" panose="020B0504020202020204" pitchFamily="34" charset="77"/>
            </a:endParaRPr>
          </a:p>
        </p:txBody>
      </p:sp>
      <p:sp>
        <p:nvSpPr>
          <p:cNvPr id="3" name="Slide Number Placeholder 2">
            <a:extLst>
              <a:ext uri="{FF2B5EF4-FFF2-40B4-BE49-F238E27FC236}">
                <a16:creationId xmlns:a16="http://schemas.microsoft.com/office/drawing/2014/main" id="{7B5E5380-41E4-4E46-89AE-9BD0CA8DAAE3}"/>
              </a:ext>
            </a:extLst>
          </p:cNvPr>
          <p:cNvSpPr>
            <a:spLocks noGrp="1"/>
          </p:cNvSpPr>
          <p:nvPr>
            <p:ph type="sldNum" sz="quarter" idx="12"/>
          </p:nvPr>
        </p:nvSpPr>
        <p:spPr/>
        <p:txBody>
          <a:bodyPr/>
          <a:lstStyle/>
          <a:p>
            <a:fld id="{7F43BC75-A8B3-524C-9CB1-17F14D0EA8E1}" type="slidenum">
              <a:rPr lang="en-US" smtClean="0"/>
              <a:pPr/>
              <a:t>35</a:t>
            </a:fld>
            <a:endParaRPr lang="en-US" dirty="0"/>
          </a:p>
        </p:txBody>
      </p:sp>
    </p:spTree>
    <p:extLst>
      <p:ext uri="{BB962C8B-B14F-4D97-AF65-F5344CB8AC3E}">
        <p14:creationId xmlns:p14="http://schemas.microsoft.com/office/powerpoint/2010/main" val="42831704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CEA67C2-3F73-704A-A3CE-D5562E61A6CC}"/>
              </a:ext>
            </a:extLst>
          </p:cNvPr>
          <p:cNvSpPr/>
          <p:nvPr/>
        </p:nvSpPr>
        <p:spPr>
          <a:xfrm>
            <a:off x="-22860" y="0"/>
            <a:ext cx="12191999" cy="6911022"/>
          </a:xfrm>
          <a:prstGeom prst="rect">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3189897" y="2827085"/>
            <a:ext cx="5521426" cy="1197340"/>
          </a:xfrm>
        </p:spPr>
        <p:txBody>
          <a:bodyPr anchor="ctr">
            <a:noAutofit/>
          </a:bodyPr>
          <a:lstStyle/>
          <a:p>
            <a:pPr algn="ctr"/>
            <a:r>
              <a:rPr lang="en-US" sz="6000" dirty="0">
                <a:solidFill>
                  <a:srgbClr val="FDCF3D"/>
                </a:solidFill>
              </a:rPr>
              <a:t>Solutions from Cells to Society</a:t>
            </a:r>
          </a:p>
        </p:txBody>
      </p:sp>
      <p:sp>
        <p:nvSpPr>
          <p:cNvPr id="14" name="Rectangle 13">
            <a:extLst>
              <a:ext uri="{FF2B5EF4-FFF2-40B4-BE49-F238E27FC236}">
                <a16:creationId xmlns:a16="http://schemas.microsoft.com/office/drawing/2014/main" id="{EB6BFBDA-FE6B-BB40-BD00-55659888D126}"/>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pic>
        <p:nvPicPr>
          <p:cNvPr id="4" name="Picture 3">
            <a:extLst>
              <a:ext uri="{FF2B5EF4-FFF2-40B4-BE49-F238E27FC236}">
                <a16:creationId xmlns:a16="http://schemas.microsoft.com/office/drawing/2014/main" id="{D55F9828-B7AA-274C-B4B2-05BA4FBF48C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16200000">
            <a:off x="-1869851" y="1846993"/>
            <a:ext cx="6906739" cy="3212756"/>
          </a:xfrm>
          <a:prstGeom prst="rect">
            <a:avLst/>
          </a:prstGeom>
        </p:spPr>
      </p:pic>
      <p:pic>
        <p:nvPicPr>
          <p:cNvPr id="8" name="Picture 7" descr="A close - up of the moon&#10;&#10;Description automatically generated with medium confidence">
            <a:extLst>
              <a:ext uri="{FF2B5EF4-FFF2-40B4-BE49-F238E27FC236}">
                <a16:creationId xmlns:a16="http://schemas.microsoft.com/office/drawing/2014/main" id="{A8FEBFB1-25F2-0C41-AA65-BA7E4177930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847438" y="-12233"/>
            <a:ext cx="3344562" cy="6875976"/>
          </a:xfrm>
          <a:prstGeom prst="rect">
            <a:avLst/>
          </a:prstGeom>
          <a:ln>
            <a:noFill/>
          </a:ln>
        </p:spPr>
      </p:pic>
      <p:sp>
        <p:nvSpPr>
          <p:cNvPr id="11" name="Rectangle 10">
            <a:extLst>
              <a:ext uri="{FF2B5EF4-FFF2-40B4-BE49-F238E27FC236}">
                <a16:creationId xmlns:a16="http://schemas.microsoft.com/office/drawing/2014/main" id="{C3A7E8A8-5257-084B-909E-2F65FB721085}"/>
              </a:ext>
            </a:extLst>
          </p:cNvPr>
          <p:cNvSpPr/>
          <p:nvPr/>
        </p:nvSpPr>
        <p:spPr>
          <a:xfrm flipV="1">
            <a:off x="648523" y="6062596"/>
            <a:ext cx="11051266" cy="18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3" name="Slide Number Placeholder 5">
            <a:extLst>
              <a:ext uri="{FF2B5EF4-FFF2-40B4-BE49-F238E27FC236}">
                <a16:creationId xmlns:a16="http://schemas.microsoft.com/office/drawing/2014/main" id="{2DBCCC74-8354-2244-9290-827FB393F0CC}"/>
              </a:ext>
            </a:extLst>
          </p:cNvPr>
          <p:cNvSpPr txBox="1">
            <a:spLocks/>
          </p:cNvSpPr>
          <p:nvPr/>
        </p:nvSpPr>
        <p:spPr>
          <a:xfrm>
            <a:off x="11236411" y="6129337"/>
            <a:ext cx="463378" cy="365125"/>
          </a:xfrm>
          <a:prstGeom prst="rect">
            <a:avLst/>
          </a:prstGeom>
        </p:spPr>
        <p:txBody>
          <a:bodyPr vert="horz" lIns="91440" tIns="45720" rIns="91440" bIns="45720" rtlCol="0" anchor="ctr"/>
          <a:lstStyle>
            <a:defPPr>
              <a:defRPr lang="en-US"/>
            </a:defPPr>
            <a:lvl1pPr marL="0" algn="r" defTabSz="914400" rtl="0" eaLnBrk="1" latinLnBrk="0" hangingPunct="1">
              <a:defRPr sz="1000" b="0" i="0" kern="1200">
                <a:solidFill>
                  <a:srgbClr val="412181"/>
                </a:solidFill>
                <a:latin typeface="NeueHaasGroteskDisp Pro" panose="020B0504020202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43BC75-A8B3-524C-9CB1-17F14D0EA8E1}" type="slidenum">
              <a:rPr lang="en-US" smtClean="0">
                <a:solidFill>
                  <a:schemeClr val="bg1"/>
                </a:solidFill>
              </a:rPr>
              <a:pPr/>
              <a:t>36</a:t>
            </a:fld>
            <a:endParaRPr lang="en-US" dirty="0">
              <a:solidFill>
                <a:schemeClr val="bg1"/>
              </a:solidFill>
            </a:endParaRPr>
          </a:p>
        </p:txBody>
      </p:sp>
      <p:pic>
        <p:nvPicPr>
          <p:cNvPr id="15" name="Picture 14">
            <a:extLst>
              <a:ext uri="{FF2B5EF4-FFF2-40B4-BE49-F238E27FC236}">
                <a16:creationId xmlns:a16="http://schemas.microsoft.com/office/drawing/2014/main" id="{3F1F6DE9-E731-2049-B677-9ECF58DC68F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2323" y="6217338"/>
            <a:ext cx="397595" cy="290379"/>
          </a:xfrm>
          <a:prstGeom prst="rect">
            <a:avLst/>
          </a:prstGeom>
        </p:spPr>
      </p:pic>
      <p:sp>
        <p:nvSpPr>
          <p:cNvPr id="3" name="Slide Number Placeholder 2">
            <a:extLst>
              <a:ext uri="{FF2B5EF4-FFF2-40B4-BE49-F238E27FC236}">
                <a16:creationId xmlns:a16="http://schemas.microsoft.com/office/drawing/2014/main" id="{B6AB61E6-A6BF-7240-9FEA-F42224F083E3}"/>
              </a:ext>
            </a:extLst>
          </p:cNvPr>
          <p:cNvSpPr>
            <a:spLocks noGrp="1"/>
          </p:cNvSpPr>
          <p:nvPr>
            <p:ph type="sldNum" sz="quarter" idx="12"/>
          </p:nvPr>
        </p:nvSpPr>
        <p:spPr/>
        <p:txBody>
          <a:bodyPr/>
          <a:lstStyle/>
          <a:p>
            <a:fld id="{7F43BC75-A8B3-524C-9CB1-17F14D0EA8E1}" type="slidenum">
              <a:rPr lang="en-US" smtClean="0">
                <a:solidFill>
                  <a:schemeClr val="bg1"/>
                </a:solidFill>
              </a:rPr>
              <a:pPr/>
              <a:t>36</a:t>
            </a:fld>
            <a:endParaRPr lang="en-US" dirty="0">
              <a:solidFill>
                <a:schemeClr val="bg1"/>
              </a:solidFill>
            </a:endParaRPr>
          </a:p>
        </p:txBody>
      </p:sp>
    </p:spTree>
    <p:extLst>
      <p:ext uri="{BB962C8B-B14F-4D97-AF65-F5344CB8AC3E}">
        <p14:creationId xmlns:p14="http://schemas.microsoft.com/office/powerpoint/2010/main" val="21328272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C32DA06-B71A-6244-8AA3-9D50AB1AF1B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101781" y="363538"/>
            <a:ext cx="3090219" cy="6181344"/>
          </a:xfrm>
          <a:prstGeom prst="rect">
            <a:avLst/>
          </a:prstGeom>
        </p:spPr>
      </p:pic>
      <p:pic>
        <p:nvPicPr>
          <p:cNvPr id="4" name="Picture 3" descr="A close - up of a flower&#10;&#10;Description automatically generated with medium confidence">
            <a:extLst>
              <a:ext uri="{FF2B5EF4-FFF2-40B4-BE49-F238E27FC236}">
                <a16:creationId xmlns:a16="http://schemas.microsoft.com/office/drawing/2014/main" id="{E92256F1-C836-6048-8319-411828C92A5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3392"/>
            <a:ext cx="3862138" cy="6858000"/>
          </a:xfrm>
          <a:prstGeom prst="rect">
            <a:avLst/>
          </a:prstGeom>
        </p:spPr>
      </p:pic>
      <p:sp>
        <p:nvSpPr>
          <p:cNvPr id="14" name="Rectangle 13">
            <a:extLst>
              <a:ext uri="{FF2B5EF4-FFF2-40B4-BE49-F238E27FC236}">
                <a16:creationId xmlns:a16="http://schemas.microsoft.com/office/drawing/2014/main" id="{00F0BB02-F129-8E4A-8AE8-C44F3EFE4F71}"/>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2" name="Slide Number Placeholder 5">
            <a:extLst>
              <a:ext uri="{FF2B5EF4-FFF2-40B4-BE49-F238E27FC236}">
                <a16:creationId xmlns:a16="http://schemas.microsoft.com/office/drawing/2014/main" id="{B8A52747-4968-B240-A9DE-C61B48C81B84}"/>
              </a:ext>
            </a:extLst>
          </p:cNvPr>
          <p:cNvSpPr>
            <a:spLocks noGrp="1"/>
          </p:cNvSpPr>
          <p:nvPr>
            <p:ph type="sldNum" sz="quarter" idx="12"/>
          </p:nvPr>
        </p:nvSpPr>
        <p:spPr/>
        <p:txBody>
          <a:bodyPr/>
          <a:lstStyle>
            <a:lvl1pPr>
              <a:defRPr sz="1000">
                <a:solidFill>
                  <a:srgbClr val="412181"/>
                </a:solidFill>
              </a:defRPr>
            </a:lvl1pPr>
          </a:lstStyle>
          <a:p>
            <a:fld id="{7F43BC75-A8B3-524C-9CB1-17F14D0EA8E1}" type="slidenum">
              <a:rPr lang="en-US" smtClean="0">
                <a:solidFill>
                  <a:schemeClr val="bg1"/>
                </a:solidFill>
                <a:latin typeface="NeueHaasGroteskDisp Pro" panose="020B0504020202020204" pitchFamily="34" charset="77"/>
              </a:rPr>
              <a:pPr/>
              <a:t>37</a:t>
            </a:fld>
            <a:endParaRPr lang="en-US" dirty="0">
              <a:solidFill>
                <a:schemeClr val="bg1"/>
              </a:solidFill>
              <a:latin typeface="NeueHaasGroteskDisp Pro" panose="020B0504020202020204" pitchFamily="34" charset="77"/>
            </a:endParaRPr>
          </a:p>
        </p:txBody>
      </p:sp>
      <p:sp>
        <p:nvSpPr>
          <p:cNvPr id="16" name="Title 1">
            <a:extLst>
              <a:ext uri="{FF2B5EF4-FFF2-40B4-BE49-F238E27FC236}">
                <a16:creationId xmlns:a16="http://schemas.microsoft.com/office/drawing/2014/main" id="{D9E1E54D-0175-FC41-A65A-18661D4101BC}"/>
              </a:ext>
            </a:extLst>
          </p:cNvPr>
          <p:cNvSpPr txBox="1">
            <a:spLocks/>
          </p:cNvSpPr>
          <p:nvPr/>
        </p:nvSpPr>
        <p:spPr>
          <a:xfrm>
            <a:off x="3450849" y="2137015"/>
            <a:ext cx="5488613" cy="263439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0" i="0" kern="1200">
                <a:solidFill>
                  <a:srgbClr val="412181"/>
                </a:solidFill>
                <a:latin typeface="NeueHaasGroteskDisp Pro Md" panose="020B0504020202020204" pitchFamily="34" charset="77"/>
                <a:ea typeface="+mj-ea"/>
                <a:cs typeface="+mj-cs"/>
              </a:defRPr>
            </a:lvl1pPr>
          </a:lstStyle>
          <a:p>
            <a:pPr algn="ctr"/>
            <a:r>
              <a:rPr lang="en-US" sz="6000" dirty="0">
                <a:solidFill>
                  <a:srgbClr val="3E1C84"/>
                </a:solidFill>
              </a:rPr>
              <a:t>Solutions from Cells to Society</a:t>
            </a:r>
          </a:p>
        </p:txBody>
      </p:sp>
      <p:pic>
        <p:nvPicPr>
          <p:cNvPr id="23" name="Picture 22">
            <a:extLst>
              <a:ext uri="{FF2B5EF4-FFF2-40B4-BE49-F238E27FC236}">
                <a16:creationId xmlns:a16="http://schemas.microsoft.com/office/drawing/2014/main" id="{4294CB0F-197F-4942-AF13-085C2EA8FF7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2323" y="6204084"/>
            <a:ext cx="397595" cy="290378"/>
          </a:xfrm>
          <a:prstGeom prst="rect">
            <a:avLst/>
          </a:prstGeom>
        </p:spPr>
      </p:pic>
    </p:spTree>
    <p:extLst>
      <p:ext uri="{BB962C8B-B14F-4D97-AF65-F5344CB8AC3E}">
        <p14:creationId xmlns:p14="http://schemas.microsoft.com/office/powerpoint/2010/main" val="37475876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19" y="445723"/>
            <a:ext cx="11172569" cy="1094451"/>
          </a:xfrm>
        </p:spPr>
        <p:txBody>
          <a:bodyPr>
            <a:noAutofit/>
          </a:bodyPr>
          <a:lstStyle/>
          <a:p>
            <a:r>
              <a:rPr lang="en-US" dirty="0"/>
              <a:t>This is how a table of information looks.</a:t>
            </a:r>
            <a:endParaRPr lang="en-US" dirty="0">
              <a:latin typeface="NeueHaasGroteskDisp Pro Md" panose="020B0504020202020204" pitchFamily="34" charset="77"/>
            </a:endParaRPr>
          </a:p>
        </p:txBody>
      </p:sp>
      <p:sp>
        <p:nvSpPr>
          <p:cNvPr id="15" name="Rectangle 14">
            <a:extLst>
              <a:ext uri="{FF2B5EF4-FFF2-40B4-BE49-F238E27FC236}">
                <a16:creationId xmlns:a16="http://schemas.microsoft.com/office/drawing/2014/main" id="{2D5E9F68-0C4E-4D4C-B20A-D62B766E7DA0}"/>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9" name="Date Placeholder 3">
            <a:extLst>
              <a:ext uri="{FF2B5EF4-FFF2-40B4-BE49-F238E27FC236}">
                <a16:creationId xmlns:a16="http://schemas.microsoft.com/office/drawing/2014/main" id="{88EFAF7A-8AFF-A348-8411-EB797E4ACF35}"/>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tx2"/>
                </a:solidFill>
              </a:rPr>
              <a:t>XX/XX/XXXX</a:t>
            </a:r>
          </a:p>
        </p:txBody>
      </p:sp>
      <p:sp>
        <p:nvSpPr>
          <p:cNvPr id="10" name="Slide Number Placeholder 5">
            <a:extLst>
              <a:ext uri="{FF2B5EF4-FFF2-40B4-BE49-F238E27FC236}">
                <a16:creationId xmlns:a16="http://schemas.microsoft.com/office/drawing/2014/main" id="{F7B2ED2F-1604-9545-8A02-46660C47ABC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pPr/>
              <a:t>38</a:t>
            </a:fld>
            <a:endParaRPr lang="en-US" dirty="0"/>
          </a:p>
        </p:txBody>
      </p:sp>
      <p:sp>
        <p:nvSpPr>
          <p:cNvPr id="16" name="Footer Placeholder 4">
            <a:extLst>
              <a:ext uri="{FF2B5EF4-FFF2-40B4-BE49-F238E27FC236}">
                <a16:creationId xmlns:a16="http://schemas.microsoft.com/office/drawing/2014/main" id="{97D6E4B6-5566-5940-B43C-F92886AE55E2}"/>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pPr algn="l"/>
            <a:r>
              <a:rPr lang="en-US" dirty="0"/>
              <a:t>Presentation Title</a:t>
            </a:r>
          </a:p>
        </p:txBody>
      </p:sp>
      <p:graphicFrame>
        <p:nvGraphicFramePr>
          <p:cNvPr id="27" name="Table 488">
            <a:extLst>
              <a:ext uri="{FF2B5EF4-FFF2-40B4-BE49-F238E27FC236}">
                <a16:creationId xmlns:a16="http://schemas.microsoft.com/office/drawing/2014/main" id="{E06B8CBD-3790-1140-8324-DFE181B8B367}"/>
              </a:ext>
            </a:extLst>
          </p:cNvPr>
          <p:cNvGraphicFramePr/>
          <p:nvPr>
            <p:extLst>
              <p:ext uri="{D42A27DB-BD31-4B8C-83A1-F6EECF244321}">
                <p14:modId xmlns:p14="http://schemas.microsoft.com/office/powerpoint/2010/main" val="863902878"/>
              </p:ext>
            </p:extLst>
          </p:nvPr>
        </p:nvGraphicFramePr>
        <p:xfrm>
          <a:off x="1354672" y="1533503"/>
          <a:ext cx="9527110" cy="4046401"/>
        </p:xfrm>
        <a:graphic>
          <a:graphicData uri="http://schemas.openxmlformats.org/drawingml/2006/table">
            <a:tbl>
              <a:tblPr firstRow="1" firstCol="1"/>
              <a:tblGrid>
                <a:gridCol w="1905422">
                  <a:extLst>
                    <a:ext uri="{9D8B030D-6E8A-4147-A177-3AD203B41FA5}">
                      <a16:colId xmlns:a16="http://schemas.microsoft.com/office/drawing/2014/main" val="20000"/>
                    </a:ext>
                  </a:extLst>
                </a:gridCol>
                <a:gridCol w="1905422">
                  <a:extLst>
                    <a:ext uri="{9D8B030D-6E8A-4147-A177-3AD203B41FA5}">
                      <a16:colId xmlns:a16="http://schemas.microsoft.com/office/drawing/2014/main" val="20001"/>
                    </a:ext>
                  </a:extLst>
                </a:gridCol>
                <a:gridCol w="1905422">
                  <a:extLst>
                    <a:ext uri="{9D8B030D-6E8A-4147-A177-3AD203B41FA5}">
                      <a16:colId xmlns:a16="http://schemas.microsoft.com/office/drawing/2014/main" val="20002"/>
                    </a:ext>
                  </a:extLst>
                </a:gridCol>
                <a:gridCol w="1905422">
                  <a:extLst>
                    <a:ext uri="{9D8B030D-6E8A-4147-A177-3AD203B41FA5}">
                      <a16:colId xmlns:a16="http://schemas.microsoft.com/office/drawing/2014/main" val="20003"/>
                    </a:ext>
                  </a:extLst>
                </a:gridCol>
                <a:gridCol w="1905422">
                  <a:extLst>
                    <a:ext uri="{9D8B030D-6E8A-4147-A177-3AD203B41FA5}">
                      <a16:colId xmlns:a16="http://schemas.microsoft.com/office/drawing/2014/main" val="20004"/>
                    </a:ext>
                  </a:extLst>
                </a:gridCol>
              </a:tblGrid>
              <a:tr h="361951">
                <a:tc gridSpan="5">
                  <a:txBody>
                    <a:bodyPr/>
                    <a:lstStyle/>
                    <a:p>
                      <a:pPr algn="l">
                        <a:defRPr sz="1800" b="0">
                          <a:solidFill>
                            <a:srgbClr val="000000"/>
                          </a:solidFill>
                        </a:defRPr>
                      </a:pPr>
                      <a:r>
                        <a:rPr sz="2000" b="0" i="0" dirty="0">
                          <a:latin typeface="NeueHaasGroteskDisp Pro" panose="020B0504020202020204" pitchFamily="34" charset="0"/>
                          <a:ea typeface="Helvetica Bold" charset="0"/>
                          <a:cs typeface="Helvetica Bold" charset="0"/>
                          <a:sym typeface="Neue Haas Grotesk Display Std 95 Black"/>
                        </a:rPr>
                        <a:t>Table Title</a:t>
                      </a:r>
                    </a:p>
                  </a:txBody>
                  <a:tcPr marL="25400" marR="25400" marT="25400" marB="25400" horzOverflow="overflow">
                    <a:lnL/>
                    <a:lnR/>
                    <a:lnT/>
                    <a:lnB w="0">
                      <a:miter lim="400000"/>
                    </a:lnB>
                    <a:solidFill>
                      <a:srgbClr val="000000">
                        <a:alpha val="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14075">
                <a:tc>
                  <a:txBody>
                    <a:bodyPr/>
                    <a:lstStyle/>
                    <a:p>
                      <a:pPr marL="182880" defTabSz="914400">
                        <a:defRPr sz="1800" b="0">
                          <a:solidFill>
                            <a:srgbClr val="000000"/>
                          </a:solidFill>
                        </a:defRPr>
                      </a:pPr>
                      <a:r>
                        <a:rPr sz="1500" b="0" i="0" dirty="0">
                          <a:solidFill>
                            <a:srgbClr val="FDCF3D"/>
                          </a:solidFill>
                          <a:latin typeface="NeueHaasGroteskDisp Pro" panose="020B0504020202020204" pitchFamily="34" charset="0"/>
                          <a:ea typeface="Helvetica Bold" charset="0"/>
                          <a:cs typeface="Helvetica Bold" charset="0"/>
                          <a:sym typeface="Neue Haas Grotesk Display Std 95 Black"/>
                        </a:rPr>
                        <a:t>Age</a:t>
                      </a:r>
                    </a:p>
                  </a:txBody>
                  <a:tcPr marL="22860" marR="22860" marT="22860" marB="22860" anchor="ctr" horzOverflow="overflow">
                    <a:lnL w="0">
                      <a:miter lim="400000"/>
                    </a:lnL>
                    <a:lnR w="63500">
                      <a:solidFill>
                        <a:srgbClr val="FFFFFF"/>
                      </a:solidFill>
                    </a:lnR>
                    <a:lnT w="0">
                      <a:miter lim="400000"/>
                    </a:lnT>
                    <a:lnB w="63500">
                      <a:solidFill>
                        <a:srgbClr val="FFFFFF"/>
                      </a:solidFill>
                    </a:lnB>
                    <a:solidFill>
                      <a:srgbClr val="412181"/>
                    </a:solidFill>
                  </a:tcPr>
                </a:tc>
                <a:tc>
                  <a:txBody>
                    <a:bodyPr/>
                    <a:lstStyle/>
                    <a:p>
                      <a:pPr marL="182880" defTabSz="914400">
                        <a:defRPr sz="1800"/>
                      </a:pPr>
                      <a:r>
                        <a:rPr sz="1600" b="0" i="0" dirty="0">
                          <a:solidFill>
                            <a:srgbClr val="FFFFFF"/>
                          </a:solidFill>
                          <a:latin typeface="NeueHaasGroteskDisp Pro" panose="020B0504020202020204" pitchFamily="34" charset="0"/>
                          <a:ea typeface="Helvetica Bold" charset="0"/>
                          <a:cs typeface="Helvetica Bold" charset="0"/>
                          <a:sym typeface="Neue Haas Grotesk Display Std 95 Black"/>
                        </a:rPr>
                        <a:t>Apple</a:t>
                      </a:r>
                    </a:p>
                  </a:txBody>
                  <a:tcPr marL="22860" marR="22860" marT="22860" marB="22860" anchor="ctr" horzOverflow="overflow">
                    <a:lnL w="63500">
                      <a:solidFill>
                        <a:srgbClr val="FFFFFF"/>
                      </a:solidFill>
                    </a:lnL>
                    <a:lnR w="63500">
                      <a:solidFill>
                        <a:srgbClr val="FFFFFF"/>
                      </a:solidFill>
                    </a:lnR>
                    <a:lnT w="0">
                      <a:miter lim="400000"/>
                    </a:lnT>
                    <a:lnB w="63500">
                      <a:solidFill>
                        <a:srgbClr val="FFFFFF"/>
                      </a:solidFill>
                    </a:lnB>
                    <a:solidFill>
                      <a:srgbClr val="412181"/>
                    </a:solidFill>
                  </a:tcPr>
                </a:tc>
                <a:tc>
                  <a:txBody>
                    <a:bodyPr/>
                    <a:lstStyle/>
                    <a:p>
                      <a:pPr marL="182880" defTabSz="914400">
                        <a:defRPr sz="1800"/>
                      </a:pPr>
                      <a:r>
                        <a:rPr sz="1600" b="0" i="0" dirty="0">
                          <a:solidFill>
                            <a:srgbClr val="FFFFFF"/>
                          </a:solidFill>
                          <a:latin typeface="NeueHaasGroteskDisp Pro" panose="020B0504020202020204" pitchFamily="34" charset="0"/>
                          <a:ea typeface="Helvetica Bold" charset="0"/>
                          <a:cs typeface="Helvetica Bold" charset="0"/>
                          <a:sym typeface="Neue Haas Grotesk Display Std 95 Black"/>
                        </a:rPr>
                        <a:t>Cherry</a:t>
                      </a:r>
                    </a:p>
                  </a:txBody>
                  <a:tcPr marL="22860" marR="22860" marT="22860" marB="22860" anchor="ctr" horzOverflow="overflow">
                    <a:lnL w="63500">
                      <a:solidFill>
                        <a:srgbClr val="FFFFFF"/>
                      </a:solidFill>
                    </a:lnL>
                    <a:lnR w="63500">
                      <a:solidFill>
                        <a:srgbClr val="FFFFFF"/>
                      </a:solidFill>
                    </a:lnR>
                    <a:lnT w="0">
                      <a:miter lim="400000"/>
                    </a:lnT>
                    <a:lnB w="63500">
                      <a:solidFill>
                        <a:srgbClr val="FFFFFF"/>
                      </a:solidFill>
                    </a:lnB>
                    <a:solidFill>
                      <a:srgbClr val="412181"/>
                    </a:solidFill>
                  </a:tcPr>
                </a:tc>
                <a:tc>
                  <a:txBody>
                    <a:bodyPr/>
                    <a:lstStyle/>
                    <a:p>
                      <a:pPr marL="182880" defTabSz="914400">
                        <a:defRPr sz="1800"/>
                      </a:pPr>
                      <a:r>
                        <a:rPr sz="1600" b="0" i="0" dirty="0">
                          <a:solidFill>
                            <a:srgbClr val="FFFFFF"/>
                          </a:solidFill>
                          <a:latin typeface="NeueHaasGroteskDisp Pro" panose="020B0504020202020204" pitchFamily="34" charset="0"/>
                          <a:ea typeface="Helvetica Bold" charset="0"/>
                          <a:cs typeface="Helvetica Bold" charset="0"/>
                          <a:sym typeface="Neue Haas Grotesk Display Std 95 Black"/>
                        </a:rPr>
                        <a:t>Pumpkin</a:t>
                      </a:r>
                    </a:p>
                  </a:txBody>
                  <a:tcPr marL="22860" marR="22860" marT="22860" marB="22860" anchor="ctr" horzOverflow="overflow">
                    <a:lnL w="63500">
                      <a:solidFill>
                        <a:srgbClr val="FFFFFF"/>
                      </a:solidFill>
                    </a:lnL>
                    <a:lnR w="63500">
                      <a:solidFill>
                        <a:srgbClr val="FFFFFF"/>
                      </a:solidFill>
                    </a:lnR>
                    <a:lnT w="0">
                      <a:miter lim="400000"/>
                    </a:lnT>
                    <a:lnB w="63500">
                      <a:solidFill>
                        <a:srgbClr val="FFFFFF"/>
                      </a:solidFill>
                    </a:lnB>
                    <a:solidFill>
                      <a:srgbClr val="412181"/>
                    </a:solidFill>
                  </a:tcPr>
                </a:tc>
                <a:tc>
                  <a:txBody>
                    <a:bodyPr/>
                    <a:lstStyle/>
                    <a:p>
                      <a:pPr marL="182880" defTabSz="914400">
                        <a:defRPr sz="1800"/>
                      </a:pPr>
                      <a:r>
                        <a:rPr sz="1600" b="0" i="0" dirty="0">
                          <a:solidFill>
                            <a:srgbClr val="FFFFFF"/>
                          </a:solidFill>
                          <a:latin typeface="NeueHaasGroteskDisp Pro" panose="020B0504020202020204" pitchFamily="34" charset="0"/>
                          <a:ea typeface="Helvetica Bold" charset="0"/>
                          <a:cs typeface="Helvetica Bold" charset="0"/>
                          <a:sym typeface="Neue Haas Grotesk Display Std 95 Black"/>
                        </a:rPr>
                        <a:t>Pecan</a:t>
                      </a:r>
                    </a:p>
                  </a:txBody>
                  <a:tcPr marL="22860" marR="22860" marT="22860" marB="22860" anchor="ctr" horzOverflow="overflow">
                    <a:lnL w="63500">
                      <a:solidFill>
                        <a:srgbClr val="FFFFFF"/>
                      </a:solidFill>
                    </a:lnL>
                    <a:lnR w="0">
                      <a:miter lim="400000"/>
                    </a:lnR>
                    <a:lnT w="0">
                      <a:miter lim="400000"/>
                    </a:lnT>
                    <a:lnB w="63500">
                      <a:solidFill>
                        <a:srgbClr val="FFFFFF"/>
                      </a:solidFill>
                    </a:lnB>
                    <a:solidFill>
                      <a:srgbClr val="412181"/>
                    </a:solidFill>
                  </a:tcPr>
                </a:tc>
                <a:extLst>
                  <a:ext uri="{0D108BD9-81ED-4DB2-BD59-A6C34878D82A}">
                    <a16:rowId xmlns:a16="http://schemas.microsoft.com/office/drawing/2014/main" val="10001"/>
                  </a:ext>
                </a:extLst>
              </a:tr>
              <a:tr h="614075">
                <a:tc>
                  <a:txBody>
                    <a:bodyPr/>
                    <a:lstStyle/>
                    <a:p>
                      <a:pPr marL="182880" defTabSz="914400">
                        <a:defRPr sz="1800" b="0">
                          <a:solidFill>
                            <a:srgbClr val="000000"/>
                          </a:solidFill>
                        </a:defRPr>
                      </a:pPr>
                      <a:r>
                        <a:rPr sz="1600" b="0" i="0" dirty="0">
                          <a:latin typeface="NeueHaasGroteskDisp Pro" panose="020B0504020202020204" pitchFamily="34" charset="0"/>
                          <a:ea typeface="Helvetica Bold" charset="0"/>
                          <a:cs typeface="Helvetica Bold" charset="0"/>
                          <a:sym typeface="Neue Haas Grotesk Display Std 95 Black"/>
                        </a:rPr>
                        <a:t>2-10</a:t>
                      </a:r>
                    </a:p>
                  </a:txBody>
                  <a:tcPr marL="22860" marR="22860" marT="22860" marB="22860" anchor="ctr" horzOverflow="overflow">
                    <a:lnL w="0">
                      <a:miter lim="400000"/>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456</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789</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0">
                      <a:miter lim="400000"/>
                    </a:lnR>
                    <a:lnT w="63500">
                      <a:solidFill>
                        <a:srgbClr val="FFFFFF"/>
                      </a:solidFill>
                    </a:lnT>
                    <a:lnB w="63500">
                      <a:solidFill>
                        <a:srgbClr val="FFFFFF"/>
                      </a:solidFill>
                    </a:lnB>
                    <a:solidFill>
                      <a:schemeClr val="accent6">
                        <a:lumMod val="20000"/>
                        <a:lumOff val="80000"/>
                      </a:schemeClr>
                    </a:solidFill>
                  </a:tcPr>
                </a:tc>
                <a:extLst>
                  <a:ext uri="{0D108BD9-81ED-4DB2-BD59-A6C34878D82A}">
                    <a16:rowId xmlns:a16="http://schemas.microsoft.com/office/drawing/2014/main" val="10002"/>
                  </a:ext>
                </a:extLst>
              </a:tr>
              <a:tr h="614075">
                <a:tc>
                  <a:txBody>
                    <a:bodyPr/>
                    <a:lstStyle/>
                    <a:p>
                      <a:pPr marL="182880" defTabSz="914400">
                        <a:defRPr sz="1800" b="0">
                          <a:solidFill>
                            <a:srgbClr val="000000"/>
                          </a:solidFill>
                        </a:defRPr>
                      </a:pPr>
                      <a:r>
                        <a:rPr sz="1600" b="0" i="0" dirty="0">
                          <a:latin typeface="NeueHaasGroteskDisp Pro" panose="020B0504020202020204" pitchFamily="34" charset="0"/>
                          <a:ea typeface="Helvetica Bold" charset="0"/>
                          <a:cs typeface="Helvetica Bold" charset="0"/>
                          <a:sym typeface="Neue Haas Grotesk Display Std 95 Black"/>
                        </a:rPr>
                        <a:t>11-20</a:t>
                      </a:r>
                    </a:p>
                  </a:txBody>
                  <a:tcPr marL="22860" marR="22860" marT="22860" marB="22860" anchor="ctr" horzOverflow="overflow">
                    <a:lnL w="0">
                      <a:miter lim="400000"/>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456</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789</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0">
                      <a:miter lim="400000"/>
                    </a:lnR>
                    <a:lnT w="63500">
                      <a:solidFill>
                        <a:srgbClr val="FFFFFF"/>
                      </a:solidFill>
                    </a:lnT>
                    <a:lnB w="63500">
                      <a:solidFill>
                        <a:srgbClr val="FFFFFF"/>
                      </a:solidFill>
                    </a:lnB>
                    <a:solidFill>
                      <a:schemeClr val="accent6">
                        <a:lumMod val="40000"/>
                        <a:lumOff val="60000"/>
                      </a:schemeClr>
                    </a:solidFill>
                  </a:tcPr>
                </a:tc>
                <a:extLst>
                  <a:ext uri="{0D108BD9-81ED-4DB2-BD59-A6C34878D82A}">
                    <a16:rowId xmlns:a16="http://schemas.microsoft.com/office/drawing/2014/main" val="10003"/>
                  </a:ext>
                </a:extLst>
              </a:tr>
              <a:tr h="614075">
                <a:tc>
                  <a:txBody>
                    <a:bodyPr/>
                    <a:lstStyle/>
                    <a:p>
                      <a:pPr marL="182880" defTabSz="914400">
                        <a:defRPr sz="1800" b="0">
                          <a:solidFill>
                            <a:srgbClr val="000000"/>
                          </a:solidFill>
                        </a:defRPr>
                      </a:pPr>
                      <a:r>
                        <a:rPr sz="1600" b="0" i="0" dirty="0">
                          <a:latin typeface="NeueHaasGroteskDisp Pro" panose="020B0504020202020204" pitchFamily="34" charset="0"/>
                          <a:ea typeface="Helvetica Bold" charset="0"/>
                          <a:cs typeface="Helvetica Bold" charset="0"/>
                          <a:sym typeface="Neue Haas Grotesk Display Std 95 Black"/>
                        </a:rPr>
                        <a:t>21-30</a:t>
                      </a:r>
                    </a:p>
                  </a:txBody>
                  <a:tcPr marL="22860" marR="22860" marT="22860" marB="22860" anchor="ctr" horzOverflow="overflow">
                    <a:lnL w="0">
                      <a:miter lim="400000"/>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456</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789</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0">
                      <a:miter lim="400000"/>
                    </a:lnR>
                    <a:lnT w="63500">
                      <a:solidFill>
                        <a:srgbClr val="FFFFFF"/>
                      </a:solidFill>
                    </a:lnT>
                    <a:lnB w="63500">
                      <a:solidFill>
                        <a:srgbClr val="FFFFFF"/>
                      </a:solidFill>
                    </a:lnB>
                    <a:solidFill>
                      <a:schemeClr val="accent6">
                        <a:lumMod val="20000"/>
                        <a:lumOff val="80000"/>
                      </a:schemeClr>
                    </a:solidFill>
                  </a:tcPr>
                </a:tc>
                <a:extLst>
                  <a:ext uri="{0D108BD9-81ED-4DB2-BD59-A6C34878D82A}">
                    <a16:rowId xmlns:a16="http://schemas.microsoft.com/office/drawing/2014/main" val="10004"/>
                  </a:ext>
                </a:extLst>
              </a:tr>
              <a:tr h="614075">
                <a:tc>
                  <a:txBody>
                    <a:bodyPr/>
                    <a:lstStyle/>
                    <a:p>
                      <a:pPr marL="182880" defTabSz="914400">
                        <a:defRPr sz="1800" b="0">
                          <a:solidFill>
                            <a:srgbClr val="000000"/>
                          </a:solidFill>
                        </a:defRPr>
                      </a:pPr>
                      <a:r>
                        <a:rPr sz="1600" b="0" i="0" dirty="0">
                          <a:latin typeface="NeueHaasGroteskDisp Pro" panose="020B0504020202020204" pitchFamily="34" charset="0"/>
                          <a:ea typeface="Helvetica Bold" charset="0"/>
                          <a:cs typeface="Helvetica Bold" charset="0"/>
                          <a:sym typeface="Neue Haas Grotesk Display Std 95 Black"/>
                        </a:rPr>
                        <a:t>31-50</a:t>
                      </a:r>
                    </a:p>
                  </a:txBody>
                  <a:tcPr marL="22860" marR="22860" marT="22860" marB="22860" anchor="ctr" horzOverflow="overflow">
                    <a:lnL w="0">
                      <a:miter lim="400000"/>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456</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789</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0">
                      <a:miter lim="400000"/>
                    </a:lnR>
                    <a:lnT w="63500">
                      <a:solidFill>
                        <a:srgbClr val="FFFFFF"/>
                      </a:solidFill>
                    </a:lnT>
                    <a:lnB w="63500">
                      <a:solidFill>
                        <a:srgbClr val="FFFFFF"/>
                      </a:solidFill>
                    </a:lnB>
                    <a:solidFill>
                      <a:schemeClr val="accent6">
                        <a:lumMod val="40000"/>
                        <a:lumOff val="60000"/>
                      </a:schemeClr>
                    </a:solidFill>
                  </a:tcPr>
                </a:tc>
                <a:extLst>
                  <a:ext uri="{0D108BD9-81ED-4DB2-BD59-A6C34878D82A}">
                    <a16:rowId xmlns:a16="http://schemas.microsoft.com/office/drawing/2014/main" val="10005"/>
                  </a:ext>
                </a:extLst>
              </a:tr>
              <a:tr h="614075">
                <a:tc>
                  <a:txBody>
                    <a:bodyPr/>
                    <a:lstStyle/>
                    <a:p>
                      <a:pPr marL="182880" defTabSz="914400">
                        <a:defRPr sz="1800" b="0">
                          <a:solidFill>
                            <a:srgbClr val="000000"/>
                          </a:solidFill>
                        </a:defRPr>
                      </a:pPr>
                      <a:r>
                        <a:rPr sz="1600" b="0" i="0" dirty="0">
                          <a:latin typeface="NeueHaasGroteskDisp Pro" panose="020B0504020202020204" pitchFamily="34" charset="0"/>
                          <a:ea typeface="Helvetica Bold" charset="0"/>
                          <a:cs typeface="Helvetica Bold" charset="0"/>
                          <a:sym typeface="Neue Haas Grotesk Display Std 95 Black"/>
                        </a:rPr>
                        <a:t>50+</a:t>
                      </a:r>
                    </a:p>
                  </a:txBody>
                  <a:tcPr marL="22860" marR="22860" marT="22860" marB="22860" anchor="ctr" horzOverflow="overflow">
                    <a:lnL w="0">
                      <a:miter lim="400000"/>
                    </a:lnL>
                    <a:lnR w="63500">
                      <a:solidFill>
                        <a:srgbClr val="FFFFFF"/>
                      </a:solidFill>
                    </a:lnR>
                    <a:lnT w="63500">
                      <a:solidFill>
                        <a:srgbClr val="FFFFFF"/>
                      </a:solidFill>
                    </a:lnT>
                    <a:lnB w="0">
                      <a:miter lim="400000"/>
                    </a:lnB>
                    <a:solidFill>
                      <a:schemeClr val="accent6">
                        <a:lumMod val="20000"/>
                        <a:lumOff val="8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63500">
                      <a:solidFill>
                        <a:srgbClr val="FFFFFF"/>
                      </a:solidFill>
                    </a:lnR>
                    <a:lnT w="63500">
                      <a:solidFill>
                        <a:srgbClr val="FFFFFF"/>
                      </a:solidFill>
                    </a:lnT>
                    <a:lnB w="0">
                      <a:miter lim="400000"/>
                    </a:lnB>
                    <a:solidFill>
                      <a:schemeClr val="accent6">
                        <a:lumMod val="20000"/>
                        <a:lumOff val="8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456</a:t>
                      </a:r>
                    </a:p>
                  </a:txBody>
                  <a:tcPr marL="22860" marR="22860" marT="22860" marB="22860" anchor="ctr" horzOverflow="overflow">
                    <a:lnL w="63500">
                      <a:solidFill>
                        <a:srgbClr val="FFFFFF"/>
                      </a:solidFill>
                    </a:lnL>
                    <a:lnR w="63500">
                      <a:solidFill>
                        <a:srgbClr val="FFFFFF"/>
                      </a:solidFill>
                    </a:lnR>
                    <a:lnT w="63500">
                      <a:solidFill>
                        <a:srgbClr val="FFFFFF"/>
                      </a:solidFill>
                    </a:lnT>
                    <a:lnB w="0">
                      <a:miter lim="400000"/>
                    </a:lnB>
                    <a:solidFill>
                      <a:schemeClr val="accent6">
                        <a:lumMod val="20000"/>
                        <a:lumOff val="8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789</a:t>
                      </a:r>
                    </a:p>
                  </a:txBody>
                  <a:tcPr marL="22860" marR="22860" marT="22860" marB="22860" anchor="ctr" horzOverflow="overflow">
                    <a:lnL w="63500">
                      <a:solidFill>
                        <a:srgbClr val="FFFFFF"/>
                      </a:solidFill>
                    </a:lnL>
                    <a:lnR w="63500">
                      <a:solidFill>
                        <a:srgbClr val="FFFFFF"/>
                      </a:solidFill>
                    </a:lnR>
                    <a:lnT w="63500">
                      <a:solidFill>
                        <a:srgbClr val="FFFFFF"/>
                      </a:solidFill>
                    </a:lnT>
                    <a:lnB w="0">
                      <a:miter lim="400000"/>
                    </a:lnB>
                    <a:solidFill>
                      <a:schemeClr val="accent6">
                        <a:lumMod val="20000"/>
                        <a:lumOff val="80000"/>
                      </a:schemeClr>
                    </a:solidFill>
                  </a:tcPr>
                </a:tc>
                <a:tc>
                  <a:txBody>
                    <a:bodyPr/>
                    <a:lstStyle/>
                    <a:p>
                      <a:pPr marL="182880" defTabSz="914400">
                        <a:defRPr sz="1800"/>
                      </a:pPr>
                      <a:r>
                        <a:rPr sz="1500" b="0" i="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0">
                      <a:miter lim="400000"/>
                    </a:lnR>
                    <a:lnT w="63500">
                      <a:solidFill>
                        <a:srgbClr val="FFFFFF"/>
                      </a:solidFill>
                    </a:lnT>
                    <a:lnB w="0">
                      <a:miter lim="400000"/>
                    </a:lnB>
                    <a:solidFill>
                      <a:schemeClr val="accent6">
                        <a:lumMod val="20000"/>
                        <a:lumOff val="80000"/>
                      </a:schemeClr>
                    </a:solidFill>
                  </a:tcPr>
                </a:tc>
                <a:extLst>
                  <a:ext uri="{0D108BD9-81ED-4DB2-BD59-A6C34878D82A}">
                    <a16:rowId xmlns:a16="http://schemas.microsoft.com/office/drawing/2014/main" val="10006"/>
                  </a:ext>
                </a:extLst>
              </a:tr>
            </a:tbl>
          </a:graphicData>
        </a:graphic>
      </p:graphicFrame>
      <p:sp>
        <p:nvSpPr>
          <p:cNvPr id="29" name="Rectangle 28">
            <a:extLst>
              <a:ext uri="{FF2B5EF4-FFF2-40B4-BE49-F238E27FC236}">
                <a16:creationId xmlns:a16="http://schemas.microsoft.com/office/drawing/2014/main" id="{3622AC14-1E74-184E-AF72-6AEB076CB403}"/>
              </a:ext>
            </a:extLst>
          </p:cNvPr>
          <p:cNvSpPr/>
          <p:nvPr/>
        </p:nvSpPr>
        <p:spPr>
          <a:xfrm>
            <a:off x="1447438" y="5637501"/>
            <a:ext cx="9527107" cy="207749"/>
          </a:xfrm>
          <a:prstGeom prst="rect">
            <a:avLst/>
          </a:prstGeom>
        </p:spPr>
        <p:txBody>
          <a:bodyPr wrap="square">
            <a:spAutoFit/>
          </a:bodyPr>
          <a:lstStyle/>
          <a:p>
            <a:pPr algn="r"/>
            <a:r>
              <a:rPr lang="en-US" sz="750" spc="36" dirty="0">
                <a:latin typeface="NeueHaasGroteskDisp Pro" panose="020B0504020202020204" pitchFamily="34" charset="0"/>
                <a:ea typeface="Consolas"/>
                <a:cs typeface="Consolas"/>
                <a:sym typeface="Consolas"/>
              </a:rPr>
              <a:t>Lorem ipsum dolor sit </a:t>
            </a:r>
            <a:r>
              <a:rPr lang="en-US" sz="750" spc="36" dirty="0" err="1">
                <a:latin typeface="NeueHaasGroteskDisp Pro" panose="020B0504020202020204" pitchFamily="34" charset="0"/>
                <a:ea typeface="Consolas"/>
                <a:cs typeface="Consolas"/>
                <a:sym typeface="Consolas"/>
              </a:rPr>
              <a:t>amet</a:t>
            </a:r>
            <a:r>
              <a:rPr lang="en-US" sz="750" spc="36" dirty="0">
                <a:latin typeface="NeueHaasGroteskDisp Pro" panose="020B0504020202020204" pitchFamily="34" charset="0"/>
                <a:ea typeface="Consolas"/>
                <a:cs typeface="Consolas"/>
                <a:sym typeface="Consolas"/>
              </a:rPr>
              <a:t> </a:t>
            </a:r>
            <a:r>
              <a:rPr lang="en-US" sz="750" spc="36" dirty="0" err="1">
                <a:latin typeface="NeueHaasGroteskDisp Pro" panose="020B0504020202020204" pitchFamily="34" charset="0"/>
                <a:ea typeface="Consolas"/>
                <a:cs typeface="Consolas"/>
                <a:sym typeface="Consolas"/>
              </a:rPr>
              <a:t>consecteur</a:t>
            </a:r>
            <a:r>
              <a:rPr lang="en-US" sz="750" spc="36" dirty="0">
                <a:latin typeface="NeueHaasGroteskDisp Pro" panose="020B0504020202020204" pitchFamily="34" charset="0"/>
                <a:ea typeface="Consolas"/>
                <a:cs typeface="Consolas"/>
                <a:sym typeface="Consolas"/>
              </a:rPr>
              <a:t> </a:t>
            </a:r>
            <a:r>
              <a:rPr lang="en-US" sz="750" spc="36" dirty="0" err="1">
                <a:latin typeface="NeueHaasGroteskDisp Pro" panose="020B0504020202020204" pitchFamily="34" charset="0"/>
                <a:ea typeface="Consolas"/>
                <a:cs typeface="Consolas"/>
                <a:sym typeface="Consolas"/>
              </a:rPr>
              <a:t>exeanibh</a:t>
            </a:r>
            <a:r>
              <a:rPr lang="en-US" sz="750" spc="36" dirty="0">
                <a:latin typeface="NeueHaasGroteskDisp Pro" panose="020B0504020202020204" pitchFamily="34" charset="0"/>
                <a:ea typeface="Consolas"/>
                <a:cs typeface="Consolas"/>
                <a:sym typeface="Consolas"/>
              </a:rPr>
              <a:t> </a:t>
            </a:r>
            <a:r>
              <a:rPr lang="en-US" sz="750" spc="36" dirty="0" err="1">
                <a:latin typeface="NeueHaasGroteskDisp Pro" panose="020B0504020202020204" pitchFamily="34" charset="0"/>
                <a:ea typeface="Consolas"/>
                <a:cs typeface="Consolas"/>
                <a:sym typeface="Consolas"/>
              </a:rPr>
              <a:t>adscpicing</a:t>
            </a:r>
            <a:r>
              <a:rPr lang="en-US" sz="750" spc="36" dirty="0">
                <a:latin typeface="NeueHaasGroteskDisp Pro" panose="020B0504020202020204" pitchFamily="34" charset="0"/>
                <a:ea typeface="Consolas"/>
                <a:cs typeface="Consolas"/>
                <a:sym typeface="Consolas"/>
              </a:rPr>
              <a:t> vellum </a:t>
            </a:r>
            <a:r>
              <a:rPr lang="en-US" sz="750" spc="36" dirty="0" err="1">
                <a:latin typeface="NeueHaasGroteskDisp Pro" panose="020B0504020202020204" pitchFamily="34" charset="0"/>
                <a:ea typeface="Consolas"/>
                <a:cs typeface="Consolas"/>
                <a:sym typeface="Consolas"/>
              </a:rPr>
              <a:t>presentae</a:t>
            </a:r>
            <a:r>
              <a:rPr lang="en-US" sz="750" spc="36" dirty="0">
                <a:latin typeface="NeueHaasGroteskDisp Pro" panose="020B0504020202020204" pitchFamily="34" charset="0"/>
                <a:ea typeface="Consolas"/>
                <a:cs typeface="Consolas"/>
                <a:sym typeface="Consolas"/>
              </a:rPr>
              <a:t> </a:t>
            </a:r>
            <a:r>
              <a:rPr lang="en-US" sz="750" spc="36" dirty="0" err="1">
                <a:latin typeface="NeueHaasGroteskDisp Pro" panose="020B0504020202020204" pitchFamily="34" charset="0"/>
                <a:ea typeface="Consolas"/>
                <a:cs typeface="Consolas"/>
                <a:sym typeface="Consolas"/>
              </a:rPr>
              <a:t>molor</a:t>
            </a:r>
            <a:r>
              <a:rPr lang="en-US" sz="750" spc="36" dirty="0">
                <a:latin typeface="NeueHaasGroteskDisp Pro" panose="020B0504020202020204" pitchFamily="34" charset="0"/>
                <a:ea typeface="Consolas"/>
                <a:cs typeface="Consolas"/>
                <a:sym typeface="Consolas"/>
              </a:rPr>
              <a:t>. ©2017 Lorem Ipsum Dolor</a:t>
            </a:r>
            <a:endParaRPr lang="en-US" sz="750" dirty="0">
              <a:latin typeface="NeueHaasGroteskDisp Pro" panose="020B0504020202020204" pitchFamily="34" charset="0"/>
              <a:ea typeface="Helvetica Regular" charset="0"/>
              <a:cs typeface="Helvetica Regular" charset="0"/>
            </a:endParaRPr>
          </a:p>
        </p:txBody>
      </p:sp>
    </p:spTree>
    <p:extLst>
      <p:ext uri="{BB962C8B-B14F-4D97-AF65-F5344CB8AC3E}">
        <p14:creationId xmlns:p14="http://schemas.microsoft.com/office/powerpoint/2010/main" val="11827361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19" y="445723"/>
            <a:ext cx="11172569" cy="1094451"/>
          </a:xfrm>
        </p:spPr>
        <p:txBody>
          <a:bodyPr>
            <a:noAutofit/>
          </a:bodyPr>
          <a:lstStyle/>
          <a:p>
            <a:r>
              <a:rPr lang="en-US" dirty="0"/>
              <a:t>This is a different example of a table.</a:t>
            </a:r>
            <a:endParaRPr lang="en-US" dirty="0">
              <a:latin typeface="NeueHaasGroteskDisp Pro Md" panose="020B0504020202020204" pitchFamily="34" charset="77"/>
            </a:endParaRPr>
          </a:p>
        </p:txBody>
      </p:sp>
      <p:sp>
        <p:nvSpPr>
          <p:cNvPr id="15" name="Rectangle 14">
            <a:extLst>
              <a:ext uri="{FF2B5EF4-FFF2-40B4-BE49-F238E27FC236}">
                <a16:creationId xmlns:a16="http://schemas.microsoft.com/office/drawing/2014/main" id="{2D5E9F68-0C4E-4D4C-B20A-D62B766E7DA0}"/>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9" name="Date Placeholder 3">
            <a:extLst>
              <a:ext uri="{FF2B5EF4-FFF2-40B4-BE49-F238E27FC236}">
                <a16:creationId xmlns:a16="http://schemas.microsoft.com/office/drawing/2014/main" id="{88EFAF7A-8AFF-A348-8411-EB797E4ACF35}"/>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tx2"/>
                </a:solidFill>
              </a:rPr>
              <a:t>XX/XX/XXXX</a:t>
            </a:r>
          </a:p>
        </p:txBody>
      </p:sp>
      <p:sp>
        <p:nvSpPr>
          <p:cNvPr id="10" name="Slide Number Placeholder 5">
            <a:extLst>
              <a:ext uri="{FF2B5EF4-FFF2-40B4-BE49-F238E27FC236}">
                <a16:creationId xmlns:a16="http://schemas.microsoft.com/office/drawing/2014/main" id="{F7B2ED2F-1604-9545-8A02-46660C47ABC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latin typeface="NeueHaasGroteskDisp Pro" panose="020B0504020202020204" pitchFamily="34" charset="77"/>
              </a:rPr>
              <a:pPr/>
              <a:t>39</a:t>
            </a:fld>
            <a:endParaRPr lang="en-US" dirty="0">
              <a:latin typeface="NeueHaasGroteskDisp Pro" panose="020B0504020202020204" pitchFamily="34" charset="77"/>
            </a:endParaRPr>
          </a:p>
        </p:txBody>
      </p:sp>
      <p:sp>
        <p:nvSpPr>
          <p:cNvPr id="16" name="Footer Placeholder 4">
            <a:extLst>
              <a:ext uri="{FF2B5EF4-FFF2-40B4-BE49-F238E27FC236}">
                <a16:creationId xmlns:a16="http://schemas.microsoft.com/office/drawing/2014/main" id="{97D6E4B6-5566-5940-B43C-F92886AE55E2}"/>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pPr algn="l"/>
            <a:r>
              <a:rPr lang="en-US" dirty="0">
                <a:latin typeface="NeueHaasGroteskDisp Pro" panose="020B0504020202020204" pitchFamily="34" charset="77"/>
              </a:rPr>
              <a:t>Presentation Title</a:t>
            </a:r>
          </a:p>
        </p:txBody>
      </p:sp>
      <p:graphicFrame>
        <p:nvGraphicFramePr>
          <p:cNvPr id="27" name="Table 488">
            <a:extLst>
              <a:ext uri="{FF2B5EF4-FFF2-40B4-BE49-F238E27FC236}">
                <a16:creationId xmlns:a16="http://schemas.microsoft.com/office/drawing/2014/main" id="{E06B8CBD-3790-1140-8324-DFE181B8B367}"/>
              </a:ext>
            </a:extLst>
          </p:cNvPr>
          <p:cNvGraphicFramePr/>
          <p:nvPr>
            <p:extLst>
              <p:ext uri="{D42A27DB-BD31-4B8C-83A1-F6EECF244321}">
                <p14:modId xmlns:p14="http://schemas.microsoft.com/office/powerpoint/2010/main" val="3437718358"/>
              </p:ext>
            </p:extLst>
          </p:nvPr>
        </p:nvGraphicFramePr>
        <p:xfrm>
          <a:off x="1354672" y="1533503"/>
          <a:ext cx="9527110" cy="4046401"/>
        </p:xfrm>
        <a:graphic>
          <a:graphicData uri="http://schemas.openxmlformats.org/drawingml/2006/table">
            <a:tbl>
              <a:tblPr firstRow="1" firstCol="1"/>
              <a:tblGrid>
                <a:gridCol w="1905422">
                  <a:extLst>
                    <a:ext uri="{9D8B030D-6E8A-4147-A177-3AD203B41FA5}">
                      <a16:colId xmlns:a16="http://schemas.microsoft.com/office/drawing/2014/main" val="20000"/>
                    </a:ext>
                  </a:extLst>
                </a:gridCol>
                <a:gridCol w="1905422">
                  <a:extLst>
                    <a:ext uri="{9D8B030D-6E8A-4147-A177-3AD203B41FA5}">
                      <a16:colId xmlns:a16="http://schemas.microsoft.com/office/drawing/2014/main" val="20001"/>
                    </a:ext>
                  </a:extLst>
                </a:gridCol>
                <a:gridCol w="1905422">
                  <a:extLst>
                    <a:ext uri="{9D8B030D-6E8A-4147-A177-3AD203B41FA5}">
                      <a16:colId xmlns:a16="http://schemas.microsoft.com/office/drawing/2014/main" val="20002"/>
                    </a:ext>
                  </a:extLst>
                </a:gridCol>
                <a:gridCol w="1905422">
                  <a:extLst>
                    <a:ext uri="{9D8B030D-6E8A-4147-A177-3AD203B41FA5}">
                      <a16:colId xmlns:a16="http://schemas.microsoft.com/office/drawing/2014/main" val="20003"/>
                    </a:ext>
                  </a:extLst>
                </a:gridCol>
                <a:gridCol w="1905422">
                  <a:extLst>
                    <a:ext uri="{9D8B030D-6E8A-4147-A177-3AD203B41FA5}">
                      <a16:colId xmlns:a16="http://schemas.microsoft.com/office/drawing/2014/main" val="20004"/>
                    </a:ext>
                  </a:extLst>
                </a:gridCol>
              </a:tblGrid>
              <a:tr h="361951">
                <a:tc gridSpan="5">
                  <a:txBody>
                    <a:bodyPr/>
                    <a:lstStyle/>
                    <a:p>
                      <a:pPr algn="l">
                        <a:defRPr sz="1800" b="0">
                          <a:solidFill>
                            <a:srgbClr val="000000"/>
                          </a:solidFill>
                        </a:defRPr>
                      </a:pPr>
                      <a:r>
                        <a:rPr sz="2000" b="0" i="0" dirty="0">
                          <a:latin typeface="NeueHaasGroteskDisp Pro Md" panose="020B0504020202020204" pitchFamily="34" charset="77"/>
                          <a:ea typeface="Helvetica Bold" charset="0"/>
                          <a:cs typeface="Helvetica Bold" charset="0"/>
                          <a:sym typeface="Neue Haas Grotesk Display Std 95 Black"/>
                        </a:rPr>
                        <a:t>Table Title</a:t>
                      </a:r>
                    </a:p>
                  </a:txBody>
                  <a:tcPr marL="25400" marR="25400" marT="25400" marB="25400" horzOverflow="overflow">
                    <a:lnL/>
                    <a:lnR/>
                    <a:lnT/>
                    <a:lnB w="0">
                      <a:noFill/>
                      <a:miter lim="400000"/>
                    </a:lnB>
                    <a:solidFill>
                      <a:srgbClr val="000000">
                        <a:alpha val="0"/>
                      </a:srgb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14075">
                <a:tc>
                  <a:txBody>
                    <a:bodyPr/>
                    <a:lstStyle/>
                    <a:p>
                      <a:pPr marL="182880" marR="0" indent="0" algn="ctr" defTabSz="914400" rtl="0" eaLnBrk="1" latinLnBrk="0" hangingPunct="1">
                        <a:lnSpc>
                          <a:spcPct val="100000"/>
                        </a:lnSpc>
                        <a:spcBef>
                          <a:spcPts val="0"/>
                        </a:spcBef>
                        <a:spcAft>
                          <a:spcPts val="0"/>
                        </a:spcAft>
                        <a:buClrTx/>
                        <a:buSzTx/>
                        <a:buFontTx/>
                        <a:buNone/>
                        <a:tabLst/>
                        <a:defRPr sz="1800">
                          <a:solidFill>
                            <a:srgbClr val="FFFFFF"/>
                          </a:solidFill>
                          <a:latin typeface="Futura LT Pro Bold"/>
                          <a:ea typeface="Futura LT Pro Bold"/>
                          <a:cs typeface="Futura LT Pro Bold"/>
                          <a:sym typeface="Futura LT Pro Bold"/>
                        </a:defRPr>
                      </a:pPr>
                      <a:endParaRPr sz="1000" dirty="0">
                        <a:latin typeface="NeueHaasGroteskDisp Pro" panose="020B0504020202020204" pitchFamily="34" charset="0"/>
                      </a:endParaRPr>
                    </a:p>
                  </a:txBody>
                  <a:tcPr marL="22860" marR="22860" marT="22860" marB="22860" anchor="ctr" horzOverflow="overflow">
                    <a:lnL w="0">
                      <a:miter lim="400000"/>
                    </a:lnL>
                    <a:lnR w="63500">
                      <a:solidFill>
                        <a:srgbClr val="FFFFFF"/>
                      </a:solidFill>
                    </a:lnR>
                    <a:lnT w="0">
                      <a:miter lim="400000"/>
                    </a:lnT>
                    <a:lnB w="63500">
                      <a:solidFill>
                        <a:srgbClr val="FFFFFF"/>
                      </a:solidFill>
                    </a:lnB>
                    <a:solidFill>
                      <a:schemeClr val="tx2"/>
                    </a:solidFill>
                  </a:tcPr>
                </a:tc>
                <a:tc>
                  <a:txBody>
                    <a:bodyPr/>
                    <a:lstStyle/>
                    <a:p>
                      <a:pPr marL="182880" defTabSz="914400">
                        <a:defRPr sz="1800"/>
                      </a:pPr>
                      <a:r>
                        <a:rPr sz="1600" b="1" i="0" dirty="0">
                          <a:solidFill>
                            <a:srgbClr val="FFFFFF"/>
                          </a:solidFill>
                          <a:latin typeface="NeueHaasGroteskDisp Pro Md" panose="020B0604020202020204" pitchFamily="34" charset="0"/>
                          <a:ea typeface="Helvetica Bold" charset="0"/>
                          <a:cs typeface="Helvetica Bold" charset="0"/>
                          <a:sym typeface="Neue Haas Grotesk Display Std 95 Black"/>
                        </a:rPr>
                        <a:t>Apple</a:t>
                      </a:r>
                    </a:p>
                  </a:txBody>
                  <a:tcPr marL="22860" marR="22860" marT="22860" marB="22860" anchor="ctr" horzOverflow="overflow">
                    <a:lnL w="63500">
                      <a:solidFill>
                        <a:srgbClr val="FFFFFF"/>
                      </a:solidFill>
                    </a:lnL>
                    <a:lnR w="63500">
                      <a:solidFill>
                        <a:srgbClr val="FFFFFF"/>
                      </a:solidFill>
                    </a:lnR>
                    <a:lnT w="0">
                      <a:miter lim="400000"/>
                    </a:lnT>
                    <a:lnB w="63500">
                      <a:solidFill>
                        <a:srgbClr val="FFFFFF"/>
                      </a:solidFill>
                    </a:lnB>
                    <a:solidFill>
                      <a:schemeClr val="accent6"/>
                    </a:solidFill>
                  </a:tcPr>
                </a:tc>
                <a:tc>
                  <a:txBody>
                    <a:bodyPr/>
                    <a:lstStyle/>
                    <a:p>
                      <a:pPr marL="182880" defTabSz="914400">
                        <a:defRPr sz="1800"/>
                      </a:pPr>
                      <a:r>
                        <a:rPr sz="1600" b="1" i="0" dirty="0">
                          <a:solidFill>
                            <a:srgbClr val="FFFFFF"/>
                          </a:solidFill>
                          <a:latin typeface="NeueHaasGroteskDisp Pro Md" panose="020B0604020202020204" pitchFamily="34" charset="0"/>
                          <a:ea typeface="Helvetica Bold" charset="0"/>
                          <a:cs typeface="Helvetica Bold" charset="0"/>
                          <a:sym typeface="Neue Haas Grotesk Display Std 95 Black"/>
                        </a:rPr>
                        <a:t>Cherry</a:t>
                      </a:r>
                    </a:p>
                  </a:txBody>
                  <a:tcPr marL="22860" marR="22860" marT="22860" marB="22860" anchor="ctr" horzOverflow="overflow">
                    <a:lnL w="63500">
                      <a:solidFill>
                        <a:srgbClr val="FFFFFF"/>
                      </a:solidFill>
                    </a:lnL>
                    <a:lnR w="63500">
                      <a:solidFill>
                        <a:srgbClr val="FFFFFF"/>
                      </a:solidFill>
                    </a:lnR>
                    <a:lnT w="0">
                      <a:miter lim="400000"/>
                    </a:lnT>
                    <a:lnB w="63500">
                      <a:solidFill>
                        <a:srgbClr val="FFFFFF"/>
                      </a:solidFill>
                    </a:lnB>
                    <a:solidFill>
                      <a:schemeClr val="accent6"/>
                    </a:solidFill>
                  </a:tcPr>
                </a:tc>
                <a:tc>
                  <a:txBody>
                    <a:bodyPr/>
                    <a:lstStyle/>
                    <a:p>
                      <a:pPr marL="182880" defTabSz="914400">
                        <a:defRPr sz="1800"/>
                      </a:pPr>
                      <a:r>
                        <a:rPr sz="1600" b="1" i="0" dirty="0">
                          <a:solidFill>
                            <a:srgbClr val="FFFFFF"/>
                          </a:solidFill>
                          <a:latin typeface="NeueHaasGroteskDisp Pro Md" panose="020B0604020202020204" pitchFamily="34" charset="0"/>
                          <a:ea typeface="Helvetica Bold" charset="0"/>
                          <a:cs typeface="Helvetica Bold" charset="0"/>
                          <a:sym typeface="Neue Haas Grotesk Display Std 95 Black"/>
                        </a:rPr>
                        <a:t>Pumpkin</a:t>
                      </a:r>
                    </a:p>
                  </a:txBody>
                  <a:tcPr marL="22860" marR="22860" marT="22860" marB="22860" anchor="ctr" horzOverflow="overflow">
                    <a:lnL w="63500">
                      <a:solidFill>
                        <a:srgbClr val="FFFFFF"/>
                      </a:solidFill>
                    </a:lnL>
                    <a:lnR w="63500">
                      <a:solidFill>
                        <a:srgbClr val="FFFFFF"/>
                      </a:solidFill>
                    </a:lnR>
                    <a:lnT w="0">
                      <a:miter lim="400000"/>
                    </a:lnT>
                    <a:lnB w="63500">
                      <a:solidFill>
                        <a:srgbClr val="FFFFFF"/>
                      </a:solidFill>
                    </a:lnB>
                    <a:solidFill>
                      <a:schemeClr val="accent6"/>
                    </a:solidFill>
                  </a:tcPr>
                </a:tc>
                <a:tc>
                  <a:txBody>
                    <a:bodyPr/>
                    <a:lstStyle/>
                    <a:p>
                      <a:pPr marL="182880" defTabSz="914400">
                        <a:defRPr sz="1800"/>
                      </a:pPr>
                      <a:r>
                        <a:rPr sz="1600" b="1" i="0" dirty="0">
                          <a:solidFill>
                            <a:srgbClr val="FFFFFF"/>
                          </a:solidFill>
                          <a:latin typeface="NeueHaasGroteskDisp Pro Md" panose="020B0604020202020204" pitchFamily="34" charset="0"/>
                          <a:ea typeface="Helvetica Bold" charset="0"/>
                          <a:cs typeface="Helvetica Bold" charset="0"/>
                          <a:sym typeface="Neue Haas Grotesk Display Std 95 Black"/>
                        </a:rPr>
                        <a:t>Pecan</a:t>
                      </a:r>
                    </a:p>
                  </a:txBody>
                  <a:tcPr marL="22860" marR="22860" marT="22860" marB="22860" anchor="ctr" horzOverflow="overflow">
                    <a:lnL w="63500">
                      <a:solidFill>
                        <a:srgbClr val="FFFFFF"/>
                      </a:solidFill>
                    </a:lnL>
                    <a:lnR w="0">
                      <a:miter lim="400000"/>
                    </a:lnR>
                    <a:lnT w="0">
                      <a:miter lim="400000"/>
                    </a:lnT>
                    <a:lnB w="63500">
                      <a:solidFill>
                        <a:srgbClr val="FFFFFF"/>
                      </a:solidFill>
                    </a:lnB>
                    <a:solidFill>
                      <a:schemeClr val="accent6"/>
                    </a:solidFill>
                  </a:tcPr>
                </a:tc>
                <a:extLst>
                  <a:ext uri="{0D108BD9-81ED-4DB2-BD59-A6C34878D82A}">
                    <a16:rowId xmlns:a16="http://schemas.microsoft.com/office/drawing/2014/main" val="10001"/>
                  </a:ext>
                </a:extLst>
              </a:tr>
              <a:tr h="614075">
                <a:tc>
                  <a:txBody>
                    <a:bodyPr/>
                    <a:lstStyle/>
                    <a:p>
                      <a:pPr marL="182880" defTabSz="914400">
                        <a:defRPr sz="1800"/>
                      </a:pPr>
                      <a:r>
                        <a:rPr sz="1600" b="1" i="0" dirty="0">
                          <a:solidFill>
                            <a:srgbClr val="FFFFFF"/>
                          </a:solidFill>
                          <a:latin typeface="NeueHaasGroteskDisp Pro Md" panose="020B0604020202020204" pitchFamily="34" charset="0"/>
                          <a:ea typeface="Helvetica Bold" charset="0"/>
                          <a:cs typeface="Helvetica Bold" charset="0"/>
                          <a:sym typeface="Neue Haas Grotesk Display Std 95 Black"/>
                        </a:rPr>
                        <a:t>Monday</a:t>
                      </a:r>
                    </a:p>
                  </a:txBody>
                  <a:tcPr marL="22860" marR="22860" marT="22860" marB="22860" anchor="ctr" horzOverflow="overflow">
                    <a:lnL w="0">
                      <a:miter lim="400000"/>
                    </a:lnL>
                    <a:lnR w="63500">
                      <a:solidFill>
                        <a:srgbClr val="FFFFFF"/>
                      </a:solidFill>
                    </a:lnR>
                    <a:lnT w="63500">
                      <a:solidFill>
                        <a:srgbClr val="FFFFFF"/>
                      </a:solidFill>
                    </a:lnT>
                    <a:lnB w="63500">
                      <a:solidFill>
                        <a:srgbClr val="FFFFFF"/>
                      </a:solidFill>
                    </a:lnB>
                    <a:solidFill>
                      <a:schemeClr val="accent6"/>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456</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789</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0">
                      <a:miter lim="400000"/>
                    </a:lnR>
                    <a:lnT w="63500">
                      <a:solidFill>
                        <a:srgbClr val="FFFFFF"/>
                      </a:solidFill>
                    </a:lnT>
                    <a:lnB w="63500">
                      <a:solidFill>
                        <a:srgbClr val="FFFFFF"/>
                      </a:solidFill>
                    </a:lnB>
                    <a:solidFill>
                      <a:schemeClr val="accent6">
                        <a:lumMod val="20000"/>
                        <a:lumOff val="80000"/>
                      </a:schemeClr>
                    </a:solidFill>
                  </a:tcPr>
                </a:tc>
                <a:extLst>
                  <a:ext uri="{0D108BD9-81ED-4DB2-BD59-A6C34878D82A}">
                    <a16:rowId xmlns:a16="http://schemas.microsoft.com/office/drawing/2014/main" val="10002"/>
                  </a:ext>
                </a:extLst>
              </a:tr>
              <a:tr h="614075">
                <a:tc>
                  <a:txBody>
                    <a:bodyPr/>
                    <a:lstStyle/>
                    <a:p>
                      <a:pPr marL="182880" defTabSz="914400">
                        <a:defRPr sz="1800"/>
                      </a:pPr>
                      <a:r>
                        <a:rPr sz="1600" b="1" i="0" dirty="0">
                          <a:solidFill>
                            <a:srgbClr val="FFFFFF"/>
                          </a:solidFill>
                          <a:latin typeface="NeueHaasGroteskDisp Pro Md" panose="020B0604020202020204" pitchFamily="34" charset="0"/>
                          <a:ea typeface="Helvetica Bold" charset="0"/>
                          <a:cs typeface="Helvetica Bold" charset="0"/>
                          <a:sym typeface="Neue Haas Grotesk Display Std 95 Black"/>
                        </a:rPr>
                        <a:t>Tuesday</a:t>
                      </a:r>
                    </a:p>
                  </a:txBody>
                  <a:tcPr marL="22860" marR="22860" marT="22860" marB="22860" anchor="ctr" horzOverflow="overflow">
                    <a:lnL w="0">
                      <a:miter lim="400000"/>
                    </a:lnL>
                    <a:lnR w="63500">
                      <a:solidFill>
                        <a:srgbClr val="FFFFFF"/>
                      </a:solidFill>
                    </a:lnR>
                    <a:lnT w="63500">
                      <a:solidFill>
                        <a:srgbClr val="FFFFFF"/>
                      </a:solidFill>
                    </a:lnT>
                    <a:lnB w="63500">
                      <a:solidFill>
                        <a:srgbClr val="FFFFFF"/>
                      </a:solidFill>
                    </a:lnB>
                    <a:solidFill>
                      <a:schemeClr val="accent6"/>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456</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789</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0">
                      <a:miter lim="400000"/>
                    </a:lnR>
                    <a:lnT w="63500">
                      <a:solidFill>
                        <a:srgbClr val="FFFFFF"/>
                      </a:solidFill>
                    </a:lnT>
                    <a:lnB w="63500">
                      <a:solidFill>
                        <a:srgbClr val="FFFFFF"/>
                      </a:solidFill>
                    </a:lnB>
                    <a:solidFill>
                      <a:schemeClr val="accent6">
                        <a:lumMod val="40000"/>
                        <a:lumOff val="60000"/>
                      </a:schemeClr>
                    </a:solidFill>
                  </a:tcPr>
                </a:tc>
                <a:extLst>
                  <a:ext uri="{0D108BD9-81ED-4DB2-BD59-A6C34878D82A}">
                    <a16:rowId xmlns:a16="http://schemas.microsoft.com/office/drawing/2014/main" val="10003"/>
                  </a:ext>
                </a:extLst>
              </a:tr>
              <a:tr h="614075">
                <a:tc>
                  <a:txBody>
                    <a:bodyPr/>
                    <a:lstStyle/>
                    <a:p>
                      <a:pPr marL="182880" defTabSz="914400">
                        <a:defRPr sz="1800"/>
                      </a:pPr>
                      <a:r>
                        <a:rPr sz="1600" b="1" i="0" dirty="0">
                          <a:solidFill>
                            <a:srgbClr val="FFFFFF"/>
                          </a:solidFill>
                          <a:latin typeface="NeueHaasGroteskDisp Pro Md" panose="020B0604020202020204" pitchFamily="34" charset="0"/>
                          <a:ea typeface="Helvetica Bold" charset="0"/>
                          <a:cs typeface="Helvetica Bold" charset="0"/>
                          <a:sym typeface="Neue Haas Grotesk Display Std 95 Black"/>
                        </a:rPr>
                        <a:t>Wednesday</a:t>
                      </a:r>
                    </a:p>
                  </a:txBody>
                  <a:tcPr marL="22860" marR="22860" marT="22860" marB="22860" anchor="ctr" horzOverflow="overflow">
                    <a:lnL w="0">
                      <a:miter lim="400000"/>
                    </a:lnL>
                    <a:lnR w="63500">
                      <a:solidFill>
                        <a:srgbClr val="FFFFFF"/>
                      </a:solidFill>
                    </a:lnR>
                    <a:lnT w="63500">
                      <a:solidFill>
                        <a:srgbClr val="FFFFFF"/>
                      </a:solidFill>
                    </a:lnT>
                    <a:lnB w="63500">
                      <a:solidFill>
                        <a:srgbClr val="FFFFFF"/>
                      </a:solidFill>
                    </a:lnB>
                    <a:solidFill>
                      <a:schemeClr val="accent6"/>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456</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789</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20000"/>
                        <a:lumOff val="8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0">
                      <a:miter lim="400000"/>
                    </a:lnR>
                    <a:lnT w="63500">
                      <a:solidFill>
                        <a:srgbClr val="FFFFFF"/>
                      </a:solidFill>
                    </a:lnT>
                    <a:lnB w="63500">
                      <a:solidFill>
                        <a:srgbClr val="FFFFFF"/>
                      </a:solidFill>
                    </a:lnB>
                    <a:solidFill>
                      <a:schemeClr val="accent6">
                        <a:lumMod val="20000"/>
                        <a:lumOff val="80000"/>
                      </a:schemeClr>
                    </a:solidFill>
                  </a:tcPr>
                </a:tc>
                <a:extLst>
                  <a:ext uri="{0D108BD9-81ED-4DB2-BD59-A6C34878D82A}">
                    <a16:rowId xmlns:a16="http://schemas.microsoft.com/office/drawing/2014/main" val="10004"/>
                  </a:ext>
                </a:extLst>
              </a:tr>
              <a:tr h="614075">
                <a:tc>
                  <a:txBody>
                    <a:bodyPr/>
                    <a:lstStyle/>
                    <a:p>
                      <a:pPr marL="182880" defTabSz="914400">
                        <a:defRPr sz="1800"/>
                      </a:pPr>
                      <a:r>
                        <a:rPr sz="1600" b="1" i="0" dirty="0">
                          <a:solidFill>
                            <a:srgbClr val="FFFFFF"/>
                          </a:solidFill>
                          <a:latin typeface="NeueHaasGroteskDisp Pro Md" panose="020B0604020202020204" pitchFamily="34" charset="0"/>
                          <a:ea typeface="Helvetica Bold" charset="0"/>
                          <a:cs typeface="Helvetica Bold" charset="0"/>
                          <a:sym typeface="Neue Haas Grotesk Display Std 95 Black"/>
                        </a:rPr>
                        <a:t>Thursday</a:t>
                      </a:r>
                    </a:p>
                  </a:txBody>
                  <a:tcPr marL="22860" marR="22860" marT="22860" marB="22860" anchor="ctr" horzOverflow="overflow">
                    <a:lnL w="0">
                      <a:miter lim="400000"/>
                    </a:lnL>
                    <a:lnR w="63500">
                      <a:solidFill>
                        <a:srgbClr val="FFFFFF"/>
                      </a:solidFill>
                    </a:lnR>
                    <a:lnT w="63500">
                      <a:solidFill>
                        <a:srgbClr val="FFFFFF"/>
                      </a:solidFill>
                    </a:lnT>
                    <a:lnB w="63500">
                      <a:solidFill>
                        <a:srgbClr val="FFFFFF"/>
                      </a:solidFill>
                    </a:lnB>
                    <a:solidFill>
                      <a:schemeClr val="accent6"/>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456</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789</a:t>
                      </a:r>
                    </a:p>
                  </a:txBody>
                  <a:tcPr marL="22860" marR="22860" marT="22860" marB="22860" anchor="ctr" horzOverflow="overflow">
                    <a:lnL w="63500">
                      <a:solidFill>
                        <a:srgbClr val="FFFFFF"/>
                      </a:solidFill>
                    </a:lnL>
                    <a:lnR w="63500">
                      <a:solidFill>
                        <a:srgbClr val="FFFFFF"/>
                      </a:solidFill>
                    </a:lnR>
                    <a:lnT w="63500">
                      <a:solidFill>
                        <a:srgbClr val="FFFFFF"/>
                      </a:solidFill>
                    </a:lnT>
                    <a:lnB w="63500">
                      <a:solidFill>
                        <a:srgbClr val="FFFFFF"/>
                      </a:solidFill>
                    </a:lnB>
                    <a:solidFill>
                      <a:schemeClr val="accent6">
                        <a:lumMod val="40000"/>
                        <a:lumOff val="6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0">
                      <a:miter lim="400000"/>
                    </a:lnR>
                    <a:lnT w="63500">
                      <a:solidFill>
                        <a:srgbClr val="FFFFFF"/>
                      </a:solidFill>
                    </a:lnT>
                    <a:lnB w="63500">
                      <a:solidFill>
                        <a:srgbClr val="FFFFFF"/>
                      </a:solidFill>
                    </a:lnB>
                    <a:solidFill>
                      <a:schemeClr val="accent6">
                        <a:lumMod val="40000"/>
                        <a:lumOff val="60000"/>
                      </a:schemeClr>
                    </a:solidFill>
                  </a:tcPr>
                </a:tc>
                <a:extLst>
                  <a:ext uri="{0D108BD9-81ED-4DB2-BD59-A6C34878D82A}">
                    <a16:rowId xmlns:a16="http://schemas.microsoft.com/office/drawing/2014/main" val="10005"/>
                  </a:ext>
                </a:extLst>
              </a:tr>
              <a:tr h="614075">
                <a:tc>
                  <a:txBody>
                    <a:bodyPr/>
                    <a:lstStyle/>
                    <a:p>
                      <a:pPr marL="182880" defTabSz="914400">
                        <a:defRPr sz="1800"/>
                      </a:pPr>
                      <a:r>
                        <a:rPr sz="1600" b="1" i="0" dirty="0">
                          <a:solidFill>
                            <a:srgbClr val="FFFFFF"/>
                          </a:solidFill>
                          <a:latin typeface="NeueHaasGroteskDisp Pro Md" panose="020B0604020202020204" pitchFamily="34" charset="0"/>
                          <a:ea typeface="Helvetica Bold" charset="0"/>
                          <a:cs typeface="Helvetica Bold" charset="0"/>
                          <a:sym typeface="Neue Haas Grotesk Display Std 95 Black"/>
                        </a:rPr>
                        <a:t>Friday</a:t>
                      </a:r>
                    </a:p>
                  </a:txBody>
                  <a:tcPr marL="22860" marR="22860" marT="22860" marB="22860" anchor="ctr" horzOverflow="overflow">
                    <a:lnL w="0">
                      <a:miter lim="400000"/>
                    </a:lnL>
                    <a:lnR w="63500">
                      <a:solidFill>
                        <a:srgbClr val="FFFFFF"/>
                      </a:solidFill>
                    </a:lnR>
                    <a:lnT w="63500">
                      <a:solidFill>
                        <a:srgbClr val="FFFFFF"/>
                      </a:solidFill>
                    </a:lnT>
                    <a:lnB w="0">
                      <a:miter lim="400000"/>
                    </a:lnB>
                    <a:solidFill>
                      <a:schemeClr val="accent6"/>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63500">
                      <a:solidFill>
                        <a:srgbClr val="FFFFFF"/>
                      </a:solidFill>
                    </a:lnR>
                    <a:lnT w="63500">
                      <a:solidFill>
                        <a:srgbClr val="FFFFFF"/>
                      </a:solidFill>
                    </a:lnT>
                    <a:lnB w="0">
                      <a:miter lim="400000"/>
                    </a:lnB>
                    <a:solidFill>
                      <a:schemeClr val="accent6">
                        <a:lumMod val="20000"/>
                        <a:lumOff val="8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456</a:t>
                      </a:r>
                    </a:p>
                  </a:txBody>
                  <a:tcPr marL="22860" marR="22860" marT="22860" marB="22860" anchor="ctr" horzOverflow="overflow">
                    <a:lnL w="63500">
                      <a:solidFill>
                        <a:srgbClr val="FFFFFF"/>
                      </a:solidFill>
                    </a:lnL>
                    <a:lnR w="63500">
                      <a:solidFill>
                        <a:srgbClr val="FFFFFF"/>
                      </a:solidFill>
                    </a:lnR>
                    <a:lnT w="63500">
                      <a:solidFill>
                        <a:srgbClr val="FFFFFF"/>
                      </a:solidFill>
                    </a:lnT>
                    <a:lnB w="0">
                      <a:miter lim="400000"/>
                    </a:lnB>
                    <a:solidFill>
                      <a:schemeClr val="accent6">
                        <a:lumMod val="20000"/>
                        <a:lumOff val="8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789</a:t>
                      </a:r>
                    </a:p>
                  </a:txBody>
                  <a:tcPr marL="22860" marR="22860" marT="22860" marB="22860" anchor="ctr" horzOverflow="overflow">
                    <a:lnL w="63500">
                      <a:solidFill>
                        <a:srgbClr val="FFFFFF"/>
                      </a:solidFill>
                    </a:lnL>
                    <a:lnR w="63500">
                      <a:solidFill>
                        <a:srgbClr val="FFFFFF"/>
                      </a:solidFill>
                    </a:lnR>
                    <a:lnT w="63500">
                      <a:solidFill>
                        <a:srgbClr val="FFFFFF"/>
                      </a:solidFill>
                    </a:lnT>
                    <a:lnB w="0">
                      <a:miter lim="400000"/>
                    </a:lnB>
                    <a:solidFill>
                      <a:schemeClr val="accent6">
                        <a:lumMod val="20000"/>
                        <a:lumOff val="80000"/>
                      </a:schemeClr>
                    </a:solidFill>
                  </a:tcPr>
                </a:tc>
                <a:tc>
                  <a:txBody>
                    <a:bodyPr/>
                    <a:lstStyle/>
                    <a:p>
                      <a:pPr marL="182880" defTabSz="914400">
                        <a:defRPr sz="1800"/>
                      </a:pPr>
                      <a:r>
                        <a:rPr sz="1500" spc="119" dirty="0">
                          <a:latin typeface="NeueHaasGroteskDisp Pro" panose="020B0504020202020204" pitchFamily="34" charset="0"/>
                          <a:ea typeface="Consolas"/>
                          <a:cs typeface="Consolas"/>
                          <a:sym typeface="Consolas"/>
                        </a:rPr>
                        <a:t>123</a:t>
                      </a:r>
                    </a:p>
                  </a:txBody>
                  <a:tcPr marL="22860" marR="22860" marT="22860" marB="22860" anchor="ctr" horzOverflow="overflow">
                    <a:lnL w="63500">
                      <a:solidFill>
                        <a:srgbClr val="FFFFFF"/>
                      </a:solidFill>
                    </a:lnL>
                    <a:lnR w="0">
                      <a:miter lim="400000"/>
                    </a:lnR>
                    <a:lnT w="63500">
                      <a:solidFill>
                        <a:srgbClr val="FFFFFF"/>
                      </a:solidFill>
                    </a:lnT>
                    <a:lnB w="0">
                      <a:miter lim="400000"/>
                    </a:lnB>
                    <a:solidFill>
                      <a:schemeClr val="accent6">
                        <a:lumMod val="20000"/>
                        <a:lumOff val="80000"/>
                      </a:schemeClr>
                    </a:solidFill>
                  </a:tcPr>
                </a:tc>
                <a:extLst>
                  <a:ext uri="{0D108BD9-81ED-4DB2-BD59-A6C34878D82A}">
                    <a16:rowId xmlns:a16="http://schemas.microsoft.com/office/drawing/2014/main" val="10006"/>
                  </a:ext>
                </a:extLst>
              </a:tr>
            </a:tbl>
          </a:graphicData>
        </a:graphic>
      </p:graphicFrame>
      <p:sp>
        <p:nvSpPr>
          <p:cNvPr id="29" name="Rectangle 28">
            <a:extLst>
              <a:ext uri="{FF2B5EF4-FFF2-40B4-BE49-F238E27FC236}">
                <a16:creationId xmlns:a16="http://schemas.microsoft.com/office/drawing/2014/main" id="{3622AC14-1E74-184E-AF72-6AEB076CB403}"/>
              </a:ext>
            </a:extLst>
          </p:cNvPr>
          <p:cNvSpPr/>
          <p:nvPr/>
        </p:nvSpPr>
        <p:spPr>
          <a:xfrm>
            <a:off x="1447438" y="5637501"/>
            <a:ext cx="9527107" cy="207749"/>
          </a:xfrm>
          <a:prstGeom prst="rect">
            <a:avLst/>
          </a:prstGeom>
        </p:spPr>
        <p:txBody>
          <a:bodyPr wrap="square">
            <a:spAutoFit/>
          </a:bodyPr>
          <a:lstStyle/>
          <a:p>
            <a:pPr algn="r"/>
            <a:r>
              <a:rPr lang="en-US" sz="750" spc="36" dirty="0">
                <a:latin typeface="NeueHaasGroteskDisp Pro" panose="020B0504020202020204" pitchFamily="34" charset="77"/>
                <a:ea typeface="Consolas"/>
                <a:cs typeface="Consolas"/>
                <a:sym typeface="Consolas"/>
              </a:rPr>
              <a:t>Lorem ipsum dolor sit </a:t>
            </a:r>
            <a:r>
              <a:rPr lang="en-US" sz="750" spc="36" dirty="0" err="1">
                <a:latin typeface="NeueHaasGroteskDisp Pro" panose="020B0504020202020204" pitchFamily="34" charset="77"/>
                <a:ea typeface="Consolas"/>
                <a:cs typeface="Consolas"/>
                <a:sym typeface="Consolas"/>
              </a:rPr>
              <a:t>amet</a:t>
            </a:r>
            <a:r>
              <a:rPr lang="en-US" sz="750" spc="36" dirty="0">
                <a:latin typeface="NeueHaasGroteskDisp Pro" panose="020B0504020202020204" pitchFamily="34" charset="77"/>
                <a:ea typeface="Consolas"/>
                <a:cs typeface="Consolas"/>
                <a:sym typeface="Consolas"/>
              </a:rPr>
              <a:t> </a:t>
            </a:r>
            <a:r>
              <a:rPr lang="en-US" sz="750" spc="36" dirty="0" err="1">
                <a:latin typeface="NeueHaasGroteskDisp Pro" panose="020B0504020202020204" pitchFamily="34" charset="77"/>
                <a:ea typeface="Consolas"/>
                <a:cs typeface="Consolas"/>
                <a:sym typeface="Consolas"/>
              </a:rPr>
              <a:t>consecteur</a:t>
            </a:r>
            <a:r>
              <a:rPr lang="en-US" sz="750" spc="36" dirty="0">
                <a:latin typeface="NeueHaasGroteskDisp Pro" panose="020B0504020202020204" pitchFamily="34" charset="77"/>
                <a:ea typeface="Consolas"/>
                <a:cs typeface="Consolas"/>
                <a:sym typeface="Consolas"/>
              </a:rPr>
              <a:t> </a:t>
            </a:r>
            <a:r>
              <a:rPr lang="en-US" sz="750" spc="36" dirty="0" err="1">
                <a:latin typeface="NeueHaasGroteskDisp Pro" panose="020B0504020202020204" pitchFamily="34" charset="77"/>
                <a:ea typeface="Consolas"/>
                <a:cs typeface="Consolas"/>
                <a:sym typeface="Consolas"/>
              </a:rPr>
              <a:t>exeanibh</a:t>
            </a:r>
            <a:r>
              <a:rPr lang="en-US" sz="750" spc="36" dirty="0">
                <a:latin typeface="NeueHaasGroteskDisp Pro" panose="020B0504020202020204" pitchFamily="34" charset="77"/>
                <a:ea typeface="Consolas"/>
                <a:cs typeface="Consolas"/>
                <a:sym typeface="Consolas"/>
              </a:rPr>
              <a:t> </a:t>
            </a:r>
            <a:r>
              <a:rPr lang="en-US" sz="750" spc="36" dirty="0" err="1">
                <a:latin typeface="NeueHaasGroteskDisp Pro" panose="020B0504020202020204" pitchFamily="34" charset="77"/>
                <a:ea typeface="Consolas"/>
                <a:cs typeface="Consolas"/>
                <a:sym typeface="Consolas"/>
              </a:rPr>
              <a:t>adscpicing</a:t>
            </a:r>
            <a:r>
              <a:rPr lang="en-US" sz="750" spc="36" dirty="0">
                <a:latin typeface="NeueHaasGroteskDisp Pro" panose="020B0504020202020204" pitchFamily="34" charset="77"/>
                <a:ea typeface="Consolas"/>
                <a:cs typeface="Consolas"/>
                <a:sym typeface="Consolas"/>
              </a:rPr>
              <a:t> vellum </a:t>
            </a:r>
            <a:r>
              <a:rPr lang="en-US" sz="750" spc="36" dirty="0" err="1">
                <a:latin typeface="NeueHaasGroteskDisp Pro" panose="020B0504020202020204" pitchFamily="34" charset="77"/>
                <a:ea typeface="Consolas"/>
                <a:cs typeface="Consolas"/>
                <a:sym typeface="Consolas"/>
              </a:rPr>
              <a:t>presentae</a:t>
            </a:r>
            <a:r>
              <a:rPr lang="en-US" sz="750" spc="36" dirty="0">
                <a:latin typeface="NeueHaasGroteskDisp Pro" panose="020B0504020202020204" pitchFamily="34" charset="77"/>
                <a:ea typeface="Consolas"/>
                <a:cs typeface="Consolas"/>
                <a:sym typeface="Consolas"/>
              </a:rPr>
              <a:t> </a:t>
            </a:r>
            <a:r>
              <a:rPr lang="en-US" sz="750" spc="36" dirty="0" err="1">
                <a:latin typeface="NeueHaasGroteskDisp Pro" panose="020B0504020202020204" pitchFamily="34" charset="77"/>
                <a:ea typeface="Consolas"/>
                <a:cs typeface="Consolas"/>
                <a:sym typeface="Consolas"/>
              </a:rPr>
              <a:t>molor</a:t>
            </a:r>
            <a:r>
              <a:rPr lang="en-US" sz="750" spc="36" dirty="0">
                <a:latin typeface="NeueHaasGroteskDisp Pro" panose="020B0504020202020204" pitchFamily="34" charset="77"/>
                <a:ea typeface="Consolas"/>
                <a:cs typeface="Consolas"/>
                <a:sym typeface="Consolas"/>
              </a:rPr>
              <a:t>. ©2017 Lorem Ipsum Dolor</a:t>
            </a:r>
            <a:endParaRPr lang="en-US" sz="750" dirty="0">
              <a:latin typeface="NeueHaasGroteskDisp Pro" panose="020B0504020202020204" pitchFamily="34" charset="77"/>
              <a:ea typeface="Helvetica Regular" charset="0"/>
              <a:cs typeface="Helvetica Regular" charset="0"/>
            </a:endParaRPr>
          </a:p>
        </p:txBody>
      </p:sp>
    </p:spTree>
    <p:extLst>
      <p:ext uri="{BB962C8B-B14F-4D97-AF65-F5344CB8AC3E}">
        <p14:creationId xmlns:p14="http://schemas.microsoft.com/office/powerpoint/2010/main" val="3275781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ED122E7-BDB7-5E43-8B71-C56CA992474D}"/>
              </a:ext>
            </a:extLst>
          </p:cNvPr>
          <p:cNvPicPr>
            <a:picLocks noChangeAspect="1"/>
          </p:cNvPicPr>
          <p:nvPr/>
        </p:nvPicPr>
        <p:blipFill>
          <a:blip r:embed="rId3"/>
          <a:stretch>
            <a:fillRect/>
          </a:stretch>
        </p:blipFill>
        <p:spPr>
          <a:xfrm>
            <a:off x="3200400" y="863600"/>
            <a:ext cx="8991600" cy="5994400"/>
          </a:xfrm>
          <a:prstGeom prst="rect">
            <a:avLst/>
          </a:prstGeom>
        </p:spPr>
      </p:pic>
      <p:pic>
        <p:nvPicPr>
          <p:cNvPr id="5" name="Picture 4">
            <a:extLst>
              <a:ext uri="{FF2B5EF4-FFF2-40B4-BE49-F238E27FC236}">
                <a16:creationId xmlns:a16="http://schemas.microsoft.com/office/drawing/2014/main" id="{E25908F3-B1C4-344F-8E48-E2DB6492E142}"/>
              </a:ext>
            </a:extLst>
          </p:cNvPr>
          <p:cNvPicPr>
            <a:picLocks noChangeAspect="1"/>
          </p:cNvPicPr>
          <p:nvPr/>
        </p:nvPicPr>
        <p:blipFill>
          <a:blip r:embed="rId4"/>
          <a:stretch>
            <a:fillRect/>
          </a:stretch>
        </p:blipFill>
        <p:spPr>
          <a:xfrm>
            <a:off x="2794715" y="593143"/>
            <a:ext cx="9397285" cy="6264857"/>
          </a:xfrm>
          <a:prstGeom prst="rect">
            <a:avLst/>
          </a:prstGeom>
        </p:spPr>
      </p:pic>
      <p:sp>
        <p:nvSpPr>
          <p:cNvPr id="2" name="Title 1">
            <a:extLst>
              <a:ext uri="{FF2B5EF4-FFF2-40B4-BE49-F238E27FC236}">
                <a16:creationId xmlns:a16="http://schemas.microsoft.com/office/drawing/2014/main" id="{CCE36004-9FE8-3645-85D5-EB884C5EFCC2}"/>
              </a:ext>
            </a:extLst>
          </p:cNvPr>
          <p:cNvSpPr>
            <a:spLocks noGrp="1"/>
          </p:cNvSpPr>
          <p:nvPr>
            <p:ph type="ctrTitle"/>
          </p:nvPr>
        </p:nvSpPr>
        <p:spPr>
          <a:xfrm>
            <a:off x="440264" y="355519"/>
            <a:ext cx="10584787" cy="2196092"/>
          </a:xfrm>
        </p:spPr>
        <p:txBody>
          <a:bodyPr anchor="t">
            <a:noAutofit/>
          </a:bodyPr>
          <a:lstStyle/>
          <a:p>
            <a:r>
              <a:rPr lang="en-US" sz="6000" dirty="0">
                <a:solidFill>
                  <a:srgbClr val="FDCF3D"/>
                </a:solidFill>
              </a:rPr>
              <a:t>Pennington Biomedical </a:t>
            </a:r>
            <a:br>
              <a:rPr lang="en-US" sz="6000" dirty="0">
                <a:solidFill>
                  <a:srgbClr val="FDCF3D"/>
                </a:solidFill>
              </a:rPr>
            </a:br>
            <a:r>
              <a:rPr lang="en-US" sz="6000" dirty="0">
                <a:solidFill>
                  <a:srgbClr val="FDCF3D"/>
                </a:solidFill>
                <a:latin typeface="NeueHaasGroteskDisp Pro" panose="020B0504020202020204" pitchFamily="34" charset="0"/>
              </a:rPr>
              <a:t>2021 &amp;  Beyond</a:t>
            </a:r>
            <a:endParaRPr lang="en-US" sz="4000" dirty="0">
              <a:solidFill>
                <a:srgbClr val="FDCF3D"/>
              </a:solidFill>
              <a:latin typeface="NeueHaasGroteskDisp Pro" panose="020B0504020202020204" pitchFamily="34" charset="0"/>
            </a:endParaRPr>
          </a:p>
        </p:txBody>
      </p:sp>
      <p:sp>
        <p:nvSpPr>
          <p:cNvPr id="7" name="Title 1">
            <a:extLst>
              <a:ext uri="{FF2B5EF4-FFF2-40B4-BE49-F238E27FC236}">
                <a16:creationId xmlns:a16="http://schemas.microsoft.com/office/drawing/2014/main" id="{2FEAA5E6-F846-E143-B901-DEE7BC9E0FBB}"/>
              </a:ext>
            </a:extLst>
          </p:cNvPr>
          <p:cNvSpPr txBox="1">
            <a:spLocks/>
          </p:cNvSpPr>
          <p:nvPr/>
        </p:nvSpPr>
        <p:spPr>
          <a:xfrm>
            <a:off x="8229600" y="6117952"/>
            <a:ext cx="3488268" cy="325442"/>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1200" dirty="0">
                <a:solidFill>
                  <a:schemeClr val="bg1"/>
                </a:solidFill>
                <a:latin typeface="NeueHaasGroteskDisp Pro" panose="020B0504020202020204" pitchFamily="34" charset="77"/>
              </a:rPr>
              <a:t>XX/XX/2021</a:t>
            </a:r>
          </a:p>
        </p:txBody>
      </p:sp>
    </p:spTree>
    <p:extLst>
      <p:ext uri="{BB962C8B-B14F-4D97-AF65-F5344CB8AC3E}">
        <p14:creationId xmlns:p14="http://schemas.microsoft.com/office/powerpoint/2010/main" val="41224691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19" y="445723"/>
            <a:ext cx="9666757" cy="1094451"/>
          </a:xfrm>
        </p:spPr>
        <p:txBody>
          <a:bodyPr>
            <a:noAutofit/>
          </a:bodyPr>
          <a:lstStyle/>
          <a:p>
            <a:r>
              <a:rPr lang="en-US" dirty="0"/>
              <a:t>Column chart example that is editable.</a:t>
            </a:r>
            <a:endParaRPr lang="en-US" dirty="0">
              <a:latin typeface="NeueHaasGroteskDisp Pro Md" panose="020B0504020202020204" pitchFamily="34" charset="77"/>
            </a:endParaRPr>
          </a:p>
        </p:txBody>
      </p:sp>
      <p:sp>
        <p:nvSpPr>
          <p:cNvPr id="15" name="Rectangle 14">
            <a:extLst>
              <a:ext uri="{FF2B5EF4-FFF2-40B4-BE49-F238E27FC236}">
                <a16:creationId xmlns:a16="http://schemas.microsoft.com/office/drawing/2014/main" id="{2D5E9F68-0C4E-4D4C-B20A-D62B766E7DA0}"/>
              </a:ext>
            </a:extLst>
          </p:cNvPr>
          <p:cNvSpPr/>
          <p:nvPr/>
        </p:nvSpPr>
        <p:spPr>
          <a:xfrm flipV="1">
            <a:off x="572323" y="5500200"/>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9" name="Date Placeholder 3">
            <a:extLst>
              <a:ext uri="{FF2B5EF4-FFF2-40B4-BE49-F238E27FC236}">
                <a16:creationId xmlns:a16="http://schemas.microsoft.com/office/drawing/2014/main" id="{88EFAF7A-8AFF-A348-8411-EB797E4ACF35}"/>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tx2"/>
                </a:solidFill>
              </a:rPr>
              <a:t>XX/XX/XXXX</a:t>
            </a:r>
          </a:p>
        </p:txBody>
      </p:sp>
      <p:sp>
        <p:nvSpPr>
          <p:cNvPr id="10" name="Slide Number Placeholder 5">
            <a:extLst>
              <a:ext uri="{FF2B5EF4-FFF2-40B4-BE49-F238E27FC236}">
                <a16:creationId xmlns:a16="http://schemas.microsoft.com/office/drawing/2014/main" id="{F7B2ED2F-1604-9545-8A02-46660C47ABC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pPr/>
              <a:t>40</a:t>
            </a:fld>
            <a:endParaRPr lang="en-US" dirty="0"/>
          </a:p>
        </p:txBody>
      </p:sp>
      <p:sp>
        <p:nvSpPr>
          <p:cNvPr id="16" name="Footer Placeholder 4">
            <a:extLst>
              <a:ext uri="{FF2B5EF4-FFF2-40B4-BE49-F238E27FC236}">
                <a16:creationId xmlns:a16="http://schemas.microsoft.com/office/drawing/2014/main" id="{97D6E4B6-5566-5940-B43C-F92886AE55E2}"/>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pPr algn="l"/>
            <a:r>
              <a:rPr lang="en-US" dirty="0"/>
              <a:t>Presentation Title</a:t>
            </a:r>
          </a:p>
        </p:txBody>
      </p:sp>
      <p:sp>
        <p:nvSpPr>
          <p:cNvPr id="11" name="TextBox 10">
            <a:extLst>
              <a:ext uri="{FF2B5EF4-FFF2-40B4-BE49-F238E27FC236}">
                <a16:creationId xmlns:a16="http://schemas.microsoft.com/office/drawing/2014/main" id="{18459F9A-9834-0F4D-8114-C5886CCB63B0}"/>
              </a:ext>
            </a:extLst>
          </p:cNvPr>
          <p:cNvSpPr txBox="1"/>
          <p:nvPr/>
        </p:nvSpPr>
        <p:spPr>
          <a:xfrm>
            <a:off x="572323" y="1119565"/>
            <a:ext cx="2937164" cy="359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hangingPunct="0"/>
            <a:r>
              <a:rPr lang="en-US" sz="2000" dirty="0">
                <a:solidFill>
                  <a:srgbClr val="000000"/>
                </a:solidFill>
                <a:latin typeface="NeueHaasGroteskDisp Pro" panose="020B0504020202020204" pitchFamily="34" charset="0"/>
                <a:ea typeface="Helvetica" charset="-52"/>
                <a:cs typeface="Helvetica" charset="-52"/>
                <a:sym typeface="Helvetica Light"/>
              </a:rPr>
              <a:t>Chart Title</a:t>
            </a:r>
          </a:p>
        </p:txBody>
      </p:sp>
      <p:graphicFrame>
        <p:nvGraphicFramePr>
          <p:cNvPr id="12" name="Chart 11">
            <a:extLst>
              <a:ext uri="{FF2B5EF4-FFF2-40B4-BE49-F238E27FC236}">
                <a16:creationId xmlns:a16="http://schemas.microsoft.com/office/drawing/2014/main" id="{150E2629-B15D-B24E-9542-E0A7650D0C0B}"/>
              </a:ext>
            </a:extLst>
          </p:cNvPr>
          <p:cNvGraphicFramePr/>
          <p:nvPr>
            <p:extLst>
              <p:ext uri="{D42A27DB-BD31-4B8C-83A1-F6EECF244321}">
                <p14:modId xmlns:p14="http://schemas.microsoft.com/office/powerpoint/2010/main" val="1720813821"/>
              </p:ext>
            </p:extLst>
          </p:nvPr>
        </p:nvGraphicFramePr>
        <p:xfrm>
          <a:off x="572323" y="1540174"/>
          <a:ext cx="11051265" cy="4159964"/>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a:extLst>
              <a:ext uri="{FF2B5EF4-FFF2-40B4-BE49-F238E27FC236}">
                <a16:creationId xmlns:a16="http://schemas.microsoft.com/office/drawing/2014/main" id="{6B326A6D-EBF9-6842-B21C-207F9311CAAC}"/>
              </a:ext>
            </a:extLst>
          </p:cNvPr>
          <p:cNvSpPr txBox="1"/>
          <p:nvPr/>
        </p:nvSpPr>
        <p:spPr>
          <a:xfrm>
            <a:off x="540825" y="5643693"/>
            <a:ext cx="11251372" cy="2359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a:r>
              <a:rPr lang="en-US" sz="1200" dirty="0">
                <a:latin typeface="NeueHaasGroteskDisp Pro" panose="020B0504020202020204" pitchFamily="34" charset="0"/>
                <a:ea typeface="Helvetica Regular" charset="0"/>
                <a:cs typeface="Helvetica Regular" charset="0"/>
              </a:rPr>
              <a:t>Copy and paste this chart to your slide and then edit the structure and contents. Charts default to these colors, but you will need to make adjustments manually to fonts AND layout. </a:t>
            </a:r>
          </a:p>
        </p:txBody>
      </p:sp>
    </p:spTree>
    <p:extLst>
      <p:ext uri="{BB962C8B-B14F-4D97-AF65-F5344CB8AC3E}">
        <p14:creationId xmlns:p14="http://schemas.microsoft.com/office/powerpoint/2010/main" val="42946231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Connector 42">
            <a:extLst>
              <a:ext uri="{FF2B5EF4-FFF2-40B4-BE49-F238E27FC236}">
                <a16:creationId xmlns:a16="http://schemas.microsoft.com/office/drawing/2014/main" id="{145D8FCF-7A5B-F949-80E9-1EE2F1FCE76B}"/>
              </a:ext>
            </a:extLst>
          </p:cNvPr>
          <p:cNvCxnSpPr/>
          <p:nvPr/>
        </p:nvCxnSpPr>
        <p:spPr>
          <a:xfrm flipV="1">
            <a:off x="10325621" y="3638835"/>
            <a:ext cx="0" cy="5106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EA2B881-2BC5-8847-9E8A-5B3A3AED2BFC}"/>
              </a:ext>
            </a:extLst>
          </p:cNvPr>
          <p:cNvCxnSpPr/>
          <p:nvPr/>
        </p:nvCxnSpPr>
        <p:spPr>
          <a:xfrm flipV="1">
            <a:off x="4246554" y="3834846"/>
            <a:ext cx="0" cy="5106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8E94BA2-8EF9-8848-AAB2-2DD859692C89}"/>
              </a:ext>
            </a:extLst>
          </p:cNvPr>
          <p:cNvCxnSpPr/>
          <p:nvPr/>
        </p:nvCxnSpPr>
        <p:spPr>
          <a:xfrm flipV="1">
            <a:off x="1283221" y="2607862"/>
            <a:ext cx="0" cy="5106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B72E181-35DA-5B49-B011-22E76562C0B9}"/>
              </a:ext>
            </a:extLst>
          </p:cNvPr>
          <p:cNvCxnSpPr/>
          <p:nvPr/>
        </p:nvCxnSpPr>
        <p:spPr>
          <a:xfrm flipV="1">
            <a:off x="7277621" y="2682553"/>
            <a:ext cx="0" cy="5106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1EA9E677-442A-EB47-AFFA-BCB789847858}"/>
              </a:ext>
            </a:extLst>
          </p:cNvPr>
          <p:cNvGrpSpPr/>
          <p:nvPr/>
        </p:nvGrpSpPr>
        <p:grpSpPr>
          <a:xfrm>
            <a:off x="6359275" y="1070343"/>
            <a:ext cx="1828800" cy="1828800"/>
            <a:chOff x="2532058" y="-6261806"/>
            <a:chExt cx="6468248" cy="6468249"/>
          </a:xfrm>
        </p:grpSpPr>
        <p:sp>
          <p:nvSpPr>
            <p:cNvPr id="35" name="Shape 464">
              <a:extLst>
                <a:ext uri="{FF2B5EF4-FFF2-40B4-BE49-F238E27FC236}">
                  <a16:creationId xmlns:a16="http://schemas.microsoft.com/office/drawing/2014/main" id="{06F8A3C3-215A-9943-9561-B0E0357EA8BD}"/>
                </a:ext>
              </a:extLst>
            </p:cNvPr>
            <p:cNvSpPr/>
            <p:nvPr/>
          </p:nvSpPr>
          <p:spPr>
            <a:xfrm>
              <a:off x="2532058" y="-6261806"/>
              <a:ext cx="6468248" cy="6468249"/>
            </a:xfrm>
            <a:prstGeom prst="ellipse">
              <a:avLst/>
            </a:prstGeom>
            <a:solidFill>
              <a:srgbClr val="FFFFFF"/>
            </a:solidFill>
            <a:ln w="38100" cap="flat">
              <a:solidFill>
                <a:schemeClr val="accent6"/>
              </a:solidFill>
              <a:custDash>
                <a:ds d="200000" sp="200000"/>
              </a:custDash>
              <a:miter lim="400000"/>
            </a:ln>
            <a:effectLst/>
            <a:extLst>
              <a:ext uri="{C572A759-6A51-4108-AA02-DFA0A04FC94B}">
                <ma14:wrappingTextBoxFlag xmlns="" xmlns:ma14="http://schemas.microsoft.com/office/mac/drawingml/2011/main" val="1"/>
              </a:ext>
            </a:extLst>
          </p:spPr>
          <p:txBody>
            <a:bodyPr wrap="square" lIns="25400" tIns="25400" rIns="25400" bIns="25400" numCol="1" anchor="ctr">
              <a:noAutofit/>
            </a:bodyPr>
            <a:lstStyle/>
            <a:p>
              <a:pPr marL="235744" marR="508007">
                <a:lnSpc>
                  <a:spcPts val="3800"/>
                </a:lnSpc>
                <a:defRPr sz="6600" b="0">
                  <a:solidFill>
                    <a:srgbClr val="00D800"/>
                  </a:solidFill>
                  <a:latin typeface="Neue Haas Grotesk Display Std 95 Black"/>
                  <a:ea typeface="Neue Haas Grotesk Display Std 95 Black"/>
                  <a:cs typeface="Neue Haas Grotesk Display Std 95 Black"/>
                  <a:sym typeface="Neue Haas Grotesk Display Std 95 Black"/>
                </a:defRPr>
              </a:pPr>
              <a:endParaRPr sz="1000" dirty="0">
                <a:latin typeface="NeueHaasGroteskDisp Pro" panose="020B0504020202020204" pitchFamily="34" charset="77"/>
                <a:ea typeface="Helvetica" charset="-52"/>
                <a:cs typeface="Helvetica" charset="-52"/>
              </a:endParaRPr>
            </a:p>
          </p:txBody>
        </p:sp>
        <p:sp>
          <p:nvSpPr>
            <p:cNvPr id="36" name="Rectangle 35">
              <a:extLst>
                <a:ext uri="{FF2B5EF4-FFF2-40B4-BE49-F238E27FC236}">
                  <a16:creationId xmlns:a16="http://schemas.microsoft.com/office/drawing/2014/main" id="{4DE09FC4-0682-5241-8C68-7217DC116C62}"/>
                </a:ext>
              </a:extLst>
            </p:cNvPr>
            <p:cNvSpPr/>
            <p:nvPr/>
          </p:nvSpPr>
          <p:spPr>
            <a:xfrm>
              <a:off x="3912994" y="-5271338"/>
              <a:ext cx="4269196" cy="5002884"/>
            </a:xfrm>
            <a:prstGeom prst="rect">
              <a:avLst/>
            </a:prstGeom>
            <a:ln>
              <a:noFill/>
            </a:ln>
          </p:spPr>
          <p:txBody>
            <a:bodyPr wrap="square" anchor="ctr">
              <a:spAutoFit/>
            </a:bodyPr>
            <a:lstStyle/>
            <a:p>
              <a:pPr marR="4400">
                <a:lnSpc>
                  <a:spcPct val="150000"/>
                </a:lnSpc>
              </a:pPr>
              <a:r>
                <a:rPr lang="en-US" sz="1100" dirty="0">
                  <a:solidFill>
                    <a:srgbClr val="412181"/>
                  </a:solidFill>
                  <a:latin typeface="NeueHaasGroteskDisp Pro" panose="020B0504020202020204" pitchFamily="34" charset="0"/>
                  <a:ea typeface="Helvetica" charset="0"/>
                  <a:cs typeface="Helvetica" charset="0"/>
                </a:rPr>
                <a:t>Milestone Title</a:t>
              </a:r>
            </a:p>
            <a:p>
              <a:pPr marR="4400">
                <a:lnSpc>
                  <a:spcPct val="150000"/>
                </a:lnSpc>
              </a:pPr>
              <a:r>
                <a:rPr lang="en-US" sz="1000" dirty="0">
                  <a:latin typeface="NeueHaasGroteskDisp Pro" panose="020B0504020202020204" pitchFamily="34" charset="0"/>
                  <a:ea typeface="Helvetica" charset="0"/>
                  <a:cs typeface="Helvetica" charset="0"/>
                </a:rPr>
                <a:t>Sed </a:t>
              </a:r>
              <a:r>
                <a:rPr lang="en-US" sz="1000" dirty="0" err="1">
                  <a:latin typeface="NeueHaasGroteskDisp Pro" panose="020B0504020202020204" pitchFamily="34" charset="0"/>
                  <a:ea typeface="Helvetica" charset="0"/>
                  <a:cs typeface="Helvetica" charset="0"/>
                </a:rPr>
                <a:t>icies</a:t>
              </a:r>
              <a:r>
                <a:rPr lang="en-US" sz="1000" dirty="0">
                  <a:latin typeface="NeueHaasGroteskDisp Pro" panose="020B0504020202020204" pitchFamily="34" charset="0"/>
                  <a:ea typeface="Helvetica" charset="0"/>
                  <a:cs typeface="Helvetica" charset="0"/>
                </a:rPr>
                <a:t> lacus </a:t>
              </a:r>
              <a:r>
                <a:rPr lang="en-US" sz="1000" dirty="0" err="1">
                  <a:latin typeface="NeueHaasGroteskDisp Pro" panose="020B0504020202020204" pitchFamily="34" charset="0"/>
                  <a:ea typeface="Helvetica" charset="0"/>
                  <a:cs typeface="Helvetica" charset="0"/>
                </a:rPr>
                <a:t>enim</a:t>
              </a:r>
              <a:r>
                <a:rPr lang="en-US" sz="1000" dirty="0">
                  <a:latin typeface="NeueHaasGroteskDisp Pro" panose="020B0504020202020204" pitchFamily="34" charset="0"/>
                  <a:ea typeface="Helvetica" charset="0"/>
                  <a:cs typeface="Helvetica" charset="0"/>
                </a:rPr>
                <a:t> sit </a:t>
              </a:r>
              <a:r>
                <a:rPr lang="en-US" sz="1000" dirty="0" err="1">
                  <a:latin typeface="NeueHaasGroteskDisp Pro" panose="020B0504020202020204" pitchFamily="34" charset="0"/>
                  <a:ea typeface="Helvetica" charset="0"/>
                  <a:cs typeface="Helvetica" charset="0"/>
                </a:rPr>
                <a:t>amet</a:t>
              </a:r>
              <a:r>
                <a:rPr lang="en-US" sz="1000" dirty="0">
                  <a:latin typeface="NeueHaasGroteskDisp Pro" panose="020B0504020202020204" pitchFamily="34" charset="0"/>
                  <a:ea typeface="Helvetica" charset="0"/>
                  <a:cs typeface="Helvetica" charset="0"/>
                </a:rPr>
                <a:t> </a:t>
              </a:r>
              <a:r>
                <a:rPr lang="en-US" sz="1000" dirty="0" err="1">
                  <a:latin typeface="NeueHaasGroteskDisp Pro" panose="020B0504020202020204" pitchFamily="34" charset="0"/>
                  <a:ea typeface="Helvetica" charset="0"/>
                  <a:cs typeface="Helvetica" charset="0"/>
                </a:rPr>
                <a:t>ultricies</a:t>
              </a:r>
              <a:r>
                <a:rPr lang="en-US" sz="1000" dirty="0">
                  <a:latin typeface="NeueHaasGroteskDisp Pro" panose="020B0504020202020204" pitchFamily="34" charset="0"/>
                  <a:ea typeface="Helvetica" charset="0"/>
                  <a:cs typeface="Helvetica" charset="0"/>
                </a:rPr>
                <a:t> </a:t>
              </a:r>
              <a:r>
                <a:rPr lang="en-US" sz="1000" dirty="0" err="1">
                  <a:latin typeface="NeueHaasGroteskDisp Pro" panose="020B0504020202020204" pitchFamily="34" charset="0"/>
                  <a:ea typeface="Helvetica" charset="0"/>
                  <a:cs typeface="Helvetica" charset="0"/>
                </a:rPr>
                <a:t>leo</a:t>
              </a:r>
              <a:r>
                <a:rPr lang="en-US" sz="1000" dirty="0">
                  <a:latin typeface="NeueHaasGroteskDisp Pro" panose="020B0504020202020204" pitchFamily="34" charset="0"/>
                  <a:ea typeface="Helvetica" charset="0"/>
                  <a:cs typeface="Helvetica" charset="0"/>
                </a:rPr>
                <a:t> porta </a:t>
              </a:r>
              <a:r>
                <a:rPr lang="en-US" sz="1000" dirty="0" err="1">
                  <a:latin typeface="NeueHaasGroteskDisp Pro" panose="020B0504020202020204" pitchFamily="34" charset="0"/>
                  <a:ea typeface="Helvetica" charset="0"/>
                  <a:cs typeface="Helvetica" charset="0"/>
                </a:rPr>
                <a:t>nibh</a:t>
              </a:r>
              <a:r>
                <a:rPr lang="en-US" sz="1000" dirty="0">
                  <a:latin typeface="NeueHaasGroteskDisp Pro" panose="020B0504020202020204" pitchFamily="34" charset="0"/>
                  <a:ea typeface="Helvetica" charset="0"/>
                  <a:cs typeface="Helvetica" charset="0"/>
                </a:rPr>
                <a:t> et </a:t>
              </a:r>
              <a:r>
                <a:rPr lang="en-US" sz="1000" dirty="0" err="1">
                  <a:latin typeface="NeueHaasGroteskDisp Pro" panose="020B0504020202020204" pitchFamily="34" charset="0"/>
                  <a:ea typeface="Helvetica" charset="0"/>
                  <a:cs typeface="Helvetica" charset="0"/>
                </a:rPr>
                <a:t>quis</a:t>
              </a:r>
              <a:r>
                <a:rPr lang="en-US" sz="1000" dirty="0">
                  <a:latin typeface="NeueHaasGroteskDisp Pro" panose="020B0504020202020204" pitchFamily="34" charset="0"/>
                  <a:ea typeface="Helvetica" charset="0"/>
                  <a:cs typeface="Helvetica" charset="0"/>
                </a:rPr>
                <a:t>.</a:t>
              </a:r>
            </a:p>
            <a:p>
              <a:pPr marR="4400">
                <a:lnSpc>
                  <a:spcPct val="150000"/>
                </a:lnSpc>
              </a:pPr>
              <a:r>
                <a:rPr lang="en-US" sz="700" dirty="0">
                  <a:latin typeface="NeueHaasGroteskDisp Pro" panose="020B0504020202020204" pitchFamily="34" charset="0"/>
                  <a:ea typeface="Helvetica Regular" charset="0"/>
                  <a:cs typeface="Helvetica Regular" charset="0"/>
                </a:rPr>
                <a:t>Nielsen</a:t>
              </a:r>
            </a:p>
          </p:txBody>
        </p:sp>
      </p:grpSp>
      <p:cxnSp>
        <p:nvCxnSpPr>
          <p:cNvPr id="5" name="Straight Connector 4">
            <a:extLst>
              <a:ext uri="{FF2B5EF4-FFF2-40B4-BE49-F238E27FC236}">
                <a16:creationId xmlns:a16="http://schemas.microsoft.com/office/drawing/2014/main" id="{EEDF1C8E-FDAC-1640-A825-A00B1DA155D2}"/>
              </a:ext>
            </a:extLst>
          </p:cNvPr>
          <p:cNvCxnSpPr>
            <a:cxnSpLocks/>
          </p:cNvCxnSpPr>
          <p:nvPr/>
        </p:nvCxnSpPr>
        <p:spPr>
          <a:xfrm flipH="1">
            <a:off x="162251" y="3472586"/>
            <a:ext cx="11867498" cy="0"/>
          </a:xfrm>
          <a:prstGeom prst="line">
            <a:avLst/>
          </a:prstGeom>
          <a:ln w="57150">
            <a:solidFill>
              <a:schemeClr val="tx1"/>
            </a:solidFill>
            <a:headEnd type="arrow"/>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20" y="445724"/>
            <a:ext cx="8520702" cy="738412"/>
          </a:xfrm>
        </p:spPr>
        <p:txBody>
          <a:bodyPr>
            <a:noAutofit/>
          </a:bodyPr>
          <a:lstStyle/>
          <a:p>
            <a:r>
              <a:rPr lang="en-US" sz="4000" dirty="0"/>
              <a:t>Milestones</a:t>
            </a:r>
            <a:endParaRPr lang="en-US" sz="4000" dirty="0">
              <a:latin typeface="NeueHaasGroteskDisp Pro Md" panose="020B0504020202020204" pitchFamily="34" charset="77"/>
            </a:endParaRPr>
          </a:p>
        </p:txBody>
      </p:sp>
      <p:sp>
        <p:nvSpPr>
          <p:cNvPr id="15" name="Rectangle 14">
            <a:extLst>
              <a:ext uri="{FF2B5EF4-FFF2-40B4-BE49-F238E27FC236}">
                <a16:creationId xmlns:a16="http://schemas.microsoft.com/office/drawing/2014/main" id="{2D5E9F68-0C4E-4D4C-B20A-D62B766E7DA0}"/>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9" name="Date Placeholder 3">
            <a:extLst>
              <a:ext uri="{FF2B5EF4-FFF2-40B4-BE49-F238E27FC236}">
                <a16:creationId xmlns:a16="http://schemas.microsoft.com/office/drawing/2014/main" id="{88EFAF7A-8AFF-A348-8411-EB797E4ACF35}"/>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tx2"/>
                </a:solidFill>
              </a:rPr>
              <a:t>XX/XX/XXXX</a:t>
            </a:r>
          </a:p>
        </p:txBody>
      </p:sp>
      <p:sp>
        <p:nvSpPr>
          <p:cNvPr id="10" name="Slide Number Placeholder 5">
            <a:extLst>
              <a:ext uri="{FF2B5EF4-FFF2-40B4-BE49-F238E27FC236}">
                <a16:creationId xmlns:a16="http://schemas.microsoft.com/office/drawing/2014/main" id="{F7B2ED2F-1604-9545-8A02-46660C47ABC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pPr/>
              <a:t>41</a:t>
            </a:fld>
            <a:endParaRPr lang="en-US" dirty="0"/>
          </a:p>
        </p:txBody>
      </p:sp>
      <p:sp>
        <p:nvSpPr>
          <p:cNvPr id="16" name="Footer Placeholder 4">
            <a:extLst>
              <a:ext uri="{FF2B5EF4-FFF2-40B4-BE49-F238E27FC236}">
                <a16:creationId xmlns:a16="http://schemas.microsoft.com/office/drawing/2014/main" id="{97D6E4B6-5566-5940-B43C-F92886AE55E2}"/>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pPr algn="l"/>
            <a:r>
              <a:rPr lang="en-US" dirty="0"/>
              <a:t>Presentation Title</a:t>
            </a:r>
          </a:p>
        </p:txBody>
      </p:sp>
      <p:sp>
        <p:nvSpPr>
          <p:cNvPr id="3" name="Rounded Rectangle 2">
            <a:extLst>
              <a:ext uri="{FF2B5EF4-FFF2-40B4-BE49-F238E27FC236}">
                <a16:creationId xmlns:a16="http://schemas.microsoft.com/office/drawing/2014/main" id="{3FD4D41C-0BA4-AB43-95D5-266F4935FE86}"/>
              </a:ext>
            </a:extLst>
          </p:cNvPr>
          <p:cNvSpPr/>
          <p:nvPr/>
        </p:nvSpPr>
        <p:spPr>
          <a:xfrm>
            <a:off x="162251" y="3002965"/>
            <a:ext cx="2252133" cy="92658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NeueHaasGroteskDisp Pro" panose="020B0504020202020204" pitchFamily="34" charset="0"/>
                <a:ea typeface="Consolas" charset="0"/>
                <a:cs typeface="Consolas" charset="0"/>
              </a:rPr>
              <a:t>Date</a:t>
            </a:r>
            <a:endParaRPr lang="en-US" dirty="0">
              <a:latin typeface="NeueHaasGroteskDisp Pro" panose="020B0504020202020204" pitchFamily="34" charset="0"/>
            </a:endParaRPr>
          </a:p>
        </p:txBody>
      </p:sp>
      <p:sp>
        <p:nvSpPr>
          <p:cNvPr id="25" name="Rounded Rectangle 24">
            <a:extLst>
              <a:ext uri="{FF2B5EF4-FFF2-40B4-BE49-F238E27FC236}">
                <a16:creationId xmlns:a16="http://schemas.microsoft.com/office/drawing/2014/main" id="{AF508B0A-17DF-F343-AEA9-BFA22A84EA1A}"/>
              </a:ext>
            </a:extLst>
          </p:cNvPr>
          <p:cNvSpPr/>
          <p:nvPr/>
        </p:nvSpPr>
        <p:spPr>
          <a:xfrm>
            <a:off x="3154930" y="3002964"/>
            <a:ext cx="2252133" cy="92658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NeueHaasGroteskDisp Pro" panose="020B0504020202020204" pitchFamily="34" charset="0"/>
                <a:ea typeface="Consolas" charset="0"/>
                <a:cs typeface="Consolas" charset="0"/>
              </a:rPr>
              <a:t>Date</a:t>
            </a:r>
            <a:endParaRPr lang="en-US" dirty="0">
              <a:latin typeface="NeueHaasGroteskDisp Pro" panose="020B0504020202020204" pitchFamily="34" charset="0"/>
            </a:endParaRPr>
          </a:p>
        </p:txBody>
      </p:sp>
      <p:sp>
        <p:nvSpPr>
          <p:cNvPr id="26" name="Rounded Rectangle 25">
            <a:extLst>
              <a:ext uri="{FF2B5EF4-FFF2-40B4-BE49-F238E27FC236}">
                <a16:creationId xmlns:a16="http://schemas.microsoft.com/office/drawing/2014/main" id="{BEFDE7AC-7582-074B-B073-1C67826A9714}"/>
              </a:ext>
            </a:extLst>
          </p:cNvPr>
          <p:cNvSpPr/>
          <p:nvPr/>
        </p:nvSpPr>
        <p:spPr>
          <a:xfrm>
            <a:off x="6147609" y="3002964"/>
            <a:ext cx="2252133" cy="92658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NeueHaasGroteskDisp Pro" panose="020B0504020202020204" pitchFamily="34" charset="0"/>
                <a:ea typeface="Consolas" charset="0"/>
                <a:cs typeface="Consolas" charset="0"/>
              </a:rPr>
              <a:t>Date</a:t>
            </a:r>
            <a:endParaRPr lang="en-US" dirty="0">
              <a:latin typeface="NeueHaasGroteskDisp Pro" panose="020B0504020202020204" pitchFamily="34" charset="0"/>
            </a:endParaRPr>
          </a:p>
        </p:txBody>
      </p:sp>
      <p:sp>
        <p:nvSpPr>
          <p:cNvPr id="27" name="Rounded Rectangle 26">
            <a:extLst>
              <a:ext uri="{FF2B5EF4-FFF2-40B4-BE49-F238E27FC236}">
                <a16:creationId xmlns:a16="http://schemas.microsoft.com/office/drawing/2014/main" id="{A5DE1229-5647-CE4C-B709-EB0DBDC3F74D}"/>
              </a:ext>
            </a:extLst>
          </p:cNvPr>
          <p:cNvSpPr/>
          <p:nvPr/>
        </p:nvSpPr>
        <p:spPr>
          <a:xfrm>
            <a:off x="9140288" y="2967574"/>
            <a:ext cx="2252133" cy="926587"/>
          </a:xfrm>
          <a:prstGeom prst="round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NeueHaasGroteskDisp Pro" panose="020B0504020202020204" pitchFamily="34" charset="0"/>
                <a:ea typeface="Consolas" charset="0"/>
                <a:cs typeface="Consolas" charset="0"/>
              </a:rPr>
              <a:t>Date</a:t>
            </a:r>
            <a:endParaRPr lang="en-US" dirty="0">
              <a:latin typeface="NeueHaasGroteskDisp Pro" panose="020B0504020202020204" pitchFamily="34" charset="0"/>
            </a:endParaRPr>
          </a:p>
        </p:txBody>
      </p:sp>
      <p:grpSp>
        <p:nvGrpSpPr>
          <p:cNvPr id="28" name="Group 27">
            <a:extLst>
              <a:ext uri="{FF2B5EF4-FFF2-40B4-BE49-F238E27FC236}">
                <a16:creationId xmlns:a16="http://schemas.microsoft.com/office/drawing/2014/main" id="{6681B5A9-5249-C346-9F86-2DB9AFABEFF4}"/>
              </a:ext>
            </a:extLst>
          </p:cNvPr>
          <p:cNvGrpSpPr/>
          <p:nvPr/>
        </p:nvGrpSpPr>
        <p:grpSpPr>
          <a:xfrm>
            <a:off x="373917" y="1034388"/>
            <a:ext cx="1828800" cy="1828800"/>
            <a:chOff x="2532058" y="-6261806"/>
            <a:chExt cx="6468248" cy="6468249"/>
          </a:xfrm>
        </p:grpSpPr>
        <p:sp>
          <p:nvSpPr>
            <p:cNvPr id="29" name="Shape 464">
              <a:extLst>
                <a:ext uri="{FF2B5EF4-FFF2-40B4-BE49-F238E27FC236}">
                  <a16:creationId xmlns:a16="http://schemas.microsoft.com/office/drawing/2014/main" id="{1074D0E8-0A2C-C449-8888-631A1764EB9C}"/>
                </a:ext>
              </a:extLst>
            </p:cNvPr>
            <p:cNvSpPr/>
            <p:nvPr/>
          </p:nvSpPr>
          <p:spPr>
            <a:xfrm>
              <a:off x="2532058" y="-6261806"/>
              <a:ext cx="6468248" cy="6468249"/>
            </a:xfrm>
            <a:prstGeom prst="ellipse">
              <a:avLst/>
            </a:prstGeom>
            <a:solidFill>
              <a:srgbClr val="FFFFFF"/>
            </a:solidFill>
            <a:ln w="38100" cap="flat">
              <a:solidFill>
                <a:schemeClr val="accent6"/>
              </a:solidFill>
              <a:custDash>
                <a:ds d="200000" sp="200000"/>
              </a:custDash>
              <a:miter lim="400000"/>
            </a:ln>
            <a:effectLst/>
            <a:extLst>
              <a:ext uri="{C572A759-6A51-4108-AA02-DFA0A04FC94B}">
                <ma14:wrappingTextBoxFlag xmlns="" xmlns:ma14="http://schemas.microsoft.com/office/mac/drawingml/2011/main" val="1"/>
              </a:ext>
            </a:extLst>
          </p:spPr>
          <p:txBody>
            <a:bodyPr wrap="square" lIns="25400" tIns="25400" rIns="25400" bIns="25400" numCol="1" anchor="ctr">
              <a:noAutofit/>
            </a:bodyPr>
            <a:lstStyle/>
            <a:p>
              <a:pPr marL="235744" marR="508007">
                <a:lnSpc>
                  <a:spcPts val="3800"/>
                </a:lnSpc>
                <a:defRPr sz="6600" b="0">
                  <a:solidFill>
                    <a:srgbClr val="00D800"/>
                  </a:solidFill>
                  <a:latin typeface="Neue Haas Grotesk Display Std 95 Black"/>
                  <a:ea typeface="Neue Haas Grotesk Display Std 95 Black"/>
                  <a:cs typeface="Neue Haas Grotesk Display Std 95 Black"/>
                  <a:sym typeface="Neue Haas Grotesk Display Std 95 Black"/>
                </a:defRPr>
              </a:pPr>
              <a:endParaRPr sz="1000" dirty="0">
                <a:latin typeface="NeueHaasGroteskDisp Pro" panose="020B0504020202020204" pitchFamily="34" charset="77"/>
                <a:ea typeface="Helvetica" charset="-52"/>
                <a:cs typeface="Helvetica" charset="-52"/>
              </a:endParaRPr>
            </a:p>
          </p:txBody>
        </p:sp>
        <p:sp>
          <p:nvSpPr>
            <p:cNvPr id="30" name="Rectangle 29">
              <a:extLst>
                <a:ext uri="{FF2B5EF4-FFF2-40B4-BE49-F238E27FC236}">
                  <a16:creationId xmlns:a16="http://schemas.microsoft.com/office/drawing/2014/main" id="{4AE39446-C757-584B-9F9F-CCF27257EB4F}"/>
                </a:ext>
              </a:extLst>
            </p:cNvPr>
            <p:cNvSpPr/>
            <p:nvPr/>
          </p:nvSpPr>
          <p:spPr>
            <a:xfrm>
              <a:off x="3912994" y="-5271338"/>
              <a:ext cx="4269196" cy="5002884"/>
            </a:xfrm>
            <a:prstGeom prst="rect">
              <a:avLst/>
            </a:prstGeom>
            <a:ln>
              <a:noFill/>
            </a:ln>
          </p:spPr>
          <p:txBody>
            <a:bodyPr wrap="square" anchor="ctr">
              <a:spAutoFit/>
            </a:bodyPr>
            <a:lstStyle/>
            <a:p>
              <a:pPr marR="4400">
                <a:lnSpc>
                  <a:spcPct val="150000"/>
                </a:lnSpc>
              </a:pPr>
              <a:r>
                <a:rPr lang="en-US" sz="1100" dirty="0">
                  <a:solidFill>
                    <a:srgbClr val="412181"/>
                  </a:solidFill>
                  <a:latin typeface="NeueHaasGroteskDisp Pro" panose="020B0504020202020204" pitchFamily="34" charset="0"/>
                  <a:ea typeface="Helvetica" charset="0"/>
                  <a:cs typeface="Helvetica" charset="0"/>
                </a:rPr>
                <a:t>Milestone Title</a:t>
              </a:r>
            </a:p>
            <a:p>
              <a:pPr marR="4400">
                <a:lnSpc>
                  <a:spcPct val="150000"/>
                </a:lnSpc>
              </a:pPr>
              <a:r>
                <a:rPr lang="en-US" sz="1000" dirty="0">
                  <a:latin typeface="NeueHaasGroteskDisp Pro" panose="020B0504020202020204" pitchFamily="34" charset="0"/>
                  <a:ea typeface="Helvetica" charset="0"/>
                  <a:cs typeface="Helvetica" charset="0"/>
                </a:rPr>
                <a:t>Sed </a:t>
              </a:r>
              <a:r>
                <a:rPr lang="en-US" sz="1000" dirty="0" err="1">
                  <a:latin typeface="NeueHaasGroteskDisp Pro" panose="020B0504020202020204" pitchFamily="34" charset="0"/>
                  <a:ea typeface="Helvetica" charset="0"/>
                  <a:cs typeface="Helvetica" charset="0"/>
                </a:rPr>
                <a:t>icies</a:t>
              </a:r>
              <a:r>
                <a:rPr lang="en-US" sz="1000" dirty="0">
                  <a:latin typeface="NeueHaasGroteskDisp Pro" panose="020B0504020202020204" pitchFamily="34" charset="0"/>
                  <a:ea typeface="Helvetica" charset="0"/>
                  <a:cs typeface="Helvetica" charset="0"/>
                </a:rPr>
                <a:t> lacus </a:t>
              </a:r>
              <a:r>
                <a:rPr lang="en-US" sz="1000" dirty="0" err="1">
                  <a:latin typeface="NeueHaasGroteskDisp Pro" panose="020B0504020202020204" pitchFamily="34" charset="0"/>
                  <a:ea typeface="Helvetica" charset="0"/>
                  <a:cs typeface="Helvetica" charset="0"/>
                </a:rPr>
                <a:t>enim</a:t>
              </a:r>
              <a:r>
                <a:rPr lang="en-US" sz="1000" dirty="0">
                  <a:latin typeface="NeueHaasGroteskDisp Pro" panose="020B0504020202020204" pitchFamily="34" charset="0"/>
                  <a:ea typeface="Helvetica" charset="0"/>
                  <a:cs typeface="Helvetica" charset="0"/>
                </a:rPr>
                <a:t> sit </a:t>
              </a:r>
              <a:r>
                <a:rPr lang="en-US" sz="1000" dirty="0" err="1">
                  <a:latin typeface="NeueHaasGroteskDisp Pro" panose="020B0504020202020204" pitchFamily="34" charset="0"/>
                  <a:ea typeface="Helvetica" charset="0"/>
                  <a:cs typeface="Helvetica" charset="0"/>
                </a:rPr>
                <a:t>amet</a:t>
              </a:r>
              <a:r>
                <a:rPr lang="en-US" sz="1000" dirty="0">
                  <a:latin typeface="NeueHaasGroteskDisp Pro" panose="020B0504020202020204" pitchFamily="34" charset="0"/>
                  <a:ea typeface="Helvetica" charset="0"/>
                  <a:cs typeface="Helvetica" charset="0"/>
                </a:rPr>
                <a:t> </a:t>
              </a:r>
              <a:r>
                <a:rPr lang="en-US" sz="1000" dirty="0" err="1">
                  <a:latin typeface="NeueHaasGroteskDisp Pro" panose="020B0504020202020204" pitchFamily="34" charset="0"/>
                  <a:ea typeface="Helvetica" charset="0"/>
                  <a:cs typeface="Helvetica" charset="0"/>
                </a:rPr>
                <a:t>ultricies</a:t>
              </a:r>
              <a:r>
                <a:rPr lang="en-US" sz="1000" dirty="0">
                  <a:latin typeface="NeueHaasGroteskDisp Pro" panose="020B0504020202020204" pitchFamily="34" charset="0"/>
                  <a:ea typeface="Helvetica" charset="0"/>
                  <a:cs typeface="Helvetica" charset="0"/>
                </a:rPr>
                <a:t> </a:t>
              </a:r>
              <a:r>
                <a:rPr lang="en-US" sz="1000" dirty="0" err="1">
                  <a:latin typeface="NeueHaasGroteskDisp Pro" panose="020B0504020202020204" pitchFamily="34" charset="0"/>
                  <a:ea typeface="Helvetica" charset="0"/>
                  <a:cs typeface="Helvetica" charset="0"/>
                </a:rPr>
                <a:t>leo</a:t>
              </a:r>
              <a:r>
                <a:rPr lang="en-US" sz="1000" dirty="0">
                  <a:latin typeface="NeueHaasGroteskDisp Pro" panose="020B0504020202020204" pitchFamily="34" charset="0"/>
                  <a:ea typeface="Helvetica" charset="0"/>
                  <a:cs typeface="Helvetica" charset="0"/>
                </a:rPr>
                <a:t> porta </a:t>
              </a:r>
              <a:r>
                <a:rPr lang="en-US" sz="1000" dirty="0" err="1">
                  <a:latin typeface="NeueHaasGroteskDisp Pro" panose="020B0504020202020204" pitchFamily="34" charset="0"/>
                  <a:ea typeface="Helvetica" charset="0"/>
                  <a:cs typeface="Helvetica" charset="0"/>
                </a:rPr>
                <a:t>nibh</a:t>
              </a:r>
              <a:r>
                <a:rPr lang="en-US" sz="1000" dirty="0">
                  <a:latin typeface="NeueHaasGroteskDisp Pro" panose="020B0504020202020204" pitchFamily="34" charset="0"/>
                  <a:ea typeface="Helvetica" charset="0"/>
                  <a:cs typeface="Helvetica" charset="0"/>
                </a:rPr>
                <a:t> et </a:t>
              </a:r>
              <a:r>
                <a:rPr lang="en-US" sz="1000" dirty="0" err="1">
                  <a:latin typeface="NeueHaasGroteskDisp Pro" panose="020B0504020202020204" pitchFamily="34" charset="0"/>
                  <a:ea typeface="Helvetica" charset="0"/>
                  <a:cs typeface="Helvetica" charset="0"/>
                </a:rPr>
                <a:t>quis</a:t>
              </a:r>
              <a:r>
                <a:rPr lang="en-US" sz="1000" dirty="0">
                  <a:latin typeface="NeueHaasGroteskDisp Pro" panose="020B0504020202020204" pitchFamily="34" charset="0"/>
                  <a:ea typeface="Helvetica" charset="0"/>
                  <a:cs typeface="Helvetica" charset="0"/>
                </a:rPr>
                <a:t>.</a:t>
              </a:r>
            </a:p>
            <a:p>
              <a:pPr marR="4400">
                <a:lnSpc>
                  <a:spcPct val="150000"/>
                </a:lnSpc>
              </a:pPr>
              <a:r>
                <a:rPr lang="en-US" sz="700" dirty="0">
                  <a:latin typeface="NeueHaasGroteskDisp Pro" panose="020B0504020202020204" pitchFamily="34" charset="0"/>
                  <a:ea typeface="Helvetica Regular" charset="0"/>
                  <a:cs typeface="Helvetica Regular" charset="0"/>
                </a:rPr>
                <a:t>Nielsen</a:t>
              </a:r>
            </a:p>
          </p:txBody>
        </p:sp>
      </p:grpSp>
      <p:grpSp>
        <p:nvGrpSpPr>
          <p:cNvPr id="31" name="Group 30">
            <a:extLst>
              <a:ext uri="{FF2B5EF4-FFF2-40B4-BE49-F238E27FC236}">
                <a16:creationId xmlns:a16="http://schemas.microsoft.com/office/drawing/2014/main" id="{AF47D153-E818-5446-BD2D-D5B88F845CD8}"/>
              </a:ext>
            </a:extLst>
          </p:cNvPr>
          <p:cNvGrpSpPr/>
          <p:nvPr/>
        </p:nvGrpSpPr>
        <p:grpSpPr>
          <a:xfrm>
            <a:off x="3366596" y="4065457"/>
            <a:ext cx="1828800" cy="1828800"/>
            <a:chOff x="2532058" y="-6261806"/>
            <a:chExt cx="6468248" cy="6468249"/>
          </a:xfrm>
        </p:grpSpPr>
        <p:sp>
          <p:nvSpPr>
            <p:cNvPr id="32" name="Shape 464">
              <a:extLst>
                <a:ext uri="{FF2B5EF4-FFF2-40B4-BE49-F238E27FC236}">
                  <a16:creationId xmlns:a16="http://schemas.microsoft.com/office/drawing/2014/main" id="{9C645C85-5FF8-A24D-B697-EE21EDF7C3D7}"/>
                </a:ext>
              </a:extLst>
            </p:cNvPr>
            <p:cNvSpPr/>
            <p:nvPr/>
          </p:nvSpPr>
          <p:spPr>
            <a:xfrm>
              <a:off x="2532058" y="-6261806"/>
              <a:ext cx="6468248" cy="6468249"/>
            </a:xfrm>
            <a:prstGeom prst="ellipse">
              <a:avLst/>
            </a:prstGeom>
            <a:solidFill>
              <a:srgbClr val="FFFFFF"/>
            </a:solidFill>
            <a:ln w="38100" cap="flat">
              <a:solidFill>
                <a:schemeClr val="accent6"/>
              </a:solidFill>
              <a:custDash>
                <a:ds d="200000" sp="200000"/>
              </a:custDash>
              <a:miter lim="400000"/>
            </a:ln>
            <a:effectLst/>
            <a:extLst>
              <a:ext uri="{C572A759-6A51-4108-AA02-DFA0A04FC94B}">
                <ma14:wrappingTextBoxFlag xmlns="" xmlns:ma14="http://schemas.microsoft.com/office/mac/drawingml/2011/main" val="1"/>
              </a:ext>
            </a:extLst>
          </p:spPr>
          <p:txBody>
            <a:bodyPr wrap="square" lIns="25400" tIns="25400" rIns="25400" bIns="25400" numCol="1" anchor="ctr">
              <a:noAutofit/>
            </a:bodyPr>
            <a:lstStyle/>
            <a:p>
              <a:pPr marL="235744" marR="508007">
                <a:lnSpc>
                  <a:spcPts val="3800"/>
                </a:lnSpc>
                <a:defRPr sz="6600" b="0">
                  <a:solidFill>
                    <a:srgbClr val="00D800"/>
                  </a:solidFill>
                  <a:latin typeface="Neue Haas Grotesk Display Std 95 Black"/>
                  <a:ea typeface="Neue Haas Grotesk Display Std 95 Black"/>
                  <a:cs typeface="Neue Haas Grotesk Display Std 95 Black"/>
                  <a:sym typeface="Neue Haas Grotesk Display Std 95 Black"/>
                </a:defRPr>
              </a:pPr>
              <a:endParaRPr sz="1000" dirty="0">
                <a:latin typeface="NeueHaasGroteskDisp Pro" panose="020B0504020202020204" pitchFamily="34" charset="77"/>
                <a:ea typeface="Helvetica" charset="-52"/>
                <a:cs typeface="Helvetica" charset="-52"/>
              </a:endParaRPr>
            </a:p>
          </p:txBody>
        </p:sp>
        <p:sp>
          <p:nvSpPr>
            <p:cNvPr id="33" name="Rectangle 32">
              <a:extLst>
                <a:ext uri="{FF2B5EF4-FFF2-40B4-BE49-F238E27FC236}">
                  <a16:creationId xmlns:a16="http://schemas.microsoft.com/office/drawing/2014/main" id="{7ABAA2D5-72FD-5A44-BDB1-29CCFA1E8605}"/>
                </a:ext>
              </a:extLst>
            </p:cNvPr>
            <p:cNvSpPr/>
            <p:nvPr/>
          </p:nvSpPr>
          <p:spPr>
            <a:xfrm>
              <a:off x="3912994" y="-5271338"/>
              <a:ext cx="4269196" cy="5002884"/>
            </a:xfrm>
            <a:prstGeom prst="rect">
              <a:avLst/>
            </a:prstGeom>
            <a:ln>
              <a:noFill/>
            </a:ln>
          </p:spPr>
          <p:txBody>
            <a:bodyPr wrap="square" anchor="ctr">
              <a:spAutoFit/>
            </a:bodyPr>
            <a:lstStyle/>
            <a:p>
              <a:pPr marR="4400">
                <a:lnSpc>
                  <a:spcPct val="150000"/>
                </a:lnSpc>
              </a:pPr>
              <a:r>
                <a:rPr lang="en-US" sz="1100" dirty="0">
                  <a:solidFill>
                    <a:srgbClr val="412181"/>
                  </a:solidFill>
                  <a:latin typeface="NeueHaasGroteskDisp Pro" panose="020B0504020202020204" pitchFamily="34" charset="0"/>
                  <a:ea typeface="Helvetica" charset="0"/>
                  <a:cs typeface="Helvetica" charset="0"/>
                </a:rPr>
                <a:t>Milestone Title</a:t>
              </a:r>
            </a:p>
            <a:p>
              <a:pPr marR="4400">
                <a:lnSpc>
                  <a:spcPct val="150000"/>
                </a:lnSpc>
              </a:pPr>
              <a:r>
                <a:rPr lang="en-US" sz="1000" dirty="0">
                  <a:latin typeface="NeueHaasGroteskDisp Pro" panose="020B0504020202020204" pitchFamily="34" charset="0"/>
                  <a:ea typeface="Helvetica" charset="0"/>
                  <a:cs typeface="Helvetica" charset="0"/>
                </a:rPr>
                <a:t>Sed </a:t>
              </a:r>
              <a:r>
                <a:rPr lang="en-US" sz="1000" dirty="0" err="1">
                  <a:latin typeface="NeueHaasGroteskDisp Pro" panose="020B0504020202020204" pitchFamily="34" charset="0"/>
                  <a:ea typeface="Helvetica" charset="0"/>
                  <a:cs typeface="Helvetica" charset="0"/>
                </a:rPr>
                <a:t>icies</a:t>
              </a:r>
              <a:r>
                <a:rPr lang="en-US" sz="1000" dirty="0">
                  <a:latin typeface="NeueHaasGroteskDisp Pro" panose="020B0504020202020204" pitchFamily="34" charset="0"/>
                  <a:ea typeface="Helvetica" charset="0"/>
                  <a:cs typeface="Helvetica" charset="0"/>
                </a:rPr>
                <a:t> lacus </a:t>
              </a:r>
              <a:r>
                <a:rPr lang="en-US" sz="1000" dirty="0" err="1">
                  <a:latin typeface="NeueHaasGroteskDisp Pro" panose="020B0504020202020204" pitchFamily="34" charset="0"/>
                  <a:ea typeface="Helvetica" charset="0"/>
                  <a:cs typeface="Helvetica" charset="0"/>
                </a:rPr>
                <a:t>enim</a:t>
              </a:r>
              <a:r>
                <a:rPr lang="en-US" sz="1000" dirty="0">
                  <a:latin typeface="NeueHaasGroteskDisp Pro" panose="020B0504020202020204" pitchFamily="34" charset="0"/>
                  <a:ea typeface="Helvetica" charset="0"/>
                  <a:cs typeface="Helvetica" charset="0"/>
                </a:rPr>
                <a:t> sit </a:t>
              </a:r>
              <a:r>
                <a:rPr lang="en-US" sz="1000" dirty="0" err="1">
                  <a:latin typeface="NeueHaasGroteskDisp Pro" panose="020B0504020202020204" pitchFamily="34" charset="0"/>
                  <a:ea typeface="Helvetica" charset="0"/>
                  <a:cs typeface="Helvetica" charset="0"/>
                </a:rPr>
                <a:t>amet</a:t>
              </a:r>
              <a:r>
                <a:rPr lang="en-US" sz="1000" dirty="0">
                  <a:latin typeface="NeueHaasGroteskDisp Pro" panose="020B0504020202020204" pitchFamily="34" charset="0"/>
                  <a:ea typeface="Helvetica" charset="0"/>
                  <a:cs typeface="Helvetica" charset="0"/>
                </a:rPr>
                <a:t> </a:t>
              </a:r>
              <a:r>
                <a:rPr lang="en-US" sz="1000" dirty="0" err="1">
                  <a:latin typeface="NeueHaasGroteskDisp Pro" panose="020B0504020202020204" pitchFamily="34" charset="0"/>
                  <a:ea typeface="Helvetica" charset="0"/>
                  <a:cs typeface="Helvetica" charset="0"/>
                </a:rPr>
                <a:t>ultricies</a:t>
              </a:r>
              <a:r>
                <a:rPr lang="en-US" sz="1000" dirty="0">
                  <a:latin typeface="NeueHaasGroteskDisp Pro" panose="020B0504020202020204" pitchFamily="34" charset="0"/>
                  <a:ea typeface="Helvetica" charset="0"/>
                  <a:cs typeface="Helvetica" charset="0"/>
                </a:rPr>
                <a:t> </a:t>
              </a:r>
              <a:r>
                <a:rPr lang="en-US" sz="1000" dirty="0" err="1">
                  <a:latin typeface="NeueHaasGroteskDisp Pro" panose="020B0504020202020204" pitchFamily="34" charset="0"/>
                  <a:ea typeface="Helvetica" charset="0"/>
                  <a:cs typeface="Helvetica" charset="0"/>
                </a:rPr>
                <a:t>leo</a:t>
              </a:r>
              <a:r>
                <a:rPr lang="en-US" sz="1000" dirty="0">
                  <a:latin typeface="NeueHaasGroteskDisp Pro" panose="020B0504020202020204" pitchFamily="34" charset="0"/>
                  <a:ea typeface="Helvetica" charset="0"/>
                  <a:cs typeface="Helvetica" charset="0"/>
                </a:rPr>
                <a:t> porta </a:t>
              </a:r>
              <a:r>
                <a:rPr lang="en-US" sz="1000" dirty="0" err="1">
                  <a:latin typeface="NeueHaasGroteskDisp Pro" panose="020B0504020202020204" pitchFamily="34" charset="0"/>
                  <a:ea typeface="Helvetica" charset="0"/>
                  <a:cs typeface="Helvetica" charset="0"/>
                </a:rPr>
                <a:t>nibh</a:t>
              </a:r>
              <a:r>
                <a:rPr lang="en-US" sz="1000" dirty="0">
                  <a:latin typeface="NeueHaasGroteskDisp Pro" panose="020B0504020202020204" pitchFamily="34" charset="0"/>
                  <a:ea typeface="Helvetica" charset="0"/>
                  <a:cs typeface="Helvetica" charset="0"/>
                </a:rPr>
                <a:t> et </a:t>
              </a:r>
              <a:r>
                <a:rPr lang="en-US" sz="1000" dirty="0" err="1">
                  <a:latin typeface="NeueHaasGroteskDisp Pro" panose="020B0504020202020204" pitchFamily="34" charset="0"/>
                  <a:ea typeface="Helvetica" charset="0"/>
                  <a:cs typeface="Helvetica" charset="0"/>
                </a:rPr>
                <a:t>quis</a:t>
              </a:r>
              <a:r>
                <a:rPr lang="en-US" sz="1000" dirty="0">
                  <a:latin typeface="NeueHaasGroteskDisp Pro" panose="020B0504020202020204" pitchFamily="34" charset="0"/>
                  <a:ea typeface="Helvetica" charset="0"/>
                  <a:cs typeface="Helvetica" charset="0"/>
                </a:rPr>
                <a:t>.</a:t>
              </a:r>
            </a:p>
            <a:p>
              <a:pPr marR="4400">
                <a:lnSpc>
                  <a:spcPct val="150000"/>
                </a:lnSpc>
              </a:pPr>
              <a:r>
                <a:rPr lang="en-US" sz="700" dirty="0">
                  <a:latin typeface="NeueHaasGroteskDisp Pro" panose="020B0504020202020204" pitchFamily="34" charset="0"/>
                  <a:ea typeface="Helvetica Regular" charset="0"/>
                  <a:cs typeface="Helvetica Regular" charset="0"/>
                </a:rPr>
                <a:t>Nielsen</a:t>
              </a:r>
            </a:p>
          </p:txBody>
        </p:sp>
      </p:grpSp>
      <p:grpSp>
        <p:nvGrpSpPr>
          <p:cNvPr id="37" name="Group 36">
            <a:extLst>
              <a:ext uri="{FF2B5EF4-FFF2-40B4-BE49-F238E27FC236}">
                <a16:creationId xmlns:a16="http://schemas.microsoft.com/office/drawing/2014/main" id="{066AA178-36E8-C142-81A0-0C3294D72407}"/>
              </a:ext>
            </a:extLst>
          </p:cNvPr>
          <p:cNvGrpSpPr/>
          <p:nvPr/>
        </p:nvGrpSpPr>
        <p:grpSpPr>
          <a:xfrm>
            <a:off x="9444441" y="4035652"/>
            <a:ext cx="1828800" cy="1828800"/>
            <a:chOff x="2532058" y="-6261806"/>
            <a:chExt cx="6468248" cy="6468249"/>
          </a:xfrm>
        </p:grpSpPr>
        <p:sp>
          <p:nvSpPr>
            <p:cNvPr id="38" name="Shape 464">
              <a:extLst>
                <a:ext uri="{FF2B5EF4-FFF2-40B4-BE49-F238E27FC236}">
                  <a16:creationId xmlns:a16="http://schemas.microsoft.com/office/drawing/2014/main" id="{40AE0F40-CEF5-6C45-84ED-F8334F5F8709}"/>
                </a:ext>
              </a:extLst>
            </p:cNvPr>
            <p:cNvSpPr/>
            <p:nvPr/>
          </p:nvSpPr>
          <p:spPr>
            <a:xfrm>
              <a:off x="2532058" y="-6261806"/>
              <a:ext cx="6468248" cy="6468249"/>
            </a:xfrm>
            <a:prstGeom prst="ellipse">
              <a:avLst/>
            </a:prstGeom>
            <a:solidFill>
              <a:srgbClr val="FFFFFF"/>
            </a:solidFill>
            <a:ln w="38100" cap="flat">
              <a:solidFill>
                <a:schemeClr val="accent6"/>
              </a:solidFill>
              <a:custDash>
                <a:ds d="200000" sp="200000"/>
              </a:custDash>
              <a:miter lim="400000"/>
            </a:ln>
            <a:effectLst/>
            <a:extLst>
              <a:ext uri="{C572A759-6A51-4108-AA02-DFA0A04FC94B}">
                <ma14:wrappingTextBoxFlag xmlns="" xmlns:ma14="http://schemas.microsoft.com/office/mac/drawingml/2011/main" val="1"/>
              </a:ext>
            </a:extLst>
          </p:spPr>
          <p:txBody>
            <a:bodyPr wrap="square" lIns="25400" tIns="25400" rIns="25400" bIns="25400" numCol="1" anchor="ctr">
              <a:noAutofit/>
            </a:bodyPr>
            <a:lstStyle/>
            <a:p>
              <a:pPr marL="235744" marR="508007">
                <a:lnSpc>
                  <a:spcPts val="3800"/>
                </a:lnSpc>
                <a:defRPr sz="6600" b="0">
                  <a:solidFill>
                    <a:srgbClr val="00D800"/>
                  </a:solidFill>
                  <a:latin typeface="Neue Haas Grotesk Display Std 95 Black"/>
                  <a:ea typeface="Neue Haas Grotesk Display Std 95 Black"/>
                  <a:cs typeface="Neue Haas Grotesk Display Std 95 Black"/>
                  <a:sym typeface="Neue Haas Grotesk Display Std 95 Black"/>
                </a:defRPr>
              </a:pPr>
              <a:endParaRPr sz="1000" dirty="0">
                <a:latin typeface="NeueHaasGroteskDisp Pro" panose="020B0504020202020204" pitchFamily="34" charset="77"/>
                <a:ea typeface="Helvetica" charset="-52"/>
                <a:cs typeface="Helvetica" charset="-52"/>
              </a:endParaRPr>
            </a:p>
          </p:txBody>
        </p:sp>
        <p:sp>
          <p:nvSpPr>
            <p:cNvPr id="39" name="Rectangle 38">
              <a:extLst>
                <a:ext uri="{FF2B5EF4-FFF2-40B4-BE49-F238E27FC236}">
                  <a16:creationId xmlns:a16="http://schemas.microsoft.com/office/drawing/2014/main" id="{12B34FC2-4088-4140-88A8-6B3EAF0B88FD}"/>
                </a:ext>
              </a:extLst>
            </p:cNvPr>
            <p:cNvSpPr/>
            <p:nvPr/>
          </p:nvSpPr>
          <p:spPr>
            <a:xfrm>
              <a:off x="3912994" y="-5271338"/>
              <a:ext cx="4269196" cy="5002884"/>
            </a:xfrm>
            <a:prstGeom prst="rect">
              <a:avLst/>
            </a:prstGeom>
            <a:ln>
              <a:noFill/>
            </a:ln>
          </p:spPr>
          <p:txBody>
            <a:bodyPr wrap="square" anchor="ctr">
              <a:spAutoFit/>
            </a:bodyPr>
            <a:lstStyle/>
            <a:p>
              <a:pPr marR="4400">
                <a:lnSpc>
                  <a:spcPct val="150000"/>
                </a:lnSpc>
              </a:pPr>
              <a:r>
                <a:rPr lang="en-US" sz="1100" dirty="0">
                  <a:solidFill>
                    <a:srgbClr val="412181"/>
                  </a:solidFill>
                  <a:latin typeface="NeueHaasGroteskDisp Pro" panose="020B0504020202020204" pitchFamily="34" charset="0"/>
                  <a:ea typeface="Helvetica" charset="0"/>
                  <a:cs typeface="Helvetica" charset="0"/>
                </a:rPr>
                <a:t>Milestone Title</a:t>
              </a:r>
            </a:p>
            <a:p>
              <a:pPr marR="4400">
                <a:lnSpc>
                  <a:spcPct val="150000"/>
                </a:lnSpc>
              </a:pPr>
              <a:r>
                <a:rPr lang="en-US" sz="1000" dirty="0">
                  <a:latin typeface="NeueHaasGroteskDisp Pro" panose="020B0504020202020204" pitchFamily="34" charset="0"/>
                  <a:ea typeface="Helvetica" charset="0"/>
                  <a:cs typeface="Helvetica" charset="0"/>
                </a:rPr>
                <a:t>Sed </a:t>
              </a:r>
              <a:r>
                <a:rPr lang="en-US" sz="1000" dirty="0" err="1">
                  <a:latin typeface="NeueHaasGroteskDisp Pro" panose="020B0504020202020204" pitchFamily="34" charset="0"/>
                  <a:ea typeface="Helvetica" charset="0"/>
                  <a:cs typeface="Helvetica" charset="0"/>
                </a:rPr>
                <a:t>icies</a:t>
              </a:r>
              <a:r>
                <a:rPr lang="en-US" sz="1000" dirty="0">
                  <a:latin typeface="NeueHaasGroteskDisp Pro" panose="020B0504020202020204" pitchFamily="34" charset="0"/>
                  <a:ea typeface="Helvetica" charset="0"/>
                  <a:cs typeface="Helvetica" charset="0"/>
                </a:rPr>
                <a:t> lacus </a:t>
              </a:r>
              <a:r>
                <a:rPr lang="en-US" sz="1000" dirty="0" err="1">
                  <a:latin typeface="NeueHaasGroteskDisp Pro" panose="020B0504020202020204" pitchFamily="34" charset="0"/>
                  <a:ea typeface="Helvetica" charset="0"/>
                  <a:cs typeface="Helvetica" charset="0"/>
                </a:rPr>
                <a:t>enim</a:t>
              </a:r>
              <a:r>
                <a:rPr lang="en-US" sz="1000" dirty="0">
                  <a:latin typeface="NeueHaasGroteskDisp Pro" panose="020B0504020202020204" pitchFamily="34" charset="0"/>
                  <a:ea typeface="Helvetica" charset="0"/>
                  <a:cs typeface="Helvetica" charset="0"/>
                </a:rPr>
                <a:t> sit </a:t>
              </a:r>
              <a:r>
                <a:rPr lang="en-US" sz="1000" dirty="0" err="1">
                  <a:latin typeface="NeueHaasGroteskDisp Pro" panose="020B0504020202020204" pitchFamily="34" charset="0"/>
                  <a:ea typeface="Helvetica" charset="0"/>
                  <a:cs typeface="Helvetica" charset="0"/>
                </a:rPr>
                <a:t>amet</a:t>
              </a:r>
              <a:r>
                <a:rPr lang="en-US" sz="1000" dirty="0">
                  <a:latin typeface="NeueHaasGroteskDisp Pro" panose="020B0504020202020204" pitchFamily="34" charset="0"/>
                  <a:ea typeface="Helvetica" charset="0"/>
                  <a:cs typeface="Helvetica" charset="0"/>
                </a:rPr>
                <a:t> </a:t>
              </a:r>
              <a:r>
                <a:rPr lang="en-US" sz="1000" dirty="0" err="1">
                  <a:latin typeface="NeueHaasGroteskDisp Pro" panose="020B0504020202020204" pitchFamily="34" charset="0"/>
                  <a:ea typeface="Helvetica" charset="0"/>
                  <a:cs typeface="Helvetica" charset="0"/>
                </a:rPr>
                <a:t>ultricies</a:t>
              </a:r>
              <a:r>
                <a:rPr lang="en-US" sz="1000" dirty="0">
                  <a:latin typeface="NeueHaasGroteskDisp Pro" panose="020B0504020202020204" pitchFamily="34" charset="0"/>
                  <a:ea typeface="Helvetica" charset="0"/>
                  <a:cs typeface="Helvetica" charset="0"/>
                </a:rPr>
                <a:t> </a:t>
              </a:r>
              <a:r>
                <a:rPr lang="en-US" sz="1000" dirty="0" err="1">
                  <a:latin typeface="NeueHaasGroteskDisp Pro" panose="020B0504020202020204" pitchFamily="34" charset="0"/>
                  <a:ea typeface="Helvetica" charset="0"/>
                  <a:cs typeface="Helvetica" charset="0"/>
                </a:rPr>
                <a:t>leo</a:t>
              </a:r>
              <a:r>
                <a:rPr lang="en-US" sz="1000" dirty="0">
                  <a:latin typeface="NeueHaasGroteskDisp Pro" panose="020B0504020202020204" pitchFamily="34" charset="0"/>
                  <a:ea typeface="Helvetica" charset="0"/>
                  <a:cs typeface="Helvetica" charset="0"/>
                </a:rPr>
                <a:t> porta </a:t>
              </a:r>
              <a:r>
                <a:rPr lang="en-US" sz="1000" dirty="0" err="1">
                  <a:latin typeface="NeueHaasGroteskDisp Pro" panose="020B0504020202020204" pitchFamily="34" charset="0"/>
                  <a:ea typeface="Helvetica" charset="0"/>
                  <a:cs typeface="Helvetica" charset="0"/>
                </a:rPr>
                <a:t>nibh</a:t>
              </a:r>
              <a:r>
                <a:rPr lang="en-US" sz="1000" dirty="0">
                  <a:latin typeface="NeueHaasGroteskDisp Pro" panose="020B0504020202020204" pitchFamily="34" charset="0"/>
                  <a:ea typeface="Helvetica" charset="0"/>
                  <a:cs typeface="Helvetica" charset="0"/>
                </a:rPr>
                <a:t> et </a:t>
              </a:r>
              <a:r>
                <a:rPr lang="en-US" sz="1000" dirty="0" err="1">
                  <a:latin typeface="NeueHaasGroteskDisp Pro" panose="020B0504020202020204" pitchFamily="34" charset="0"/>
                  <a:ea typeface="Helvetica" charset="0"/>
                  <a:cs typeface="Helvetica" charset="0"/>
                </a:rPr>
                <a:t>quis</a:t>
              </a:r>
              <a:r>
                <a:rPr lang="en-US" sz="1000" dirty="0">
                  <a:latin typeface="NeueHaasGroteskDisp Pro" panose="020B0504020202020204" pitchFamily="34" charset="0"/>
                  <a:ea typeface="Helvetica" charset="0"/>
                  <a:cs typeface="Helvetica" charset="0"/>
                </a:rPr>
                <a:t>.</a:t>
              </a:r>
            </a:p>
            <a:p>
              <a:pPr marR="4400">
                <a:lnSpc>
                  <a:spcPct val="150000"/>
                </a:lnSpc>
              </a:pPr>
              <a:r>
                <a:rPr lang="en-US" sz="700" dirty="0">
                  <a:latin typeface="NeueHaasGroteskDisp Pro" panose="020B0504020202020204" pitchFamily="34" charset="0"/>
                  <a:ea typeface="Helvetica Regular" charset="0"/>
                  <a:cs typeface="Helvetica Regular" charset="0"/>
                </a:rPr>
                <a:t>Nielsen</a:t>
              </a:r>
            </a:p>
          </p:txBody>
        </p:sp>
      </p:grpSp>
    </p:spTree>
    <p:extLst>
      <p:ext uri="{BB962C8B-B14F-4D97-AF65-F5344CB8AC3E}">
        <p14:creationId xmlns:p14="http://schemas.microsoft.com/office/powerpoint/2010/main" val="34747411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19" y="445723"/>
            <a:ext cx="9666757" cy="1094451"/>
          </a:xfrm>
        </p:spPr>
        <p:txBody>
          <a:bodyPr>
            <a:noAutofit/>
          </a:bodyPr>
          <a:lstStyle/>
          <a:p>
            <a:r>
              <a:rPr lang="en-US" sz="4800" dirty="0"/>
              <a:t>Timeline</a:t>
            </a:r>
            <a:endParaRPr lang="en-US" sz="4800" dirty="0">
              <a:latin typeface="NeueHaasGroteskDisp Pro Md" panose="020B0504020202020204" pitchFamily="34" charset="77"/>
            </a:endParaRPr>
          </a:p>
        </p:txBody>
      </p:sp>
      <p:sp>
        <p:nvSpPr>
          <p:cNvPr id="15" name="Rectangle 14">
            <a:extLst>
              <a:ext uri="{FF2B5EF4-FFF2-40B4-BE49-F238E27FC236}">
                <a16:creationId xmlns:a16="http://schemas.microsoft.com/office/drawing/2014/main" id="{2D5E9F68-0C4E-4D4C-B20A-D62B766E7DA0}"/>
              </a:ext>
            </a:extLst>
          </p:cNvPr>
          <p:cNvSpPr/>
          <p:nvPr/>
        </p:nvSpPr>
        <p:spPr>
          <a:xfrm flipV="1">
            <a:off x="570367" y="4772067"/>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9" name="Date Placeholder 3">
            <a:extLst>
              <a:ext uri="{FF2B5EF4-FFF2-40B4-BE49-F238E27FC236}">
                <a16:creationId xmlns:a16="http://schemas.microsoft.com/office/drawing/2014/main" id="{88EFAF7A-8AFF-A348-8411-EB797E4ACF35}"/>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tx2"/>
                </a:solidFill>
              </a:rPr>
              <a:t>XX/XX/XXXX</a:t>
            </a:r>
          </a:p>
        </p:txBody>
      </p:sp>
      <p:sp>
        <p:nvSpPr>
          <p:cNvPr id="10" name="Slide Number Placeholder 5">
            <a:extLst>
              <a:ext uri="{FF2B5EF4-FFF2-40B4-BE49-F238E27FC236}">
                <a16:creationId xmlns:a16="http://schemas.microsoft.com/office/drawing/2014/main" id="{F7B2ED2F-1604-9545-8A02-46660C47ABC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pPr/>
              <a:t>42</a:t>
            </a:fld>
            <a:endParaRPr lang="en-US" dirty="0"/>
          </a:p>
        </p:txBody>
      </p:sp>
      <p:sp>
        <p:nvSpPr>
          <p:cNvPr id="16" name="Footer Placeholder 4">
            <a:extLst>
              <a:ext uri="{FF2B5EF4-FFF2-40B4-BE49-F238E27FC236}">
                <a16:creationId xmlns:a16="http://schemas.microsoft.com/office/drawing/2014/main" id="{97D6E4B6-5566-5940-B43C-F92886AE55E2}"/>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pPr algn="l"/>
            <a:r>
              <a:rPr lang="en-US" dirty="0"/>
              <a:t>Presentation Title</a:t>
            </a:r>
          </a:p>
        </p:txBody>
      </p:sp>
      <p:sp>
        <p:nvSpPr>
          <p:cNvPr id="13" name="TextBox 12">
            <a:extLst>
              <a:ext uri="{FF2B5EF4-FFF2-40B4-BE49-F238E27FC236}">
                <a16:creationId xmlns:a16="http://schemas.microsoft.com/office/drawing/2014/main" id="{6B326A6D-EBF9-6842-B21C-207F9311CAAC}"/>
              </a:ext>
            </a:extLst>
          </p:cNvPr>
          <p:cNvSpPr txBox="1"/>
          <p:nvPr/>
        </p:nvSpPr>
        <p:spPr>
          <a:xfrm>
            <a:off x="540825" y="5643693"/>
            <a:ext cx="11251372" cy="2359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a:r>
              <a:rPr lang="en-US" sz="1200" dirty="0">
                <a:latin typeface="NeueHaasGroteskDisp Pro" panose="020B0504020202020204" pitchFamily="34" charset="0"/>
                <a:ea typeface="Helvetica Regular" charset="0"/>
                <a:cs typeface="Helvetica Regular" charset="0"/>
              </a:rPr>
              <a:t>Change the timeline dates on bottom and state Tasks on each of the bars. Adjust the bars to the timeline as appropriate.</a:t>
            </a:r>
          </a:p>
        </p:txBody>
      </p:sp>
      <p:sp>
        <p:nvSpPr>
          <p:cNvPr id="14" name="Rectangle 13">
            <a:extLst>
              <a:ext uri="{FF2B5EF4-FFF2-40B4-BE49-F238E27FC236}">
                <a16:creationId xmlns:a16="http://schemas.microsoft.com/office/drawing/2014/main" id="{3DCCDD79-C432-D34C-943A-A9BDBE2E8559}"/>
              </a:ext>
            </a:extLst>
          </p:cNvPr>
          <p:cNvSpPr/>
          <p:nvPr/>
        </p:nvSpPr>
        <p:spPr>
          <a:xfrm flipV="1">
            <a:off x="540825" y="2398464"/>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7" name="Rectangle 16">
            <a:extLst>
              <a:ext uri="{FF2B5EF4-FFF2-40B4-BE49-F238E27FC236}">
                <a16:creationId xmlns:a16="http://schemas.microsoft.com/office/drawing/2014/main" id="{D5356F8D-039B-0D46-991B-A40549132FE8}"/>
              </a:ext>
            </a:extLst>
          </p:cNvPr>
          <p:cNvSpPr/>
          <p:nvPr/>
        </p:nvSpPr>
        <p:spPr>
          <a:xfrm flipV="1">
            <a:off x="540825" y="2956146"/>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8" name="Rectangle 17">
            <a:extLst>
              <a:ext uri="{FF2B5EF4-FFF2-40B4-BE49-F238E27FC236}">
                <a16:creationId xmlns:a16="http://schemas.microsoft.com/office/drawing/2014/main" id="{DFCC1372-A2E6-7A4C-97D3-6B5888581CA6}"/>
              </a:ext>
            </a:extLst>
          </p:cNvPr>
          <p:cNvSpPr/>
          <p:nvPr/>
        </p:nvSpPr>
        <p:spPr>
          <a:xfrm flipV="1">
            <a:off x="540825" y="3573645"/>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9" name="Rectangle 18">
            <a:extLst>
              <a:ext uri="{FF2B5EF4-FFF2-40B4-BE49-F238E27FC236}">
                <a16:creationId xmlns:a16="http://schemas.microsoft.com/office/drawing/2014/main" id="{D7B8CBFE-9501-E145-B56C-6D43D5FCF79B}"/>
              </a:ext>
            </a:extLst>
          </p:cNvPr>
          <p:cNvSpPr/>
          <p:nvPr/>
        </p:nvSpPr>
        <p:spPr>
          <a:xfrm flipV="1">
            <a:off x="570367" y="4126405"/>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20" name="Rectangle 19">
            <a:extLst>
              <a:ext uri="{FF2B5EF4-FFF2-40B4-BE49-F238E27FC236}">
                <a16:creationId xmlns:a16="http://schemas.microsoft.com/office/drawing/2014/main" id="{2EEBC0BB-68FD-A547-96CF-C782BD7743C2}"/>
              </a:ext>
            </a:extLst>
          </p:cNvPr>
          <p:cNvSpPr/>
          <p:nvPr/>
        </p:nvSpPr>
        <p:spPr>
          <a:xfrm flipV="1">
            <a:off x="540825" y="184078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5" name="TextBox 4">
            <a:extLst>
              <a:ext uri="{FF2B5EF4-FFF2-40B4-BE49-F238E27FC236}">
                <a16:creationId xmlns:a16="http://schemas.microsoft.com/office/drawing/2014/main" id="{8D22729F-0242-7148-974B-6F98496C2722}"/>
              </a:ext>
            </a:extLst>
          </p:cNvPr>
          <p:cNvSpPr txBox="1"/>
          <p:nvPr/>
        </p:nvSpPr>
        <p:spPr>
          <a:xfrm>
            <a:off x="85084" y="4960417"/>
            <a:ext cx="970566" cy="369332"/>
          </a:xfrm>
          <a:prstGeom prst="rect">
            <a:avLst/>
          </a:prstGeom>
          <a:noFill/>
        </p:spPr>
        <p:txBody>
          <a:bodyPr wrap="square" rtlCol="0">
            <a:spAutoFit/>
          </a:bodyPr>
          <a:lstStyle/>
          <a:p>
            <a:r>
              <a:rPr lang="en-US" dirty="0">
                <a:latin typeface="NeueHaasGroteskDisp Pro" panose="020B0504020202020204" pitchFamily="34" charset="0"/>
              </a:rPr>
              <a:t>Week 0</a:t>
            </a:r>
          </a:p>
        </p:txBody>
      </p:sp>
      <p:sp>
        <p:nvSpPr>
          <p:cNvPr id="21" name="TextBox 20">
            <a:extLst>
              <a:ext uri="{FF2B5EF4-FFF2-40B4-BE49-F238E27FC236}">
                <a16:creationId xmlns:a16="http://schemas.microsoft.com/office/drawing/2014/main" id="{279E4FA3-F0AF-D043-8FF1-E48DB990BA31}"/>
              </a:ext>
            </a:extLst>
          </p:cNvPr>
          <p:cNvSpPr txBox="1"/>
          <p:nvPr/>
        </p:nvSpPr>
        <p:spPr>
          <a:xfrm>
            <a:off x="1235091" y="4960417"/>
            <a:ext cx="970566" cy="369332"/>
          </a:xfrm>
          <a:prstGeom prst="rect">
            <a:avLst/>
          </a:prstGeom>
          <a:noFill/>
        </p:spPr>
        <p:txBody>
          <a:bodyPr wrap="square" rtlCol="0">
            <a:spAutoFit/>
          </a:bodyPr>
          <a:lstStyle/>
          <a:p>
            <a:r>
              <a:rPr lang="en-US" dirty="0">
                <a:latin typeface="NeueHaasGroteskDisp Pro" panose="020B0504020202020204" pitchFamily="34" charset="0"/>
              </a:rPr>
              <a:t>Week 1</a:t>
            </a:r>
          </a:p>
        </p:txBody>
      </p:sp>
      <p:sp>
        <p:nvSpPr>
          <p:cNvPr id="22" name="TextBox 21">
            <a:extLst>
              <a:ext uri="{FF2B5EF4-FFF2-40B4-BE49-F238E27FC236}">
                <a16:creationId xmlns:a16="http://schemas.microsoft.com/office/drawing/2014/main" id="{EC6C6228-2036-8140-BEBD-552EF568F9B2}"/>
              </a:ext>
            </a:extLst>
          </p:cNvPr>
          <p:cNvSpPr txBox="1"/>
          <p:nvPr/>
        </p:nvSpPr>
        <p:spPr>
          <a:xfrm>
            <a:off x="2385098" y="4965540"/>
            <a:ext cx="970566" cy="369332"/>
          </a:xfrm>
          <a:prstGeom prst="rect">
            <a:avLst/>
          </a:prstGeom>
          <a:noFill/>
        </p:spPr>
        <p:txBody>
          <a:bodyPr wrap="square" rtlCol="0">
            <a:spAutoFit/>
          </a:bodyPr>
          <a:lstStyle/>
          <a:p>
            <a:r>
              <a:rPr lang="en-US" dirty="0">
                <a:latin typeface="NeueHaasGroteskDisp Pro" panose="020B0504020202020204" pitchFamily="34" charset="0"/>
              </a:rPr>
              <a:t>Week 2</a:t>
            </a:r>
          </a:p>
        </p:txBody>
      </p:sp>
      <p:sp>
        <p:nvSpPr>
          <p:cNvPr id="23" name="TextBox 22">
            <a:extLst>
              <a:ext uri="{FF2B5EF4-FFF2-40B4-BE49-F238E27FC236}">
                <a16:creationId xmlns:a16="http://schemas.microsoft.com/office/drawing/2014/main" id="{40354367-8FAF-DA44-AE45-CA6166D43B98}"/>
              </a:ext>
            </a:extLst>
          </p:cNvPr>
          <p:cNvSpPr txBox="1"/>
          <p:nvPr/>
        </p:nvSpPr>
        <p:spPr>
          <a:xfrm>
            <a:off x="3625792" y="4960417"/>
            <a:ext cx="970566" cy="369332"/>
          </a:xfrm>
          <a:prstGeom prst="rect">
            <a:avLst/>
          </a:prstGeom>
          <a:noFill/>
        </p:spPr>
        <p:txBody>
          <a:bodyPr wrap="square" rtlCol="0">
            <a:spAutoFit/>
          </a:bodyPr>
          <a:lstStyle/>
          <a:p>
            <a:r>
              <a:rPr lang="en-US" dirty="0">
                <a:latin typeface="NeueHaasGroteskDisp Pro" panose="020B0504020202020204" pitchFamily="34" charset="0"/>
              </a:rPr>
              <a:t>Week 3</a:t>
            </a:r>
          </a:p>
        </p:txBody>
      </p:sp>
      <p:sp>
        <p:nvSpPr>
          <p:cNvPr id="24" name="TextBox 23">
            <a:extLst>
              <a:ext uri="{FF2B5EF4-FFF2-40B4-BE49-F238E27FC236}">
                <a16:creationId xmlns:a16="http://schemas.microsoft.com/office/drawing/2014/main" id="{BCF73198-8CD8-D94F-9B68-30C775B77838}"/>
              </a:ext>
            </a:extLst>
          </p:cNvPr>
          <p:cNvSpPr txBox="1"/>
          <p:nvPr/>
        </p:nvSpPr>
        <p:spPr>
          <a:xfrm>
            <a:off x="4628584" y="4960417"/>
            <a:ext cx="970566" cy="369332"/>
          </a:xfrm>
          <a:prstGeom prst="rect">
            <a:avLst/>
          </a:prstGeom>
          <a:noFill/>
        </p:spPr>
        <p:txBody>
          <a:bodyPr wrap="square" rtlCol="0">
            <a:spAutoFit/>
          </a:bodyPr>
          <a:lstStyle/>
          <a:p>
            <a:r>
              <a:rPr lang="en-US" dirty="0">
                <a:latin typeface="NeueHaasGroteskDisp Pro" panose="020B0504020202020204" pitchFamily="34" charset="0"/>
              </a:rPr>
              <a:t>Week 4</a:t>
            </a:r>
          </a:p>
        </p:txBody>
      </p:sp>
      <p:sp>
        <p:nvSpPr>
          <p:cNvPr id="25" name="TextBox 24">
            <a:extLst>
              <a:ext uri="{FF2B5EF4-FFF2-40B4-BE49-F238E27FC236}">
                <a16:creationId xmlns:a16="http://schemas.microsoft.com/office/drawing/2014/main" id="{9486FAFA-2F1F-904B-8DEA-E99B643A58AA}"/>
              </a:ext>
            </a:extLst>
          </p:cNvPr>
          <p:cNvSpPr txBox="1"/>
          <p:nvPr/>
        </p:nvSpPr>
        <p:spPr>
          <a:xfrm>
            <a:off x="5898584" y="4960417"/>
            <a:ext cx="970566" cy="369332"/>
          </a:xfrm>
          <a:prstGeom prst="rect">
            <a:avLst/>
          </a:prstGeom>
          <a:noFill/>
        </p:spPr>
        <p:txBody>
          <a:bodyPr wrap="square" rtlCol="0">
            <a:spAutoFit/>
          </a:bodyPr>
          <a:lstStyle/>
          <a:p>
            <a:r>
              <a:rPr lang="en-US" dirty="0">
                <a:latin typeface="NeueHaasGroteskDisp Pro" panose="020B0504020202020204" pitchFamily="34" charset="0"/>
              </a:rPr>
              <a:t>Week 5</a:t>
            </a:r>
          </a:p>
        </p:txBody>
      </p:sp>
      <p:sp>
        <p:nvSpPr>
          <p:cNvPr id="26" name="TextBox 25">
            <a:extLst>
              <a:ext uri="{FF2B5EF4-FFF2-40B4-BE49-F238E27FC236}">
                <a16:creationId xmlns:a16="http://schemas.microsoft.com/office/drawing/2014/main" id="{FCC2B600-BB3E-134B-AC34-1A6B651377A8}"/>
              </a:ext>
            </a:extLst>
          </p:cNvPr>
          <p:cNvSpPr txBox="1"/>
          <p:nvPr/>
        </p:nvSpPr>
        <p:spPr>
          <a:xfrm>
            <a:off x="7050051" y="4960417"/>
            <a:ext cx="970566" cy="369332"/>
          </a:xfrm>
          <a:prstGeom prst="rect">
            <a:avLst/>
          </a:prstGeom>
          <a:noFill/>
        </p:spPr>
        <p:txBody>
          <a:bodyPr wrap="square" rtlCol="0">
            <a:spAutoFit/>
          </a:bodyPr>
          <a:lstStyle/>
          <a:p>
            <a:r>
              <a:rPr lang="en-US" dirty="0">
                <a:latin typeface="NeueHaasGroteskDisp Pro" panose="020B0504020202020204" pitchFamily="34" charset="0"/>
              </a:rPr>
              <a:t>Week 6</a:t>
            </a:r>
          </a:p>
        </p:txBody>
      </p:sp>
      <p:sp>
        <p:nvSpPr>
          <p:cNvPr id="27" name="TextBox 26">
            <a:extLst>
              <a:ext uri="{FF2B5EF4-FFF2-40B4-BE49-F238E27FC236}">
                <a16:creationId xmlns:a16="http://schemas.microsoft.com/office/drawing/2014/main" id="{EB6FB2B7-67AF-0049-9A92-2EE19E27FF09}"/>
              </a:ext>
            </a:extLst>
          </p:cNvPr>
          <p:cNvSpPr txBox="1"/>
          <p:nvPr/>
        </p:nvSpPr>
        <p:spPr>
          <a:xfrm>
            <a:off x="8320051" y="4960417"/>
            <a:ext cx="970566" cy="369332"/>
          </a:xfrm>
          <a:prstGeom prst="rect">
            <a:avLst/>
          </a:prstGeom>
          <a:noFill/>
        </p:spPr>
        <p:txBody>
          <a:bodyPr wrap="square" rtlCol="0">
            <a:spAutoFit/>
          </a:bodyPr>
          <a:lstStyle/>
          <a:p>
            <a:r>
              <a:rPr lang="en-US" dirty="0">
                <a:latin typeface="NeueHaasGroteskDisp Pro" panose="020B0504020202020204" pitchFamily="34" charset="0"/>
              </a:rPr>
              <a:t>Week 7</a:t>
            </a:r>
          </a:p>
        </p:txBody>
      </p:sp>
      <p:sp>
        <p:nvSpPr>
          <p:cNvPr id="28" name="TextBox 27">
            <a:extLst>
              <a:ext uri="{FF2B5EF4-FFF2-40B4-BE49-F238E27FC236}">
                <a16:creationId xmlns:a16="http://schemas.microsoft.com/office/drawing/2014/main" id="{78BF57C9-53DF-1744-AEFB-4B4518C0F575}"/>
              </a:ext>
            </a:extLst>
          </p:cNvPr>
          <p:cNvSpPr txBox="1"/>
          <p:nvPr/>
        </p:nvSpPr>
        <p:spPr>
          <a:xfrm>
            <a:off x="9471518" y="4960417"/>
            <a:ext cx="970566" cy="369332"/>
          </a:xfrm>
          <a:prstGeom prst="rect">
            <a:avLst/>
          </a:prstGeom>
          <a:noFill/>
        </p:spPr>
        <p:txBody>
          <a:bodyPr wrap="square" rtlCol="0">
            <a:spAutoFit/>
          </a:bodyPr>
          <a:lstStyle/>
          <a:p>
            <a:r>
              <a:rPr lang="en-US" dirty="0">
                <a:latin typeface="NeueHaasGroteskDisp Pro" panose="020B0504020202020204" pitchFamily="34" charset="0"/>
              </a:rPr>
              <a:t>Week 8</a:t>
            </a:r>
          </a:p>
        </p:txBody>
      </p:sp>
      <p:sp>
        <p:nvSpPr>
          <p:cNvPr id="29" name="TextBox 28">
            <a:extLst>
              <a:ext uri="{FF2B5EF4-FFF2-40B4-BE49-F238E27FC236}">
                <a16:creationId xmlns:a16="http://schemas.microsoft.com/office/drawing/2014/main" id="{B1E1B0E2-3990-A94F-8F48-C9E84674A25E}"/>
              </a:ext>
            </a:extLst>
          </p:cNvPr>
          <p:cNvSpPr txBox="1"/>
          <p:nvPr/>
        </p:nvSpPr>
        <p:spPr>
          <a:xfrm>
            <a:off x="10621525" y="4960417"/>
            <a:ext cx="970566" cy="369332"/>
          </a:xfrm>
          <a:prstGeom prst="rect">
            <a:avLst/>
          </a:prstGeom>
          <a:noFill/>
        </p:spPr>
        <p:txBody>
          <a:bodyPr wrap="square" rtlCol="0">
            <a:spAutoFit/>
          </a:bodyPr>
          <a:lstStyle/>
          <a:p>
            <a:r>
              <a:rPr lang="en-US" dirty="0">
                <a:latin typeface="NeueHaasGroteskDisp Pro" panose="020B0504020202020204" pitchFamily="34" charset="0"/>
              </a:rPr>
              <a:t>Week 9</a:t>
            </a:r>
          </a:p>
        </p:txBody>
      </p:sp>
      <p:sp>
        <p:nvSpPr>
          <p:cNvPr id="6" name="Rectangle 5">
            <a:extLst>
              <a:ext uri="{FF2B5EF4-FFF2-40B4-BE49-F238E27FC236}">
                <a16:creationId xmlns:a16="http://schemas.microsoft.com/office/drawing/2014/main" id="{8C1C7E61-4668-0F44-B4FD-0754B34622E3}"/>
              </a:ext>
            </a:extLst>
          </p:cNvPr>
          <p:cNvSpPr/>
          <p:nvPr/>
        </p:nvSpPr>
        <p:spPr>
          <a:xfrm>
            <a:off x="516250" y="1882862"/>
            <a:ext cx="3540708" cy="5221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NeueHaasGroteskDisp Pro" panose="020B0504020202020204" pitchFamily="34" charset="0"/>
              </a:rPr>
              <a:t>Task 1</a:t>
            </a:r>
          </a:p>
        </p:txBody>
      </p:sp>
      <p:sp>
        <p:nvSpPr>
          <p:cNvPr id="30" name="Rectangle 29">
            <a:extLst>
              <a:ext uri="{FF2B5EF4-FFF2-40B4-BE49-F238E27FC236}">
                <a16:creationId xmlns:a16="http://schemas.microsoft.com/office/drawing/2014/main" id="{E80049E9-6890-3B41-A384-249E35543D55}"/>
              </a:ext>
            </a:extLst>
          </p:cNvPr>
          <p:cNvSpPr/>
          <p:nvPr/>
        </p:nvSpPr>
        <p:spPr>
          <a:xfrm>
            <a:off x="2870381" y="2444099"/>
            <a:ext cx="3540708" cy="48880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NeueHaasGroteskDisp Pro" panose="020B0504020202020204" pitchFamily="34" charset="0"/>
              </a:rPr>
              <a:t>Task 2</a:t>
            </a:r>
          </a:p>
        </p:txBody>
      </p:sp>
      <p:sp>
        <p:nvSpPr>
          <p:cNvPr id="31" name="Rectangle 30">
            <a:extLst>
              <a:ext uri="{FF2B5EF4-FFF2-40B4-BE49-F238E27FC236}">
                <a16:creationId xmlns:a16="http://schemas.microsoft.com/office/drawing/2014/main" id="{0E7E0ADB-F653-0245-95D8-0E0AA5C5A07C}"/>
              </a:ext>
            </a:extLst>
          </p:cNvPr>
          <p:cNvSpPr/>
          <p:nvPr/>
        </p:nvSpPr>
        <p:spPr>
          <a:xfrm>
            <a:off x="5599150" y="3038467"/>
            <a:ext cx="3540708" cy="48880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NeueHaasGroteskDisp Pro" panose="020B0504020202020204" pitchFamily="34" charset="0"/>
              </a:rPr>
              <a:t>Task 3</a:t>
            </a:r>
          </a:p>
        </p:txBody>
      </p:sp>
      <p:sp>
        <p:nvSpPr>
          <p:cNvPr id="32" name="Rectangle 31">
            <a:extLst>
              <a:ext uri="{FF2B5EF4-FFF2-40B4-BE49-F238E27FC236}">
                <a16:creationId xmlns:a16="http://schemas.microsoft.com/office/drawing/2014/main" id="{BABAAC36-A59C-CF4D-B5E0-6D9142AFD533}"/>
              </a:ext>
            </a:extLst>
          </p:cNvPr>
          <p:cNvSpPr/>
          <p:nvPr/>
        </p:nvSpPr>
        <p:spPr>
          <a:xfrm>
            <a:off x="7927392" y="3629809"/>
            <a:ext cx="3540708" cy="48880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NeueHaasGroteskDisp Pro" panose="020B0504020202020204" pitchFamily="34" charset="0"/>
              </a:rPr>
              <a:t>Task 4</a:t>
            </a:r>
          </a:p>
        </p:txBody>
      </p:sp>
      <p:sp>
        <p:nvSpPr>
          <p:cNvPr id="33" name="Rectangle 32">
            <a:extLst>
              <a:ext uri="{FF2B5EF4-FFF2-40B4-BE49-F238E27FC236}">
                <a16:creationId xmlns:a16="http://schemas.microsoft.com/office/drawing/2014/main" id="{030F4C4D-B18A-C949-9B66-EB69EF113383}"/>
              </a:ext>
            </a:extLst>
          </p:cNvPr>
          <p:cNvSpPr/>
          <p:nvPr/>
        </p:nvSpPr>
        <p:spPr>
          <a:xfrm>
            <a:off x="9139858" y="4199146"/>
            <a:ext cx="2370804" cy="5221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NeueHaasGroteskDisp Pro" panose="020B0504020202020204" pitchFamily="34" charset="0"/>
              </a:rPr>
              <a:t>Task 5</a:t>
            </a:r>
          </a:p>
        </p:txBody>
      </p:sp>
    </p:spTree>
    <p:extLst>
      <p:ext uri="{BB962C8B-B14F-4D97-AF65-F5344CB8AC3E}">
        <p14:creationId xmlns:p14="http://schemas.microsoft.com/office/powerpoint/2010/main" val="15122138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20" y="445723"/>
            <a:ext cx="5930730" cy="1094451"/>
          </a:xfrm>
        </p:spPr>
        <p:txBody>
          <a:bodyPr>
            <a:noAutofit/>
          </a:bodyPr>
          <a:lstStyle/>
          <a:p>
            <a:r>
              <a:rPr lang="en-US" sz="4400" dirty="0"/>
              <a:t>Louisiana map example</a:t>
            </a:r>
            <a:endParaRPr lang="en-US" sz="4400" dirty="0">
              <a:latin typeface="NeueHaasGroteskDisp Pro Md" panose="020B0504020202020204" pitchFamily="34" charset="77"/>
            </a:endParaRPr>
          </a:p>
        </p:txBody>
      </p:sp>
      <p:sp>
        <p:nvSpPr>
          <p:cNvPr id="11" name="Date Placeholder 3">
            <a:extLst>
              <a:ext uri="{FF2B5EF4-FFF2-40B4-BE49-F238E27FC236}">
                <a16:creationId xmlns:a16="http://schemas.microsoft.com/office/drawing/2014/main" id="{A0C11A8F-C9E1-B445-8957-3F371E1BFC57}"/>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tx2"/>
                </a:solidFill>
              </a:rPr>
              <a:t>XX/XX/XXXX</a:t>
            </a:r>
          </a:p>
        </p:txBody>
      </p:sp>
      <p:sp>
        <p:nvSpPr>
          <p:cNvPr id="12" name="Slide Number Placeholder 5">
            <a:extLst>
              <a:ext uri="{FF2B5EF4-FFF2-40B4-BE49-F238E27FC236}">
                <a16:creationId xmlns:a16="http://schemas.microsoft.com/office/drawing/2014/main" id="{B8A52747-4968-B240-A9DE-C61B48C81B8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pPr/>
              <a:t>43</a:t>
            </a:fld>
            <a:endParaRPr lang="en-US" dirty="0"/>
          </a:p>
        </p:txBody>
      </p:sp>
      <p:sp>
        <p:nvSpPr>
          <p:cNvPr id="13" name="Footer Placeholder 4">
            <a:extLst>
              <a:ext uri="{FF2B5EF4-FFF2-40B4-BE49-F238E27FC236}">
                <a16:creationId xmlns:a16="http://schemas.microsoft.com/office/drawing/2014/main" id="{83DC4529-619C-294B-820B-783D3ED962CE}"/>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r>
              <a:rPr lang="en-US" dirty="0"/>
              <a:t>Presentation Title</a:t>
            </a:r>
          </a:p>
        </p:txBody>
      </p:sp>
      <p:sp>
        <p:nvSpPr>
          <p:cNvPr id="10" name="TextBox 9">
            <a:extLst>
              <a:ext uri="{FF2B5EF4-FFF2-40B4-BE49-F238E27FC236}">
                <a16:creationId xmlns:a16="http://schemas.microsoft.com/office/drawing/2014/main" id="{DD942CCE-AD34-0D47-AD38-F1BDCE263000}"/>
              </a:ext>
            </a:extLst>
          </p:cNvPr>
          <p:cNvSpPr txBox="1"/>
          <p:nvPr/>
        </p:nvSpPr>
        <p:spPr>
          <a:xfrm>
            <a:off x="8043018" y="2479384"/>
            <a:ext cx="459998"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solidFill>
                  <a:schemeClr val="bg1"/>
                </a:solidFill>
                <a:latin typeface="NeueHaasGroteskDisp Pro" panose="020B0504020202020204" pitchFamily="34" charset="77"/>
                <a:ea typeface="Consolas" charset="0"/>
                <a:cs typeface="Consolas" charset="0"/>
                <a:sym typeface="Helvetica Light"/>
              </a:rPr>
              <a:t>pecan</a:t>
            </a:r>
            <a:br>
              <a:rPr lang="en-US" sz="1200" dirty="0">
                <a:solidFill>
                  <a:schemeClr val="bg1"/>
                </a:solidFill>
                <a:latin typeface="NeueHaasGroteskDisp Pro" panose="020B0504020202020204" pitchFamily="34" charset="77"/>
                <a:ea typeface="Consolas" charset="0"/>
                <a:cs typeface="Consolas" charset="0"/>
                <a:sym typeface="Helvetica Light"/>
              </a:rPr>
            </a:br>
            <a:r>
              <a:rPr lang="en-US" sz="1200" dirty="0">
                <a:solidFill>
                  <a:schemeClr val="bg1"/>
                </a:solidFill>
                <a:latin typeface="NeueHaasGroteskDisp Pro" panose="020B0504020202020204" pitchFamily="34" charset="77"/>
                <a:ea typeface="Consolas" charset="0"/>
                <a:cs typeface="Consolas" charset="0"/>
                <a:sym typeface="Helvetica Light"/>
              </a:rPr>
              <a:t>5</a:t>
            </a:r>
          </a:p>
        </p:txBody>
      </p:sp>
      <p:sp>
        <p:nvSpPr>
          <p:cNvPr id="19" name="Content Placeholder 2">
            <a:extLst>
              <a:ext uri="{FF2B5EF4-FFF2-40B4-BE49-F238E27FC236}">
                <a16:creationId xmlns:a16="http://schemas.microsoft.com/office/drawing/2014/main" id="{F28268D6-8030-6F4B-B1FA-A43ECE05B53A}"/>
              </a:ext>
            </a:extLst>
          </p:cNvPr>
          <p:cNvSpPr>
            <a:spLocks noGrp="1"/>
          </p:cNvSpPr>
          <p:nvPr>
            <p:ph idx="1"/>
          </p:nvPr>
        </p:nvSpPr>
        <p:spPr>
          <a:xfrm>
            <a:off x="451020" y="1540174"/>
            <a:ext cx="4415270" cy="3610559"/>
          </a:xfrm>
        </p:spPr>
        <p:txBody>
          <a:bodyPr>
            <a:normAutofit/>
          </a:body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pic>
        <p:nvPicPr>
          <p:cNvPr id="3" name="Picture 2">
            <a:extLst>
              <a:ext uri="{FF2B5EF4-FFF2-40B4-BE49-F238E27FC236}">
                <a16:creationId xmlns:a16="http://schemas.microsoft.com/office/drawing/2014/main" id="{D189629F-C51F-1648-A42D-06E86470A28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89126" y="1295842"/>
            <a:ext cx="4568410" cy="4266315"/>
          </a:xfrm>
          <a:prstGeom prst="rect">
            <a:avLst/>
          </a:prstGeom>
        </p:spPr>
      </p:pic>
      <p:sp>
        <p:nvSpPr>
          <p:cNvPr id="14" name="Content Placeholder 2">
            <a:extLst>
              <a:ext uri="{FF2B5EF4-FFF2-40B4-BE49-F238E27FC236}">
                <a16:creationId xmlns:a16="http://schemas.microsoft.com/office/drawing/2014/main" id="{D2231B55-EB22-7C47-8BEA-8824C5522EC2}"/>
              </a:ext>
            </a:extLst>
          </p:cNvPr>
          <p:cNvSpPr txBox="1">
            <a:spLocks/>
          </p:cNvSpPr>
          <p:nvPr/>
        </p:nvSpPr>
        <p:spPr>
          <a:xfrm>
            <a:off x="7825412" y="3900991"/>
            <a:ext cx="1682580" cy="36512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NeueHaasGroteskDisp Pro" panose="020B0604020202020204" pitchFamily="34" charset="0"/>
              <a:buNone/>
              <a:defRPr sz="1800" b="0" i="0" kern="1200">
                <a:solidFill>
                  <a:srgbClr val="412181"/>
                </a:solidFill>
                <a:latin typeface="NeueHaasGroteskDisp Pro" panose="020B0504020202020204" pitchFamily="34" charset="77"/>
                <a:ea typeface="+mn-ea"/>
                <a:cs typeface="+mn-cs"/>
              </a:defRPr>
            </a:lvl1pPr>
            <a:lvl2pPr marL="685800" indent="-228600" algn="l" defTabSz="914400" rtl="0" eaLnBrk="1" latinLnBrk="0" hangingPunct="1">
              <a:lnSpc>
                <a:spcPct val="90000"/>
              </a:lnSpc>
              <a:spcBef>
                <a:spcPts val="500"/>
              </a:spcBef>
              <a:buFont typeface="NeueHaasGroteskDisp Pro"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NeueHaasGroteskDisp Pro"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9pPr>
          </a:lstStyle>
          <a:p>
            <a:r>
              <a:rPr lang="en-US" dirty="0">
                <a:latin typeface="NeueHaasGroteskDisp Pro" panose="020B0504020202020204" pitchFamily="34" charset="0"/>
              </a:rPr>
              <a:t>Baton Rouge   •</a:t>
            </a:r>
          </a:p>
        </p:txBody>
      </p:sp>
      <p:sp>
        <p:nvSpPr>
          <p:cNvPr id="15" name="Content Placeholder 2">
            <a:extLst>
              <a:ext uri="{FF2B5EF4-FFF2-40B4-BE49-F238E27FC236}">
                <a16:creationId xmlns:a16="http://schemas.microsoft.com/office/drawing/2014/main" id="{67306BEA-D70A-9547-BAD1-780CD0E472BC}"/>
              </a:ext>
            </a:extLst>
          </p:cNvPr>
          <p:cNvSpPr txBox="1">
            <a:spLocks/>
          </p:cNvSpPr>
          <p:nvPr/>
        </p:nvSpPr>
        <p:spPr>
          <a:xfrm>
            <a:off x="9200280" y="4549011"/>
            <a:ext cx="1682580" cy="36512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NeueHaasGroteskDisp Pro" panose="020B0604020202020204" pitchFamily="34" charset="0"/>
              <a:buNone/>
              <a:defRPr sz="1800" b="0" i="0" kern="1200">
                <a:solidFill>
                  <a:srgbClr val="412181"/>
                </a:solidFill>
                <a:latin typeface="NeueHaasGroteskDisp Pro" panose="020B0504020202020204" pitchFamily="34" charset="77"/>
                <a:ea typeface="+mn-ea"/>
                <a:cs typeface="+mn-cs"/>
              </a:defRPr>
            </a:lvl1pPr>
            <a:lvl2pPr marL="685800" indent="-228600" algn="l" defTabSz="914400" rtl="0" eaLnBrk="1" latinLnBrk="0" hangingPunct="1">
              <a:lnSpc>
                <a:spcPct val="90000"/>
              </a:lnSpc>
              <a:spcBef>
                <a:spcPts val="500"/>
              </a:spcBef>
              <a:buFont typeface="NeueHaasGroteskDisp Pro"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NeueHaasGroteskDisp Pro"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NeueHaasGroteskDisp Pro" panose="020B0604020202020204" pitchFamily="34" charset="0"/>
              <a:buChar char="•"/>
              <a:defRPr sz="1800" kern="1200">
                <a:solidFill>
                  <a:schemeClr val="tx1"/>
                </a:solidFill>
                <a:latin typeface="+mn-lt"/>
                <a:ea typeface="+mn-ea"/>
                <a:cs typeface="+mn-cs"/>
              </a:defRPr>
            </a:lvl9pPr>
          </a:lstStyle>
          <a:p>
            <a:r>
              <a:rPr lang="en-US" dirty="0">
                <a:latin typeface="NeueHaasGroteskDisp Pro" panose="020B0504020202020204" pitchFamily="34" charset="0"/>
              </a:rPr>
              <a:t>New Orleans   •</a:t>
            </a:r>
          </a:p>
        </p:txBody>
      </p:sp>
      <p:pic>
        <p:nvPicPr>
          <p:cNvPr id="7" name="Picture 6">
            <a:extLst>
              <a:ext uri="{FF2B5EF4-FFF2-40B4-BE49-F238E27FC236}">
                <a16:creationId xmlns:a16="http://schemas.microsoft.com/office/drawing/2014/main" id="{4AFA4648-2146-8F4D-A53B-891FBF676E9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59026" y="4069575"/>
            <a:ext cx="433997" cy="597854"/>
          </a:xfrm>
          <a:prstGeom prst="rect">
            <a:avLst/>
          </a:prstGeom>
        </p:spPr>
      </p:pic>
      <p:pic>
        <p:nvPicPr>
          <p:cNvPr id="16" name="Picture 15">
            <a:extLst>
              <a:ext uri="{FF2B5EF4-FFF2-40B4-BE49-F238E27FC236}">
                <a16:creationId xmlns:a16="http://schemas.microsoft.com/office/drawing/2014/main" id="{F02CC26B-A376-2743-8C59-A1F7DAF5A8B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64869" y="3412512"/>
            <a:ext cx="433997" cy="597854"/>
          </a:xfrm>
          <a:prstGeom prst="rect">
            <a:avLst/>
          </a:prstGeom>
        </p:spPr>
      </p:pic>
    </p:spTree>
    <p:extLst>
      <p:ext uri="{BB962C8B-B14F-4D97-AF65-F5344CB8AC3E}">
        <p14:creationId xmlns:p14="http://schemas.microsoft.com/office/powerpoint/2010/main" val="37973867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B2D1AE84-5CF1-704A-AD95-B7646974A4C7}"/>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6850998" y="558607"/>
            <a:ext cx="4952248" cy="5244990"/>
          </a:xfrm>
          <a:prstGeom prst="rect">
            <a:avLst/>
          </a:prstGeom>
        </p:spPr>
      </p:pic>
      <p:sp>
        <p:nvSpPr>
          <p:cNvPr id="48" name="Rectangle 47">
            <a:extLst>
              <a:ext uri="{FF2B5EF4-FFF2-40B4-BE49-F238E27FC236}">
                <a16:creationId xmlns:a16="http://schemas.microsoft.com/office/drawing/2014/main" id="{6DB8002C-162B-F64A-9593-4FAEF268EC42}"/>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pic>
        <p:nvPicPr>
          <p:cNvPr id="50" name="Picture 2" descr="R:\Publicat\Graphics\PBRC Powerpoint Templates\statewide_reach_v2.png">
            <a:extLst>
              <a:ext uri="{FF2B5EF4-FFF2-40B4-BE49-F238E27FC236}">
                <a16:creationId xmlns:a16="http://schemas.microsoft.com/office/drawing/2014/main" id="{918065FD-C39C-8346-A19E-00C407721E94}"/>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171" t="-1834"/>
          <a:stretch/>
        </p:blipFill>
        <p:spPr bwMode="auto">
          <a:xfrm>
            <a:off x="12441217" y="-351864"/>
            <a:ext cx="4730077" cy="5040642"/>
          </a:xfrm>
          <a:prstGeom prst="rect">
            <a:avLst/>
          </a:prstGeom>
          <a:noFill/>
          <a:extLst>
            <a:ext uri="{909E8E84-426E-40DD-AFC4-6F175D3DCCD1}">
              <a14:hiddenFill xmlns:a14="http://schemas.microsoft.com/office/drawing/2010/main">
                <a:solidFill>
                  <a:srgbClr val="FFFFFF"/>
                </a:solidFill>
              </a14:hiddenFill>
            </a:ext>
          </a:extLst>
        </p:spPr>
      </p:pic>
      <p:sp>
        <p:nvSpPr>
          <p:cNvPr id="51" name="Title 1">
            <a:extLst>
              <a:ext uri="{FF2B5EF4-FFF2-40B4-BE49-F238E27FC236}">
                <a16:creationId xmlns:a16="http://schemas.microsoft.com/office/drawing/2014/main" id="{B8EE1CAE-EEBD-EC44-BAAE-6FF28F1678CB}"/>
              </a:ext>
            </a:extLst>
          </p:cNvPr>
          <p:cNvSpPr txBox="1">
            <a:spLocks/>
          </p:cNvSpPr>
          <p:nvPr/>
        </p:nvSpPr>
        <p:spPr>
          <a:xfrm>
            <a:off x="451019" y="445723"/>
            <a:ext cx="6166185" cy="1171358"/>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600" b="0" i="0" kern="1200">
                <a:solidFill>
                  <a:srgbClr val="412181"/>
                </a:solidFill>
                <a:latin typeface="NeueHaasGroteskDisp Pro Md" panose="020B0504020202020204" pitchFamily="34" charset="77"/>
                <a:ea typeface="+mj-ea"/>
                <a:cs typeface="+mj-cs"/>
              </a:defRPr>
            </a:lvl1pPr>
          </a:lstStyle>
          <a:p>
            <a:r>
              <a:rPr lang="en-US" dirty="0"/>
              <a:t>LA </a:t>
            </a:r>
            <a:r>
              <a:rPr lang="en-US" dirty="0" err="1"/>
              <a:t>CaTS</a:t>
            </a:r>
            <a:r>
              <a:rPr lang="en-US" dirty="0"/>
              <a:t> Center grant extends fight against obesity across the state</a:t>
            </a:r>
          </a:p>
        </p:txBody>
      </p:sp>
      <p:sp>
        <p:nvSpPr>
          <p:cNvPr id="52" name="Rectangle 51">
            <a:extLst>
              <a:ext uri="{FF2B5EF4-FFF2-40B4-BE49-F238E27FC236}">
                <a16:creationId xmlns:a16="http://schemas.microsoft.com/office/drawing/2014/main" id="{7774006D-4529-3446-A4C8-866CB7C659D4}"/>
              </a:ext>
            </a:extLst>
          </p:cNvPr>
          <p:cNvSpPr/>
          <p:nvPr/>
        </p:nvSpPr>
        <p:spPr>
          <a:xfrm>
            <a:off x="10921963" y="902677"/>
            <a:ext cx="375139" cy="35217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53" name="Rectangle 52">
            <a:extLst>
              <a:ext uri="{FF2B5EF4-FFF2-40B4-BE49-F238E27FC236}">
                <a16:creationId xmlns:a16="http://schemas.microsoft.com/office/drawing/2014/main" id="{74DDEA3F-062F-CD4D-9B3F-2915846EAAC5}"/>
              </a:ext>
            </a:extLst>
          </p:cNvPr>
          <p:cNvSpPr/>
          <p:nvPr/>
        </p:nvSpPr>
        <p:spPr>
          <a:xfrm>
            <a:off x="308606" y="2010875"/>
            <a:ext cx="4177245" cy="1711366"/>
          </a:xfrm>
          <a:prstGeom prst="rect">
            <a:avLst/>
          </a:prstGeom>
        </p:spPr>
        <p:txBody>
          <a:bodyPr wrap="square">
            <a:spAutoFit/>
          </a:bodyPr>
          <a:lstStyle/>
          <a:p>
            <a:pPr>
              <a:lnSpc>
                <a:spcPct val="150000"/>
              </a:lnSpc>
            </a:pPr>
            <a:r>
              <a:rPr lang="en-US" dirty="0">
                <a:solidFill>
                  <a:srgbClr val="3E1C84"/>
                </a:solidFill>
                <a:latin typeface="NeueHaasGroteskDisp Pro" panose="020B0504020202020204" pitchFamily="34" charset="77"/>
                <a:cs typeface="NeueHaasGroteskDisp Pro" panose="020B0604020202020204" pitchFamily="34" charset="0"/>
              </a:rPr>
              <a:t>          LA </a:t>
            </a:r>
            <a:r>
              <a:rPr lang="en-US" dirty="0" err="1">
                <a:solidFill>
                  <a:srgbClr val="3E1C84"/>
                </a:solidFill>
                <a:latin typeface="NeueHaasGroteskDisp Pro" panose="020B0504020202020204" pitchFamily="34" charset="77"/>
                <a:cs typeface="NeueHaasGroteskDisp Pro" panose="020B0604020202020204" pitchFamily="34" charset="0"/>
              </a:rPr>
              <a:t>CaTS</a:t>
            </a:r>
            <a:r>
              <a:rPr lang="en-US" dirty="0">
                <a:solidFill>
                  <a:srgbClr val="3E1C84"/>
                </a:solidFill>
                <a:latin typeface="NeueHaasGroteskDisp Pro" panose="020B0504020202020204" pitchFamily="34" charset="77"/>
                <a:cs typeface="NeueHaasGroteskDisp Pro" panose="020B0604020202020204" pitchFamily="34" charset="0"/>
              </a:rPr>
              <a:t> Pilot Grants</a:t>
            </a:r>
            <a:br>
              <a:rPr lang="en-US" dirty="0">
                <a:solidFill>
                  <a:srgbClr val="3E1C84"/>
                </a:solidFill>
                <a:latin typeface="NeueHaasGroteskDisp Pro" panose="020B0504020202020204" pitchFamily="34" charset="77"/>
                <a:cs typeface="NeueHaasGroteskDisp Pro" panose="020B0604020202020204" pitchFamily="34" charset="0"/>
              </a:rPr>
            </a:br>
            <a:r>
              <a:rPr lang="en-US" dirty="0">
                <a:solidFill>
                  <a:srgbClr val="3E1C84"/>
                </a:solidFill>
                <a:latin typeface="NeueHaasGroteskDisp Pro" panose="020B0504020202020204" pitchFamily="34" charset="77"/>
                <a:cs typeface="NeueHaasGroteskDisp Pro" panose="020B0604020202020204" pitchFamily="34" charset="0"/>
              </a:rPr>
              <a:t>          Healthy Communities – West Carroll</a:t>
            </a:r>
            <a:br>
              <a:rPr lang="en-US" dirty="0">
                <a:solidFill>
                  <a:srgbClr val="3E1C84"/>
                </a:solidFill>
                <a:latin typeface="NeueHaasGroteskDisp Pro" panose="020B0504020202020204" pitchFamily="34" charset="77"/>
                <a:cs typeface="NeueHaasGroteskDisp Pro" panose="020B0604020202020204" pitchFamily="34" charset="0"/>
              </a:rPr>
            </a:br>
            <a:r>
              <a:rPr lang="en-US" dirty="0">
                <a:solidFill>
                  <a:srgbClr val="3E1C84"/>
                </a:solidFill>
                <a:latin typeface="NeueHaasGroteskDisp Pro" panose="020B0504020202020204" pitchFamily="34" charset="77"/>
                <a:cs typeface="NeueHaasGroteskDisp Pro" panose="020B0604020202020204" pitchFamily="34" charset="0"/>
              </a:rPr>
              <a:t>          Rural Health Collaboration</a:t>
            </a:r>
            <a:br>
              <a:rPr lang="en-US" dirty="0">
                <a:solidFill>
                  <a:srgbClr val="3E1C84"/>
                </a:solidFill>
                <a:latin typeface="NeueHaasGroteskDisp Pro" panose="020B0504020202020204" pitchFamily="34" charset="77"/>
                <a:cs typeface="NeueHaasGroteskDisp Pro" panose="020B0604020202020204" pitchFamily="34" charset="0"/>
              </a:rPr>
            </a:br>
            <a:r>
              <a:rPr lang="en-US" dirty="0">
                <a:solidFill>
                  <a:srgbClr val="3E1C84"/>
                </a:solidFill>
                <a:latin typeface="NeueHaasGroteskDisp Pro" panose="020B0504020202020204" pitchFamily="34" charset="77"/>
                <a:cs typeface="NeueHaasGroteskDisp Pro" panose="020B0604020202020204" pitchFamily="34" charset="0"/>
              </a:rPr>
              <a:t>          PROPEL Project (PCORI)</a:t>
            </a:r>
          </a:p>
        </p:txBody>
      </p:sp>
      <p:grpSp>
        <p:nvGrpSpPr>
          <p:cNvPr id="54" name="Group 53">
            <a:extLst>
              <a:ext uri="{FF2B5EF4-FFF2-40B4-BE49-F238E27FC236}">
                <a16:creationId xmlns:a16="http://schemas.microsoft.com/office/drawing/2014/main" id="{A2DF830D-405D-534F-A384-CE661338B07B}"/>
              </a:ext>
            </a:extLst>
          </p:cNvPr>
          <p:cNvGrpSpPr/>
          <p:nvPr/>
        </p:nvGrpSpPr>
        <p:grpSpPr>
          <a:xfrm>
            <a:off x="533403" y="2192892"/>
            <a:ext cx="195245" cy="1422677"/>
            <a:chOff x="5654951" y="2400141"/>
            <a:chExt cx="201744" cy="1470030"/>
          </a:xfrm>
        </p:grpSpPr>
        <p:sp>
          <p:nvSpPr>
            <p:cNvPr id="55" name="Oval 54">
              <a:extLst>
                <a:ext uri="{FF2B5EF4-FFF2-40B4-BE49-F238E27FC236}">
                  <a16:creationId xmlns:a16="http://schemas.microsoft.com/office/drawing/2014/main" id="{268997DE-EE16-6E4C-ADC1-423D2FE63091}"/>
                </a:ext>
              </a:extLst>
            </p:cNvPr>
            <p:cNvSpPr/>
            <p:nvPr/>
          </p:nvSpPr>
          <p:spPr>
            <a:xfrm>
              <a:off x="5654951" y="2400141"/>
              <a:ext cx="201744" cy="201744"/>
            </a:xfrm>
            <a:prstGeom prst="ellips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56" name="Oval 55">
              <a:extLst>
                <a:ext uri="{FF2B5EF4-FFF2-40B4-BE49-F238E27FC236}">
                  <a16:creationId xmlns:a16="http://schemas.microsoft.com/office/drawing/2014/main" id="{CF7B8363-813F-8243-A37F-89D73E80AE2C}"/>
                </a:ext>
              </a:extLst>
            </p:cNvPr>
            <p:cNvSpPr/>
            <p:nvPr/>
          </p:nvSpPr>
          <p:spPr>
            <a:xfrm>
              <a:off x="5654951" y="2822903"/>
              <a:ext cx="201744" cy="201744"/>
            </a:xfrm>
            <a:prstGeom prst="ellipse">
              <a:avLst/>
            </a:prstGeom>
            <a:solidFill>
              <a:srgbClr val="04A2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57" name="Oval 56">
              <a:extLst>
                <a:ext uri="{FF2B5EF4-FFF2-40B4-BE49-F238E27FC236}">
                  <a16:creationId xmlns:a16="http://schemas.microsoft.com/office/drawing/2014/main" id="{38B1CB16-3D33-024B-A8A8-9B27A137CDB9}"/>
                </a:ext>
              </a:extLst>
            </p:cNvPr>
            <p:cNvSpPr/>
            <p:nvPr/>
          </p:nvSpPr>
          <p:spPr>
            <a:xfrm>
              <a:off x="5654951" y="3245665"/>
              <a:ext cx="201744" cy="201744"/>
            </a:xfrm>
            <a:prstGeom prst="ellipse">
              <a:avLst/>
            </a:prstGeom>
            <a:solidFill>
              <a:srgbClr val="FDCF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58" name="Oval 57">
              <a:extLst>
                <a:ext uri="{FF2B5EF4-FFF2-40B4-BE49-F238E27FC236}">
                  <a16:creationId xmlns:a16="http://schemas.microsoft.com/office/drawing/2014/main" id="{710F3523-6BDF-2447-B87A-E7D8C65A014F}"/>
                </a:ext>
              </a:extLst>
            </p:cNvPr>
            <p:cNvSpPr/>
            <p:nvPr/>
          </p:nvSpPr>
          <p:spPr>
            <a:xfrm>
              <a:off x="5654951" y="3668427"/>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grpSp>
      <p:sp>
        <p:nvSpPr>
          <p:cNvPr id="59" name="Oval 58">
            <a:extLst>
              <a:ext uri="{FF2B5EF4-FFF2-40B4-BE49-F238E27FC236}">
                <a16:creationId xmlns:a16="http://schemas.microsoft.com/office/drawing/2014/main" id="{1ECFAEDA-4810-7C4B-9197-D5F17A7332CF}"/>
              </a:ext>
            </a:extLst>
          </p:cNvPr>
          <p:cNvSpPr/>
          <p:nvPr/>
        </p:nvSpPr>
        <p:spPr>
          <a:xfrm>
            <a:off x="7010300" y="1092473"/>
            <a:ext cx="201744" cy="201744"/>
          </a:xfrm>
          <a:prstGeom prst="ellipse">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60" name="Oval 59">
            <a:extLst>
              <a:ext uri="{FF2B5EF4-FFF2-40B4-BE49-F238E27FC236}">
                <a16:creationId xmlns:a16="http://schemas.microsoft.com/office/drawing/2014/main" id="{50DCE945-2E6D-B84F-BA99-1723052A1569}"/>
              </a:ext>
            </a:extLst>
          </p:cNvPr>
          <p:cNvSpPr/>
          <p:nvPr/>
        </p:nvSpPr>
        <p:spPr>
          <a:xfrm>
            <a:off x="7121136" y="1294413"/>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61" name="Oval 60">
            <a:extLst>
              <a:ext uri="{FF2B5EF4-FFF2-40B4-BE49-F238E27FC236}">
                <a16:creationId xmlns:a16="http://schemas.microsoft.com/office/drawing/2014/main" id="{FD7A9273-D8BA-874B-82DD-B6FE988310AD}"/>
              </a:ext>
            </a:extLst>
          </p:cNvPr>
          <p:cNvSpPr/>
          <p:nvPr/>
        </p:nvSpPr>
        <p:spPr>
          <a:xfrm>
            <a:off x="7305863" y="1183576"/>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62" name="Oval 61">
            <a:extLst>
              <a:ext uri="{FF2B5EF4-FFF2-40B4-BE49-F238E27FC236}">
                <a16:creationId xmlns:a16="http://schemas.microsoft.com/office/drawing/2014/main" id="{3795DC11-4E9A-4D48-B201-DEACEEC500AC}"/>
              </a:ext>
            </a:extLst>
          </p:cNvPr>
          <p:cNvSpPr/>
          <p:nvPr/>
        </p:nvSpPr>
        <p:spPr>
          <a:xfrm>
            <a:off x="7195027" y="1000208"/>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63" name="Oval 62">
            <a:extLst>
              <a:ext uri="{FF2B5EF4-FFF2-40B4-BE49-F238E27FC236}">
                <a16:creationId xmlns:a16="http://schemas.microsoft.com/office/drawing/2014/main" id="{18BB2841-2C6B-5241-BABE-57AE16807168}"/>
              </a:ext>
            </a:extLst>
          </p:cNvPr>
          <p:cNvSpPr/>
          <p:nvPr/>
        </p:nvSpPr>
        <p:spPr>
          <a:xfrm>
            <a:off x="9365572" y="1809131"/>
            <a:ext cx="201744" cy="201744"/>
          </a:xfrm>
          <a:prstGeom prst="ellipse">
            <a:avLst/>
          </a:prstGeom>
          <a:solidFill>
            <a:srgbClr val="FDCF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64" name="Oval 63">
            <a:extLst>
              <a:ext uri="{FF2B5EF4-FFF2-40B4-BE49-F238E27FC236}">
                <a16:creationId xmlns:a16="http://schemas.microsoft.com/office/drawing/2014/main" id="{E47645D3-4DF6-9542-9C23-A8E910908E3E}"/>
              </a:ext>
            </a:extLst>
          </p:cNvPr>
          <p:cNvSpPr/>
          <p:nvPr/>
        </p:nvSpPr>
        <p:spPr>
          <a:xfrm>
            <a:off x="9485645" y="1402731"/>
            <a:ext cx="201744" cy="201744"/>
          </a:xfrm>
          <a:prstGeom prst="ellipse">
            <a:avLst/>
          </a:prstGeom>
          <a:solidFill>
            <a:srgbClr val="FDCF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65" name="Oval 64">
            <a:extLst>
              <a:ext uri="{FF2B5EF4-FFF2-40B4-BE49-F238E27FC236}">
                <a16:creationId xmlns:a16="http://schemas.microsoft.com/office/drawing/2014/main" id="{A47E1F0C-179F-6E44-9847-9166F37C2D1B}"/>
              </a:ext>
            </a:extLst>
          </p:cNvPr>
          <p:cNvSpPr/>
          <p:nvPr/>
        </p:nvSpPr>
        <p:spPr>
          <a:xfrm>
            <a:off x="9263972" y="820001"/>
            <a:ext cx="201744" cy="201744"/>
          </a:xfrm>
          <a:prstGeom prst="ellipse">
            <a:avLst/>
          </a:prstGeom>
          <a:solidFill>
            <a:srgbClr val="04A2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66" name="Oval 65">
            <a:extLst>
              <a:ext uri="{FF2B5EF4-FFF2-40B4-BE49-F238E27FC236}">
                <a16:creationId xmlns:a16="http://schemas.microsoft.com/office/drawing/2014/main" id="{7758D1B8-567B-7B40-9251-AD16FD475984}"/>
              </a:ext>
            </a:extLst>
          </p:cNvPr>
          <p:cNvSpPr/>
          <p:nvPr/>
        </p:nvSpPr>
        <p:spPr>
          <a:xfrm>
            <a:off x="10021354" y="3305422"/>
            <a:ext cx="201744" cy="201744"/>
          </a:xfrm>
          <a:prstGeom prst="ellipse">
            <a:avLst/>
          </a:prstGeom>
          <a:solidFill>
            <a:srgbClr val="FDCF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67" name="Oval 66">
            <a:extLst>
              <a:ext uri="{FF2B5EF4-FFF2-40B4-BE49-F238E27FC236}">
                <a16:creationId xmlns:a16="http://schemas.microsoft.com/office/drawing/2014/main" id="{6CB71B1E-7BAC-7849-942E-21BA986FB83D}"/>
              </a:ext>
            </a:extLst>
          </p:cNvPr>
          <p:cNvSpPr/>
          <p:nvPr/>
        </p:nvSpPr>
        <p:spPr>
          <a:xfrm>
            <a:off x="9540202" y="3462307"/>
            <a:ext cx="294375" cy="2943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pic>
        <p:nvPicPr>
          <p:cNvPr id="68" name="Picture 67">
            <a:extLst>
              <a:ext uri="{FF2B5EF4-FFF2-40B4-BE49-F238E27FC236}">
                <a16:creationId xmlns:a16="http://schemas.microsoft.com/office/drawing/2014/main" id="{612FA611-EDED-2E4B-BAB9-3A1B02FBEC0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595498" y="3542384"/>
            <a:ext cx="183781" cy="134222"/>
          </a:xfrm>
          <a:prstGeom prst="rect">
            <a:avLst/>
          </a:prstGeom>
        </p:spPr>
      </p:pic>
      <p:sp>
        <p:nvSpPr>
          <p:cNvPr id="69" name="Oval 68">
            <a:extLst>
              <a:ext uri="{FF2B5EF4-FFF2-40B4-BE49-F238E27FC236}">
                <a16:creationId xmlns:a16="http://schemas.microsoft.com/office/drawing/2014/main" id="{61EE549B-F53C-4547-8F3C-584EC69906BC}"/>
              </a:ext>
            </a:extLst>
          </p:cNvPr>
          <p:cNvSpPr/>
          <p:nvPr/>
        </p:nvSpPr>
        <p:spPr>
          <a:xfrm>
            <a:off x="9231645" y="4550232"/>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70" name="Oval 69">
            <a:extLst>
              <a:ext uri="{FF2B5EF4-FFF2-40B4-BE49-F238E27FC236}">
                <a16:creationId xmlns:a16="http://schemas.microsoft.com/office/drawing/2014/main" id="{F571454B-35F0-5241-A428-D2F8F454FCC4}"/>
              </a:ext>
            </a:extLst>
          </p:cNvPr>
          <p:cNvSpPr/>
          <p:nvPr/>
        </p:nvSpPr>
        <p:spPr>
          <a:xfrm>
            <a:off x="9591863" y="4335487"/>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71" name="Oval 70">
            <a:extLst>
              <a:ext uri="{FF2B5EF4-FFF2-40B4-BE49-F238E27FC236}">
                <a16:creationId xmlns:a16="http://schemas.microsoft.com/office/drawing/2014/main" id="{0B71C066-8FC9-5D48-883F-DF03605FE758}"/>
              </a:ext>
            </a:extLst>
          </p:cNvPr>
          <p:cNvSpPr/>
          <p:nvPr/>
        </p:nvSpPr>
        <p:spPr>
          <a:xfrm>
            <a:off x="9474099" y="4688778"/>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72" name="Oval 71">
            <a:extLst>
              <a:ext uri="{FF2B5EF4-FFF2-40B4-BE49-F238E27FC236}">
                <a16:creationId xmlns:a16="http://schemas.microsoft.com/office/drawing/2014/main" id="{5442DFD1-4A3A-324C-8E14-18D06DAF73C2}"/>
              </a:ext>
            </a:extLst>
          </p:cNvPr>
          <p:cNvSpPr/>
          <p:nvPr/>
        </p:nvSpPr>
        <p:spPr>
          <a:xfrm>
            <a:off x="9875881" y="4529450"/>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73" name="Oval 72">
            <a:extLst>
              <a:ext uri="{FF2B5EF4-FFF2-40B4-BE49-F238E27FC236}">
                <a16:creationId xmlns:a16="http://schemas.microsoft.com/office/drawing/2014/main" id="{18DBA621-2E1A-034D-A5CA-ED36531CE749}"/>
              </a:ext>
            </a:extLst>
          </p:cNvPr>
          <p:cNvSpPr/>
          <p:nvPr/>
        </p:nvSpPr>
        <p:spPr>
          <a:xfrm>
            <a:off x="9868954" y="4827323"/>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74" name="Oval 73">
            <a:extLst>
              <a:ext uri="{FF2B5EF4-FFF2-40B4-BE49-F238E27FC236}">
                <a16:creationId xmlns:a16="http://schemas.microsoft.com/office/drawing/2014/main" id="{57D5FF96-9F75-4C4A-983B-AFB25FD4EFE2}"/>
              </a:ext>
            </a:extLst>
          </p:cNvPr>
          <p:cNvSpPr/>
          <p:nvPr/>
        </p:nvSpPr>
        <p:spPr>
          <a:xfrm>
            <a:off x="10644808" y="4280068"/>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75" name="Oval 74">
            <a:extLst>
              <a:ext uri="{FF2B5EF4-FFF2-40B4-BE49-F238E27FC236}">
                <a16:creationId xmlns:a16="http://schemas.microsoft.com/office/drawing/2014/main" id="{12B6A456-5392-9840-BFCA-F86A1A9855D1}"/>
              </a:ext>
            </a:extLst>
          </p:cNvPr>
          <p:cNvSpPr/>
          <p:nvPr/>
        </p:nvSpPr>
        <p:spPr>
          <a:xfrm>
            <a:off x="10561681" y="4086104"/>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76" name="Oval 75">
            <a:extLst>
              <a:ext uri="{FF2B5EF4-FFF2-40B4-BE49-F238E27FC236}">
                <a16:creationId xmlns:a16="http://schemas.microsoft.com/office/drawing/2014/main" id="{FCBE4A0B-929C-C24B-B088-AB6220B2BECA}"/>
              </a:ext>
            </a:extLst>
          </p:cNvPr>
          <p:cNvSpPr/>
          <p:nvPr/>
        </p:nvSpPr>
        <p:spPr>
          <a:xfrm>
            <a:off x="10402354" y="4134595"/>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77" name="Oval 76">
            <a:extLst>
              <a:ext uri="{FF2B5EF4-FFF2-40B4-BE49-F238E27FC236}">
                <a16:creationId xmlns:a16="http://schemas.microsoft.com/office/drawing/2014/main" id="{D10CB239-3ADF-BF4F-B26D-9384E96ABB39}"/>
              </a:ext>
            </a:extLst>
          </p:cNvPr>
          <p:cNvSpPr/>
          <p:nvPr/>
        </p:nvSpPr>
        <p:spPr>
          <a:xfrm>
            <a:off x="10395427" y="4293923"/>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78" name="Oval 77">
            <a:extLst>
              <a:ext uri="{FF2B5EF4-FFF2-40B4-BE49-F238E27FC236}">
                <a16:creationId xmlns:a16="http://schemas.microsoft.com/office/drawing/2014/main" id="{316CF953-2A5A-464D-954B-4DF13FC4F1A0}"/>
              </a:ext>
            </a:extLst>
          </p:cNvPr>
          <p:cNvSpPr/>
          <p:nvPr/>
        </p:nvSpPr>
        <p:spPr>
          <a:xfrm>
            <a:off x="10520118" y="4259286"/>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79" name="Oval 78">
            <a:extLst>
              <a:ext uri="{FF2B5EF4-FFF2-40B4-BE49-F238E27FC236}">
                <a16:creationId xmlns:a16="http://schemas.microsoft.com/office/drawing/2014/main" id="{8A0EE186-8F1C-004D-BF66-86CA43E8FA98}"/>
              </a:ext>
            </a:extLst>
          </p:cNvPr>
          <p:cNvSpPr/>
          <p:nvPr/>
        </p:nvSpPr>
        <p:spPr>
          <a:xfrm>
            <a:off x="10527045" y="4377050"/>
            <a:ext cx="201744" cy="201744"/>
          </a:xfrm>
          <a:prstGeom prst="ellipse">
            <a:avLst/>
          </a:prstGeom>
          <a:solidFill>
            <a:srgbClr val="3E1C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80" name="Rectangle 79">
            <a:extLst>
              <a:ext uri="{FF2B5EF4-FFF2-40B4-BE49-F238E27FC236}">
                <a16:creationId xmlns:a16="http://schemas.microsoft.com/office/drawing/2014/main" id="{6712A553-DABE-7344-9E7F-5A435E846DE9}"/>
              </a:ext>
            </a:extLst>
          </p:cNvPr>
          <p:cNvSpPr/>
          <p:nvPr/>
        </p:nvSpPr>
        <p:spPr>
          <a:xfrm>
            <a:off x="12601000" y="5025382"/>
            <a:ext cx="3938101" cy="2056140"/>
          </a:xfrm>
          <a:prstGeom prst="rect">
            <a:avLst/>
          </a:prstGeom>
        </p:spPr>
        <p:txBody>
          <a:bodyPr wrap="square">
            <a:spAutoFit/>
          </a:bodyPr>
          <a:lstStyle/>
          <a:p>
            <a:pPr>
              <a:lnSpc>
                <a:spcPct val="120000"/>
              </a:lnSpc>
            </a:pPr>
            <a:r>
              <a:rPr lang="en-US" dirty="0">
                <a:solidFill>
                  <a:srgbClr val="3E1C84"/>
                </a:solidFill>
                <a:latin typeface="NeueHaasGroteskDisp Pro Md" panose="020B0504020202020204" pitchFamily="34" charset="77"/>
                <a:cs typeface="NeueHaasGroteskDisp Pro" panose="020B0604020202020204" pitchFamily="34" charset="0"/>
              </a:rPr>
              <a:t>Collaborating Partners (</a:t>
            </a:r>
            <a:r>
              <a:rPr lang="en-US" dirty="0">
                <a:solidFill>
                  <a:srgbClr val="3E1C84"/>
                </a:solidFill>
                <a:highlight>
                  <a:srgbClr val="FFFF00"/>
                </a:highlight>
                <a:latin typeface="NeueHaasGroteskDisp Pro Md" panose="020B0504020202020204" pitchFamily="34" charset="77"/>
                <a:cs typeface="NeueHaasGroteskDisp Pro" panose="020B0604020202020204" pitchFamily="34" charset="0"/>
              </a:rPr>
              <a:t>can delete?</a:t>
            </a:r>
            <a:r>
              <a:rPr lang="en-US" dirty="0">
                <a:solidFill>
                  <a:srgbClr val="3E1C84"/>
                </a:solidFill>
                <a:latin typeface="NeueHaasGroteskDisp Pro Md" panose="020B0504020202020204" pitchFamily="34" charset="77"/>
                <a:cs typeface="NeueHaasGroteskDisp Pro" panose="020B0604020202020204" pitchFamily="34" charset="0"/>
              </a:rPr>
              <a:t>)</a:t>
            </a:r>
          </a:p>
          <a:p>
            <a:pPr marL="285750" indent="-285750">
              <a:lnSpc>
                <a:spcPct val="120000"/>
              </a:lnSpc>
              <a:buClr>
                <a:srgbClr val="3E1C84"/>
              </a:buClr>
              <a:buFont typeface="NeueHaasGroteskDisp Pro"/>
              <a:buChar char="-"/>
            </a:pPr>
            <a:r>
              <a:rPr lang="en-US" dirty="0">
                <a:solidFill>
                  <a:srgbClr val="3E1C84"/>
                </a:solidFill>
                <a:latin typeface="NeueHaasGroteskDisp Pro" panose="020B0504020202020204" pitchFamily="34" charset="77"/>
                <a:cs typeface="NeueHaasGroteskDisp Pro" panose="020B0604020202020204" pitchFamily="34" charset="0"/>
              </a:rPr>
              <a:t>LSU</a:t>
            </a:r>
          </a:p>
          <a:p>
            <a:pPr marL="285750" indent="-285750">
              <a:lnSpc>
                <a:spcPct val="120000"/>
              </a:lnSpc>
              <a:buClr>
                <a:srgbClr val="3E1C84"/>
              </a:buClr>
              <a:buFont typeface="NeueHaasGroteskDisp Pro"/>
              <a:buChar char="-"/>
            </a:pPr>
            <a:r>
              <a:rPr lang="en-US" dirty="0">
                <a:solidFill>
                  <a:srgbClr val="3E1C84"/>
                </a:solidFill>
                <a:latin typeface="NeueHaasGroteskDisp Pro" panose="020B0504020202020204" pitchFamily="34" charset="77"/>
                <a:cs typeface="NeueHaasGroteskDisp Pro" panose="020B0604020202020204" pitchFamily="34" charset="0"/>
              </a:rPr>
              <a:t>Pennington Biomedical</a:t>
            </a:r>
          </a:p>
          <a:p>
            <a:pPr marL="285750" indent="-285750">
              <a:lnSpc>
                <a:spcPct val="120000"/>
              </a:lnSpc>
              <a:buClr>
                <a:srgbClr val="3E1C84"/>
              </a:buClr>
              <a:buFont typeface="NeueHaasGroteskDisp Pro"/>
              <a:buChar char="-"/>
            </a:pPr>
            <a:r>
              <a:rPr lang="en-US" dirty="0">
                <a:solidFill>
                  <a:srgbClr val="3E1C84"/>
                </a:solidFill>
                <a:latin typeface="NeueHaasGroteskDisp Pro" panose="020B0504020202020204" pitchFamily="34" charset="77"/>
                <a:cs typeface="NeueHaasGroteskDisp Pro" panose="020B0604020202020204" pitchFamily="34" charset="0"/>
              </a:rPr>
              <a:t>LSU </a:t>
            </a:r>
            <a:r>
              <a:rPr lang="en-US" dirty="0" err="1">
                <a:solidFill>
                  <a:srgbClr val="3E1C84"/>
                </a:solidFill>
                <a:latin typeface="NeueHaasGroteskDisp Pro" panose="020B0504020202020204" pitchFamily="34" charset="77"/>
                <a:cs typeface="NeueHaasGroteskDisp Pro" panose="020B0604020202020204" pitchFamily="34" charset="0"/>
              </a:rPr>
              <a:t>AgCenter</a:t>
            </a:r>
            <a:endParaRPr lang="en-US" dirty="0">
              <a:solidFill>
                <a:srgbClr val="3E1C84"/>
              </a:solidFill>
              <a:latin typeface="NeueHaasGroteskDisp Pro" panose="020B0504020202020204" pitchFamily="34" charset="77"/>
              <a:cs typeface="NeueHaasGroteskDisp Pro" panose="020B0604020202020204" pitchFamily="34" charset="0"/>
            </a:endParaRPr>
          </a:p>
          <a:p>
            <a:pPr marL="285750" indent="-285750">
              <a:lnSpc>
                <a:spcPct val="120000"/>
              </a:lnSpc>
              <a:buClr>
                <a:srgbClr val="3E1C84"/>
              </a:buClr>
              <a:buFont typeface="NeueHaasGroteskDisp Pro"/>
              <a:buChar char="-"/>
            </a:pPr>
            <a:r>
              <a:rPr lang="en-US" dirty="0">
                <a:solidFill>
                  <a:srgbClr val="3E1C84"/>
                </a:solidFill>
                <a:latin typeface="NeueHaasGroteskDisp Pro" panose="020B0504020202020204" pitchFamily="34" charset="77"/>
                <a:cs typeface="NeueHaasGroteskDisp Pro" panose="020B0604020202020204" pitchFamily="34" charset="0"/>
              </a:rPr>
              <a:t>LSUHSC-New Orleans</a:t>
            </a:r>
          </a:p>
          <a:p>
            <a:pPr marL="285750" indent="-285750">
              <a:lnSpc>
                <a:spcPct val="120000"/>
              </a:lnSpc>
              <a:buClr>
                <a:srgbClr val="3E1C84"/>
              </a:buClr>
              <a:buFont typeface="NeueHaasGroteskDisp Pro"/>
              <a:buChar char="-"/>
            </a:pPr>
            <a:r>
              <a:rPr lang="en-US" dirty="0">
                <a:solidFill>
                  <a:srgbClr val="3E1C84"/>
                </a:solidFill>
                <a:latin typeface="NeueHaasGroteskDisp Pro" panose="020B0504020202020204" pitchFamily="34" charset="77"/>
                <a:cs typeface="NeueHaasGroteskDisp Pro" panose="020B0604020202020204" pitchFamily="34" charset="0"/>
              </a:rPr>
              <a:t>LSUHCS-Shreveport</a:t>
            </a:r>
          </a:p>
        </p:txBody>
      </p:sp>
      <p:sp>
        <p:nvSpPr>
          <p:cNvPr id="2" name="Slide Number Placeholder 1">
            <a:extLst>
              <a:ext uri="{FF2B5EF4-FFF2-40B4-BE49-F238E27FC236}">
                <a16:creationId xmlns:a16="http://schemas.microsoft.com/office/drawing/2014/main" id="{1545345C-5E66-BD4A-84F5-539A34DA397A}"/>
              </a:ext>
            </a:extLst>
          </p:cNvPr>
          <p:cNvSpPr>
            <a:spLocks noGrp="1"/>
          </p:cNvSpPr>
          <p:nvPr>
            <p:ph type="sldNum" sz="quarter" idx="12"/>
          </p:nvPr>
        </p:nvSpPr>
        <p:spPr/>
        <p:txBody>
          <a:bodyPr/>
          <a:lstStyle/>
          <a:p>
            <a:fld id="{7F43BC75-A8B3-524C-9CB1-17F14D0EA8E1}" type="slidenum">
              <a:rPr lang="en-US" smtClean="0"/>
              <a:pPr/>
              <a:t>44</a:t>
            </a:fld>
            <a:endParaRPr lang="en-US" dirty="0"/>
          </a:p>
        </p:txBody>
      </p:sp>
    </p:spTree>
    <p:extLst>
      <p:ext uri="{BB962C8B-B14F-4D97-AF65-F5344CB8AC3E}">
        <p14:creationId xmlns:p14="http://schemas.microsoft.com/office/powerpoint/2010/main" val="11412367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20" y="445723"/>
            <a:ext cx="3173126" cy="1094451"/>
          </a:xfrm>
        </p:spPr>
        <p:txBody>
          <a:bodyPr>
            <a:noAutofit/>
          </a:bodyPr>
          <a:lstStyle/>
          <a:p>
            <a:r>
              <a:rPr lang="en-US" dirty="0"/>
              <a:t>Obesity in Louisiana</a:t>
            </a:r>
          </a:p>
        </p:txBody>
      </p:sp>
      <p:sp>
        <p:nvSpPr>
          <p:cNvPr id="15" name="Rectangle 14">
            <a:extLst>
              <a:ext uri="{FF2B5EF4-FFF2-40B4-BE49-F238E27FC236}">
                <a16:creationId xmlns:a16="http://schemas.microsoft.com/office/drawing/2014/main" id="{2D5E9F68-0C4E-4D4C-B20A-D62B766E7DA0}"/>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0" name="Slide Number Placeholder 5">
            <a:extLst>
              <a:ext uri="{FF2B5EF4-FFF2-40B4-BE49-F238E27FC236}">
                <a16:creationId xmlns:a16="http://schemas.microsoft.com/office/drawing/2014/main" id="{F7B2ED2F-1604-9545-8A02-46660C47ABC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latin typeface="NeueHaasGroteskDisp Pro" panose="020B0504020202020204" pitchFamily="34" charset="77"/>
              </a:rPr>
              <a:pPr/>
              <a:t>45</a:t>
            </a:fld>
            <a:endParaRPr lang="en-US" dirty="0">
              <a:latin typeface="NeueHaasGroteskDisp Pro" panose="020B0504020202020204" pitchFamily="34" charset="77"/>
            </a:endParaRPr>
          </a:p>
        </p:txBody>
      </p:sp>
      <p:pic>
        <p:nvPicPr>
          <p:cNvPr id="7" name="Picture 6">
            <a:extLst>
              <a:ext uri="{FF2B5EF4-FFF2-40B4-BE49-F238E27FC236}">
                <a16:creationId xmlns:a16="http://schemas.microsoft.com/office/drawing/2014/main" id="{CCA506DF-3EBF-CA46-B1AD-1DEAB9920489}"/>
              </a:ext>
            </a:extLst>
          </p:cNvPr>
          <p:cNvPicPr>
            <a:picLocks noChangeAspect="1"/>
          </p:cNvPicPr>
          <p:nvPr/>
        </p:nvPicPr>
        <p:blipFill>
          <a:blip r:embed="rId2"/>
          <a:stretch>
            <a:fillRect/>
          </a:stretch>
        </p:blipFill>
        <p:spPr>
          <a:xfrm>
            <a:off x="5051152" y="-54945"/>
            <a:ext cx="6689828" cy="6050800"/>
          </a:xfrm>
          <a:prstGeom prst="rect">
            <a:avLst/>
          </a:prstGeom>
        </p:spPr>
      </p:pic>
      <p:sp>
        <p:nvSpPr>
          <p:cNvPr id="6" name="Content Placeholder 2">
            <a:extLst>
              <a:ext uri="{FF2B5EF4-FFF2-40B4-BE49-F238E27FC236}">
                <a16:creationId xmlns:a16="http://schemas.microsoft.com/office/drawing/2014/main" id="{FC52544D-9E0E-2C47-90FC-9B68A047F321}"/>
              </a:ext>
            </a:extLst>
          </p:cNvPr>
          <p:cNvSpPr>
            <a:spLocks noGrp="1"/>
          </p:cNvSpPr>
          <p:nvPr>
            <p:ph idx="1"/>
          </p:nvPr>
        </p:nvSpPr>
        <p:spPr>
          <a:xfrm>
            <a:off x="451020" y="1597771"/>
            <a:ext cx="4013758" cy="3317591"/>
          </a:xfrm>
        </p:spPr>
        <p:txBody>
          <a:bodyPr>
            <a:noAutofit/>
          </a:bodyPr>
          <a:lstStyle/>
          <a:p>
            <a:pPr marL="0" marR="0">
              <a:spcBef>
                <a:spcPts val="0"/>
              </a:spcBef>
              <a:spcAft>
                <a:spcPts val="0"/>
              </a:spcAft>
            </a:pPr>
            <a:endParaRPr lang="en-US" sz="1800" dirty="0">
              <a:effectLst/>
              <a:ea typeface="MS Mincho" panose="02020609040205080304" pitchFamily="49" charset="-128"/>
              <a:cs typeface="Times New Roman" panose="02020603050405020304" pitchFamily="18" charset="0"/>
            </a:endParaRPr>
          </a:p>
          <a:p>
            <a:pPr marL="342900" marR="0" lvl="0" indent="-342900">
              <a:lnSpc>
                <a:spcPct val="106000"/>
              </a:lnSpc>
              <a:spcBef>
                <a:spcPts val="0"/>
              </a:spcBef>
              <a:spcAft>
                <a:spcPts val="800"/>
              </a:spcAft>
              <a:buFont typeface="Symbol" panose="05050102010706020507" pitchFamily="18" charset="2"/>
              <a:buChar char=""/>
            </a:pPr>
            <a:r>
              <a:rPr lang="en-US" sz="2300" dirty="0">
                <a:effectLst/>
                <a:ea typeface="MS Mincho" panose="02020609040205080304" pitchFamily="49" charset="-128"/>
                <a:cs typeface="Cambria" panose="02040503050406030204" pitchFamily="18" charset="0"/>
              </a:rPr>
              <a:t>Obesity is a </a:t>
            </a:r>
            <a:r>
              <a:rPr lang="en-US" sz="2300" dirty="0">
                <a:effectLst/>
                <a:latin typeface="NeueHaasGroteskDisp Pro Md" panose="020B0504020202020204" pitchFamily="34" charset="77"/>
                <a:ea typeface="MS Mincho" panose="02020609040205080304" pitchFamily="49" charset="-128"/>
                <a:cs typeface="Cambria" panose="02040503050406030204" pitchFamily="18" charset="0"/>
              </a:rPr>
              <a:t>Public Health </a:t>
            </a:r>
            <a:r>
              <a:rPr lang="en-US" sz="2300" dirty="0">
                <a:effectLst/>
                <a:ea typeface="MS Mincho" panose="02020609040205080304" pitchFamily="49" charset="-128"/>
                <a:cs typeface="Cambria" panose="02040503050406030204" pitchFamily="18" charset="0"/>
              </a:rPr>
              <a:t>issue in Louisiana.</a:t>
            </a:r>
            <a:endParaRPr lang="en-US" sz="2300" dirty="0">
              <a:effectLst/>
              <a:ea typeface="MS Mincho" panose="02020609040205080304" pitchFamily="49" charset="-128"/>
              <a:cs typeface="NeueHaasGroteskDisp Pro" panose="020B0604020202020204" pitchFamily="34" charset="0"/>
            </a:endParaRPr>
          </a:p>
          <a:p>
            <a:pPr marR="0" lvl="0">
              <a:lnSpc>
                <a:spcPct val="106000"/>
              </a:lnSpc>
              <a:spcBef>
                <a:spcPts val="0"/>
              </a:spcBef>
              <a:spcAft>
                <a:spcPts val="800"/>
              </a:spcAft>
            </a:pPr>
            <a:r>
              <a:rPr lang="en-US" sz="2300" dirty="0">
                <a:effectLst/>
                <a:ea typeface="MS Mincho" panose="02020609040205080304" pitchFamily="49" charset="-128"/>
                <a:cs typeface="NeueHaasGroteskDisp Pro" panose="020B0604020202020204" pitchFamily="34" charset="0"/>
              </a:rPr>
              <a:t> </a:t>
            </a:r>
          </a:p>
          <a:p>
            <a:pPr marL="342900" marR="0" lvl="0" indent="-342900">
              <a:lnSpc>
                <a:spcPct val="106000"/>
              </a:lnSpc>
              <a:spcBef>
                <a:spcPts val="0"/>
              </a:spcBef>
              <a:spcAft>
                <a:spcPts val="800"/>
              </a:spcAft>
              <a:buFont typeface="Symbol" panose="05050102010706020507" pitchFamily="18" charset="2"/>
              <a:buChar char=""/>
            </a:pPr>
            <a:r>
              <a:rPr lang="en-US" sz="2300" dirty="0">
                <a:effectLst/>
                <a:ea typeface="MS Mincho" panose="02020609040205080304" pitchFamily="49" charset="-128"/>
                <a:cs typeface="NeueHaasGroteskDisp Pro" panose="020B0604020202020204" pitchFamily="34" charset="0"/>
              </a:rPr>
              <a:t>Obesity is linked to chronic conditions such as diabetes, hypertension, cancer and Alzheimer’s.</a:t>
            </a:r>
            <a:endParaRPr lang="en-US" sz="2300" dirty="0">
              <a:effectLst/>
              <a:ea typeface="MS Mincho" panose="02020609040205080304" pitchFamily="49" charset="-128"/>
              <a:cs typeface="Times New Roman" panose="02020603050405020304" pitchFamily="18" charset="0"/>
            </a:endParaRPr>
          </a:p>
          <a:p>
            <a:endParaRPr lang="en-US" sz="3200" dirty="0"/>
          </a:p>
        </p:txBody>
      </p:sp>
    </p:spTree>
    <p:extLst>
      <p:ext uri="{BB962C8B-B14F-4D97-AF65-F5344CB8AC3E}">
        <p14:creationId xmlns:p14="http://schemas.microsoft.com/office/powerpoint/2010/main" val="33821597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p:txBody>
          <a:bodyPr>
            <a:noAutofit/>
          </a:bodyPr>
          <a:lstStyle/>
          <a:p>
            <a:r>
              <a:rPr lang="en-US" sz="4800" dirty="0"/>
              <a:t>US map example</a:t>
            </a:r>
            <a:endParaRPr lang="en-US" sz="4800" dirty="0">
              <a:latin typeface="NeueHaasGroteskDisp Pro Md" panose="020B0504020202020204" pitchFamily="34" charset="77"/>
            </a:endParaRPr>
          </a:p>
        </p:txBody>
      </p:sp>
      <p:sp>
        <p:nvSpPr>
          <p:cNvPr id="11" name="Date Placeholder 3">
            <a:extLst>
              <a:ext uri="{FF2B5EF4-FFF2-40B4-BE49-F238E27FC236}">
                <a16:creationId xmlns:a16="http://schemas.microsoft.com/office/drawing/2014/main" id="{A0C11A8F-C9E1-B445-8957-3F371E1BFC57}"/>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tx2"/>
                </a:solidFill>
              </a:rPr>
              <a:t>XX/XX/XXXX</a:t>
            </a:r>
          </a:p>
        </p:txBody>
      </p:sp>
      <p:sp>
        <p:nvSpPr>
          <p:cNvPr id="12" name="Slide Number Placeholder 5">
            <a:extLst>
              <a:ext uri="{FF2B5EF4-FFF2-40B4-BE49-F238E27FC236}">
                <a16:creationId xmlns:a16="http://schemas.microsoft.com/office/drawing/2014/main" id="{B8A52747-4968-B240-A9DE-C61B48C81B84}"/>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pPr/>
              <a:t>46</a:t>
            </a:fld>
            <a:endParaRPr lang="en-US" dirty="0"/>
          </a:p>
        </p:txBody>
      </p:sp>
      <p:sp>
        <p:nvSpPr>
          <p:cNvPr id="13" name="Footer Placeholder 4">
            <a:extLst>
              <a:ext uri="{FF2B5EF4-FFF2-40B4-BE49-F238E27FC236}">
                <a16:creationId xmlns:a16="http://schemas.microsoft.com/office/drawing/2014/main" id="{83DC4529-619C-294B-820B-783D3ED962CE}"/>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r>
              <a:rPr lang="en-US" dirty="0"/>
              <a:t>Presentation Title</a:t>
            </a:r>
          </a:p>
        </p:txBody>
      </p:sp>
      <p:sp>
        <p:nvSpPr>
          <p:cNvPr id="10" name="TextBox 9">
            <a:extLst>
              <a:ext uri="{FF2B5EF4-FFF2-40B4-BE49-F238E27FC236}">
                <a16:creationId xmlns:a16="http://schemas.microsoft.com/office/drawing/2014/main" id="{DD942CCE-AD34-0D47-AD38-F1BDCE263000}"/>
              </a:ext>
            </a:extLst>
          </p:cNvPr>
          <p:cNvSpPr txBox="1"/>
          <p:nvPr/>
        </p:nvSpPr>
        <p:spPr>
          <a:xfrm>
            <a:off x="8043018" y="2479384"/>
            <a:ext cx="459998" cy="4206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spAutoFit/>
          </a:bodyPr>
          <a:lstStyle/>
          <a:p>
            <a:pPr defTabSz="412750" hangingPunct="0"/>
            <a:r>
              <a:rPr lang="en-US" sz="1200" dirty="0">
                <a:solidFill>
                  <a:schemeClr val="bg1"/>
                </a:solidFill>
                <a:latin typeface="NeueHaasGroteskDisp Pro" panose="020B0504020202020204" pitchFamily="34" charset="77"/>
                <a:ea typeface="Consolas" charset="0"/>
                <a:cs typeface="Consolas" charset="0"/>
                <a:sym typeface="Helvetica Light"/>
              </a:rPr>
              <a:t>pecan</a:t>
            </a:r>
            <a:br>
              <a:rPr lang="en-US" sz="1200" dirty="0">
                <a:solidFill>
                  <a:schemeClr val="bg1"/>
                </a:solidFill>
                <a:latin typeface="NeueHaasGroteskDisp Pro" panose="020B0504020202020204" pitchFamily="34" charset="77"/>
                <a:ea typeface="Consolas" charset="0"/>
                <a:cs typeface="Consolas" charset="0"/>
                <a:sym typeface="Helvetica Light"/>
              </a:rPr>
            </a:br>
            <a:r>
              <a:rPr lang="en-US" sz="1200" dirty="0">
                <a:solidFill>
                  <a:schemeClr val="bg1"/>
                </a:solidFill>
                <a:latin typeface="NeueHaasGroteskDisp Pro" panose="020B0504020202020204" pitchFamily="34" charset="77"/>
                <a:ea typeface="Consolas" charset="0"/>
                <a:cs typeface="Consolas" charset="0"/>
                <a:sym typeface="Helvetica Light"/>
              </a:rPr>
              <a:t>5</a:t>
            </a:r>
          </a:p>
        </p:txBody>
      </p:sp>
      <p:pic>
        <p:nvPicPr>
          <p:cNvPr id="6" name="Picture 5">
            <a:extLst>
              <a:ext uri="{FF2B5EF4-FFF2-40B4-BE49-F238E27FC236}">
                <a16:creationId xmlns:a16="http://schemas.microsoft.com/office/drawing/2014/main" id="{2A712054-8160-3641-B98E-58E177A572C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496819" y="1324303"/>
            <a:ext cx="6012393" cy="4377558"/>
          </a:xfrm>
          <a:prstGeom prst="rect">
            <a:avLst/>
          </a:prstGeom>
        </p:spPr>
      </p:pic>
      <p:sp>
        <p:nvSpPr>
          <p:cNvPr id="19" name="Content Placeholder 2">
            <a:extLst>
              <a:ext uri="{FF2B5EF4-FFF2-40B4-BE49-F238E27FC236}">
                <a16:creationId xmlns:a16="http://schemas.microsoft.com/office/drawing/2014/main" id="{F28268D6-8030-6F4B-B1FA-A43ECE05B53A}"/>
              </a:ext>
            </a:extLst>
          </p:cNvPr>
          <p:cNvSpPr>
            <a:spLocks noGrp="1"/>
          </p:cNvSpPr>
          <p:nvPr>
            <p:ph idx="1"/>
          </p:nvPr>
        </p:nvSpPr>
        <p:spPr>
          <a:xfrm>
            <a:off x="451020" y="1540174"/>
            <a:ext cx="4415270" cy="3610559"/>
          </a:xfrm>
        </p:spPr>
        <p:txBody>
          <a:bodyPr>
            <a:normAutofit/>
          </a:bodyPr>
          <a:lstStyle/>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pic>
        <p:nvPicPr>
          <p:cNvPr id="7" name="Picture 6">
            <a:extLst>
              <a:ext uri="{FF2B5EF4-FFF2-40B4-BE49-F238E27FC236}">
                <a16:creationId xmlns:a16="http://schemas.microsoft.com/office/drawing/2014/main" id="{4AFA4648-2146-8F4D-A53B-891FBF676E9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57727" y="3980136"/>
            <a:ext cx="222907" cy="307066"/>
          </a:xfrm>
          <a:prstGeom prst="rect">
            <a:avLst/>
          </a:prstGeom>
        </p:spPr>
      </p:pic>
      <p:pic>
        <p:nvPicPr>
          <p:cNvPr id="20" name="Picture 19">
            <a:extLst>
              <a:ext uri="{FF2B5EF4-FFF2-40B4-BE49-F238E27FC236}">
                <a16:creationId xmlns:a16="http://schemas.microsoft.com/office/drawing/2014/main" id="{DFDC503F-E7D9-1449-BFC4-8E7AAC16E61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91989" y="2802977"/>
            <a:ext cx="222907" cy="307066"/>
          </a:xfrm>
          <a:prstGeom prst="rect">
            <a:avLst/>
          </a:prstGeom>
        </p:spPr>
      </p:pic>
      <p:pic>
        <p:nvPicPr>
          <p:cNvPr id="21" name="Picture 20">
            <a:extLst>
              <a:ext uri="{FF2B5EF4-FFF2-40B4-BE49-F238E27FC236}">
                <a16:creationId xmlns:a16="http://schemas.microsoft.com/office/drawing/2014/main" id="{6930AA8C-4DE1-0F43-9C2E-DE80AE8D592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72734" y="2487666"/>
            <a:ext cx="222907" cy="307066"/>
          </a:xfrm>
          <a:prstGeom prst="rect">
            <a:avLst/>
          </a:prstGeom>
        </p:spPr>
      </p:pic>
    </p:spTree>
    <p:extLst>
      <p:ext uri="{BB962C8B-B14F-4D97-AF65-F5344CB8AC3E}">
        <p14:creationId xmlns:p14="http://schemas.microsoft.com/office/powerpoint/2010/main" val="25574452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8BEB60-C077-8D40-97F0-4643EE3D1A7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89248" y="445723"/>
            <a:ext cx="7828157" cy="5531844"/>
          </a:xfrm>
          <a:prstGeom prst="rect">
            <a:avLst/>
          </a:prstGeom>
        </p:spPr>
      </p:pic>
      <p:sp>
        <p:nvSpPr>
          <p:cNvPr id="2" name="Title 1">
            <a:extLst>
              <a:ext uri="{FF2B5EF4-FFF2-40B4-BE49-F238E27FC236}">
                <a16:creationId xmlns:a16="http://schemas.microsoft.com/office/drawing/2014/main" id="{C8A63EE1-EE8B-1A40-8AE7-7D5F41E24E24}"/>
              </a:ext>
            </a:extLst>
          </p:cNvPr>
          <p:cNvSpPr>
            <a:spLocks noGrp="1"/>
          </p:cNvSpPr>
          <p:nvPr>
            <p:ph type="title"/>
          </p:nvPr>
        </p:nvSpPr>
        <p:spPr>
          <a:xfrm>
            <a:off x="451020" y="445723"/>
            <a:ext cx="3173126" cy="1094451"/>
          </a:xfrm>
        </p:spPr>
        <p:txBody>
          <a:bodyPr>
            <a:noAutofit/>
          </a:bodyPr>
          <a:lstStyle/>
          <a:p>
            <a:r>
              <a:rPr lang="en-US" dirty="0"/>
              <a:t>Obesity in the United States</a:t>
            </a:r>
          </a:p>
        </p:txBody>
      </p:sp>
      <p:sp>
        <p:nvSpPr>
          <p:cNvPr id="15" name="Rectangle 14">
            <a:extLst>
              <a:ext uri="{FF2B5EF4-FFF2-40B4-BE49-F238E27FC236}">
                <a16:creationId xmlns:a16="http://schemas.microsoft.com/office/drawing/2014/main" id="{2D5E9F68-0C4E-4D4C-B20A-D62B766E7DA0}"/>
              </a:ext>
            </a:extLst>
          </p:cNvPr>
          <p:cNvSpPr/>
          <p:nvPr/>
        </p:nvSpPr>
        <p:spPr>
          <a:xfrm flipV="1">
            <a:off x="572323" y="6053452"/>
            <a:ext cx="11051266" cy="18288"/>
          </a:xfrm>
          <a:prstGeom prst="rect">
            <a:avLst/>
          </a:prstGeom>
          <a:solidFill>
            <a:srgbClr val="412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eHaasGroteskDisp Pro" panose="020B0504020202020204" pitchFamily="34" charset="0"/>
            </a:endParaRPr>
          </a:p>
        </p:txBody>
      </p:sp>
      <p:sp>
        <p:nvSpPr>
          <p:cNvPr id="13" name="Content Placeholder 2">
            <a:extLst>
              <a:ext uri="{FF2B5EF4-FFF2-40B4-BE49-F238E27FC236}">
                <a16:creationId xmlns:a16="http://schemas.microsoft.com/office/drawing/2014/main" id="{F2F6564B-F70E-E142-81F4-BD96C4F8B7C0}"/>
              </a:ext>
            </a:extLst>
          </p:cNvPr>
          <p:cNvSpPr>
            <a:spLocks noGrp="1"/>
          </p:cNvSpPr>
          <p:nvPr>
            <p:ph idx="1"/>
          </p:nvPr>
        </p:nvSpPr>
        <p:spPr>
          <a:xfrm>
            <a:off x="10526750" y="3780094"/>
            <a:ext cx="1355477" cy="1085964"/>
          </a:xfrm>
        </p:spPr>
        <p:txBody>
          <a:bodyPr>
            <a:normAutofit/>
          </a:bodyPr>
          <a:lstStyle/>
          <a:p>
            <a:r>
              <a:rPr lang="en-US" sz="1600" dirty="0"/>
              <a:t>20%-&lt;25%</a:t>
            </a:r>
            <a:br>
              <a:rPr lang="en-US" sz="1600" dirty="0"/>
            </a:br>
            <a:r>
              <a:rPr lang="en-US" sz="1600" dirty="0"/>
              <a:t>25%-&lt;30%</a:t>
            </a:r>
            <a:br>
              <a:rPr lang="en-US" sz="1600" dirty="0"/>
            </a:br>
            <a:r>
              <a:rPr lang="en-US" sz="1600" dirty="0"/>
              <a:t>30%-&lt;35%</a:t>
            </a:r>
            <a:br>
              <a:rPr lang="en-US" sz="1600" dirty="0"/>
            </a:br>
            <a:r>
              <a:rPr lang="en-US" sz="1600" dirty="0"/>
              <a:t>≥35%</a:t>
            </a:r>
          </a:p>
        </p:txBody>
      </p:sp>
      <p:sp>
        <p:nvSpPr>
          <p:cNvPr id="18" name="Title 1">
            <a:extLst>
              <a:ext uri="{FF2B5EF4-FFF2-40B4-BE49-F238E27FC236}">
                <a16:creationId xmlns:a16="http://schemas.microsoft.com/office/drawing/2014/main" id="{987EDEC6-6DF1-8647-AC0E-A07E59F176CC}"/>
              </a:ext>
            </a:extLst>
          </p:cNvPr>
          <p:cNvSpPr txBox="1">
            <a:spLocks/>
          </p:cNvSpPr>
          <p:nvPr/>
        </p:nvSpPr>
        <p:spPr>
          <a:xfrm>
            <a:off x="451020" y="1540174"/>
            <a:ext cx="2381390" cy="35642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600" b="0" i="0" kern="1200">
                <a:solidFill>
                  <a:srgbClr val="412181"/>
                </a:solidFill>
                <a:latin typeface="NeueHaasGroteskDisp Pro Md" panose="020B0504020202020204" pitchFamily="34" charset="77"/>
                <a:ea typeface="+mj-ea"/>
                <a:cs typeface="+mj-cs"/>
              </a:defRPr>
            </a:lvl1pPr>
          </a:lstStyle>
          <a:p>
            <a:r>
              <a:rPr lang="en-US" sz="1800" dirty="0">
                <a:solidFill>
                  <a:schemeClr val="tx1">
                    <a:lumMod val="50000"/>
                    <a:lumOff val="50000"/>
                  </a:schemeClr>
                </a:solidFill>
              </a:rPr>
              <a:t>2019</a:t>
            </a:r>
          </a:p>
        </p:txBody>
      </p:sp>
      <p:sp>
        <p:nvSpPr>
          <p:cNvPr id="3" name="Slide Number Placeholder 2">
            <a:extLst>
              <a:ext uri="{FF2B5EF4-FFF2-40B4-BE49-F238E27FC236}">
                <a16:creationId xmlns:a16="http://schemas.microsoft.com/office/drawing/2014/main" id="{61331451-9A98-064B-922B-F015BF8C403A}"/>
              </a:ext>
            </a:extLst>
          </p:cNvPr>
          <p:cNvSpPr>
            <a:spLocks noGrp="1"/>
          </p:cNvSpPr>
          <p:nvPr>
            <p:ph type="sldNum" sz="quarter" idx="12"/>
          </p:nvPr>
        </p:nvSpPr>
        <p:spPr/>
        <p:txBody>
          <a:bodyPr/>
          <a:lstStyle/>
          <a:p>
            <a:fld id="{7F43BC75-A8B3-524C-9CB1-17F14D0EA8E1}" type="slidenum">
              <a:rPr lang="en-US" smtClean="0"/>
              <a:pPr/>
              <a:t>47</a:t>
            </a:fld>
            <a:endParaRPr lang="en-US" dirty="0"/>
          </a:p>
        </p:txBody>
      </p:sp>
    </p:spTree>
    <p:extLst>
      <p:ext uri="{BB962C8B-B14F-4D97-AF65-F5344CB8AC3E}">
        <p14:creationId xmlns:p14="http://schemas.microsoft.com/office/powerpoint/2010/main" val="31396784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794D8-4C14-F049-847B-5D1069212CA1}"/>
              </a:ext>
            </a:extLst>
          </p:cNvPr>
          <p:cNvSpPr>
            <a:spLocks noGrp="1"/>
          </p:cNvSpPr>
          <p:nvPr>
            <p:ph type="title"/>
          </p:nvPr>
        </p:nvSpPr>
        <p:spPr>
          <a:xfrm>
            <a:off x="451020" y="385762"/>
            <a:ext cx="10515600" cy="896745"/>
          </a:xfrm>
        </p:spPr>
        <p:txBody>
          <a:bodyPr>
            <a:normAutofit/>
          </a:bodyPr>
          <a:lstStyle/>
          <a:p>
            <a:r>
              <a:rPr lang="en-CA" sz="3600" dirty="0"/>
              <a:t>The rise and rise of diabetes</a:t>
            </a:r>
            <a:endParaRPr lang="en-US" sz="3600" dirty="0"/>
          </a:p>
        </p:txBody>
      </p:sp>
      <p:sp>
        <p:nvSpPr>
          <p:cNvPr id="4" name="Rectangle 3">
            <a:extLst>
              <a:ext uri="{FF2B5EF4-FFF2-40B4-BE49-F238E27FC236}">
                <a16:creationId xmlns:a16="http://schemas.microsoft.com/office/drawing/2014/main" id="{3898F028-8878-9246-8398-2EB437B9FCD8}"/>
              </a:ext>
            </a:extLst>
          </p:cNvPr>
          <p:cNvSpPr/>
          <p:nvPr/>
        </p:nvSpPr>
        <p:spPr>
          <a:xfrm>
            <a:off x="451020" y="1053876"/>
            <a:ext cx="2695610" cy="400110"/>
          </a:xfrm>
          <a:prstGeom prst="rect">
            <a:avLst/>
          </a:prstGeom>
        </p:spPr>
        <p:txBody>
          <a:bodyPr wrap="none">
            <a:spAutoFit/>
          </a:bodyPr>
          <a:lstStyle/>
          <a:p>
            <a:r>
              <a:rPr lang="en-CA" sz="2000" dirty="0">
                <a:solidFill>
                  <a:srgbClr val="3E1C84"/>
                </a:solidFill>
                <a:latin typeface="NeueHaasGroteskDisp Pro" panose="020B0504020202020204" pitchFamily="34" charset="77"/>
              </a:rPr>
              <a:t>Estimated rates in 2015 </a:t>
            </a:r>
            <a:endParaRPr lang="en-US" sz="2000" dirty="0">
              <a:solidFill>
                <a:srgbClr val="3E1C84"/>
              </a:solidFill>
              <a:latin typeface="NeueHaasGroteskDisp Pro" panose="020B0504020202020204" pitchFamily="34" charset="77"/>
            </a:endParaRPr>
          </a:p>
        </p:txBody>
      </p:sp>
      <p:sp>
        <p:nvSpPr>
          <p:cNvPr id="5" name="Rectangle 4">
            <a:extLst>
              <a:ext uri="{FF2B5EF4-FFF2-40B4-BE49-F238E27FC236}">
                <a16:creationId xmlns:a16="http://schemas.microsoft.com/office/drawing/2014/main" id="{A12274EB-705A-094A-A8D8-6D0D9B833918}"/>
              </a:ext>
            </a:extLst>
          </p:cNvPr>
          <p:cNvSpPr/>
          <p:nvPr/>
        </p:nvSpPr>
        <p:spPr>
          <a:xfrm>
            <a:off x="451020" y="5141547"/>
            <a:ext cx="2148724" cy="3693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tx1">
                    <a:lumMod val="85000"/>
                    <a:lumOff val="15000"/>
                  </a:schemeClr>
                </a:solidFill>
                <a:latin typeface="NeueHaasGroteskDisp Pro" panose="020B0504020202020204" pitchFamily="34" charset="77"/>
              </a:rPr>
              <a:t>Global rate</a:t>
            </a:r>
          </a:p>
        </p:txBody>
      </p:sp>
      <p:sp>
        <p:nvSpPr>
          <p:cNvPr id="6" name="Rectangle 5">
            <a:extLst>
              <a:ext uri="{FF2B5EF4-FFF2-40B4-BE49-F238E27FC236}">
                <a16:creationId xmlns:a16="http://schemas.microsoft.com/office/drawing/2014/main" id="{04B229A7-8A8C-674A-93B9-88AB6DB90DE2}"/>
              </a:ext>
            </a:extLst>
          </p:cNvPr>
          <p:cNvSpPr/>
          <p:nvPr/>
        </p:nvSpPr>
        <p:spPr>
          <a:xfrm>
            <a:off x="451020" y="4527075"/>
            <a:ext cx="3384612" cy="6921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4800" b="1" dirty="0">
                <a:solidFill>
                  <a:srgbClr val="3E1C84"/>
                </a:solidFill>
                <a:latin typeface="NeueHaasGroteskDisp Pro" panose="020B0504020202020204" pitchFamily="34" charset="77"/>
              </a:rPr>
              <a:t>642 M</a:t>
            </a:r>
          </a:p>
        </p:txBody>
      </p:sp>
      <p:grpSp>
        <p:nvGrpSpPr>
          <p:cNvPr id="7" name="Group 6">
            <a:extLst>
              <a:ext uri="{FF2B5EF4-FFF2-40B4-BE49-F238E27FC236}">
                <a16:creationId xmlns:a16="http://schemas.microsoft.com/office/drawing/2014/main" id="{FE359F51-2AC4-094B-B97A-4AE4CF120A4C}"/>
              </a:ext>
            </a:extLst>
          </p:cNvPr>
          <p:cNvGrpSpPr/>
          <p:nvPr/>
        </p:nvGrpSpPr>
        <p:grpSpPr>
          <a:xfrm>
            <a:off x="1693001" y="1282508"/>
            <a:ext cx="10016450" cy="4581094"/>
            <a:chOff x="1540565" y="1862709"/>
            <a:chExt cx="8592997" cy="4049534"/>
          </a:xfrm>
          <a:solidFill>
            <a:schemeClr val="bg1">
              <a:lumMod val="85000"/>
            </a:schemeClr>
          </a:solidFill>
        </p:grpSpPr>
        <p:sp>
          <p:nvSpPr>
            <p:cNvPr id="8" name="Freeform 59">
              <a:extLst>
                <a:ext uri="{FF2B5EF4-FFF2-40B4-BE49-F238E27FC236}">
                  <a16:creationId xmlns:a16="http://schemas.microsoft.com/office/drawing/2014/main" id="{F6BEE171-2292-AB45-9D25-EC0EA2FF3648}"/>
                </a:ext>
              </a:extLst>
            </p:cNvPr>
            <p:cNvSpPr>
              <a:spLocks noEditPoints="1"/>
            </p:cNvSpPr>
            <p:nvPr>
              <p:custDataLst>
                <p:tags r:id="rId1"/>
              </p:custDataLst>
            </p:nvPr>
          </p:nvSpPr>
          <p:spPr bwMode="auto">
            <a:xfrm>
              <a:off x="7467863" y="2605577"/>
              <a:ext cx="1512288" cy="1054929"/>
            </a:xfrm>
            <a:custGeom>
              <a:avLst/>
              <a:gdLst>
                <a:gd name="T0" fmla="*/ 2147483647 w 2441"/>
                <a:gd name="T1" fmla="*/ 2147483647 h 1882"/>
                <a:gd name="T2" fmla="*/ 2147483647 w 2441"/>
                <a:gd name="T3" fmla="*/ 2147483647 h 1882"/>
                <a:gd name="T4" fmla="*/ 2147483647 w 2441"/>
                <a:gd name="T5" fmla="*/ 2147483647 h 1882"/>
                <a:gd name="T6" fmla="*/ 2147483647 w 2441"/>
                <a:gd name="T7" fmla="*/ 2147483647 h 1882"/>
                <a:gd name="T8" fmla="*/ 2147483647 w 2441"/>
                <a:gd name="T9" fmla="*/ 2147483647 h 1882"/>
                <a:gd name="T10" fmla="*/ 2147483647 w 2441"/>
                <a:gd name="T11" fmla="*/ 2147483647 h 1882"/>
                <a:gd name="T12" fmla="*/ 2147483647 w 2441"/>
                <a:gd name="T13" fmla="*/ 0 h 1882"/>
                <a:gd name="T14" fmla="*/ 2147483647 w 2441"/>
                <a:gd name="T15" fmla="*/ 2147483647 h 1882"/>
                <a:gd name="T16" fmla="*/ 2147483647 w 2441"/>
                <a:gd name="T17" fmla="*/ 2147483647 h 1882"/>
                <a:gd name="T18" fmla="*/ 2147483647 w 2441"/>
                <a:gd name="T19" fmla="*/ 2147483647 h 1882"/>
                <a:gd name="T20" fmla="*/ 2147483647 w 2441"/>
                <a:gd name="T21" fmla="*/ 2147483647 h 1882"/>
                <a:gd name="T22" fmla="*/ 2147483647 w 2441"/>
                <a:gd name="T23" fmla="*/ 2147483647 h 1882"/>
                <a:gd name="T24" fmla="*/ 2147483647 w 2441"/>
                <a:gd name="T25" fmla="*/ 2147483647 h 1882"/>
                <a:gd name="T26" fmla="*/ 2147483647 w 2441"/>
                <a:gd name="T27" fmla="*/ 2147483647 h 1882"/>
                <a:gd name="T28" fmla="*/ 2147483647 w 2441"/>
                <a:gd name="T29" fmla="*/ 2147483647 h 1882"/>
                <a:gd name="T30" fmla="*/ 2147483647 w 2441"/>
                <a:gd name="T31" fmla="*/ 2147483647 h 1882"/>
                <a:gd name="T32" fmla="*/ 2147483647 w 2441"/>
                <a:gd name="T33" fmla="*/ 2147483647 h 1882"/>
                <a:gd name="T34" fmla="*/ 2147483647 w 2441"/>
                <a:gd name="T35" fmla="*/ 2147483647 h 1882"/>
                <a:gd name="T36" fmla="*/ 2147483647 w 2441"/>
                <a:gd name="T37" fmla="*/ 2147483647 h 1882"/>
                <a:gd name="T38" fmla="*/ 2147483647 w 2441"/>
                <a:gd name="T39" fmla="*/ 2147483647 h 1882"/>
                <a:gd name="T40" fmla="*/ 2147483647 w 2441"/>
                <a:gd name="T41" fmla="*/ 2147483647 h 1882"/>
                <a:gd name="T42" fmla="*/ 2147483647 w 2441"/>
                <a:gd name="T43" fmla="*/ 2147483647 h 1882"/>
                <a:gd name="T44" fmla="*/ 2147483647 w 2441"/>
                <a:gd name="T45" fmla="*/ 2147483647 h 1882"/>
                <a:gd name="T46" fmla="*/ 2147483647 w 2441"/>
                <a:gd name="T47" fmla="*/ 2147483647 h 1882"/>
                <a:gd name="T48" fmla="*/ 2147483647 w 2441"/>
                <a:gd name="T49" fmla="*/ 2147483647 h 1882"/>
                <a:gd name="T50" fmla="*/ 2147483647 w 2441"/>
                <a:gd name="T51" fmla="*/ 2147483647 h 1882"/>
                <a:gd name="T52" fmla="*/ 2147483647 w 2441"/>
                <a:gd name="T53" fmla="*/ 2147483647 h 1882"/>
                <a:gd name="T54" fmla="*/ 2147483647 w 2441"/>
                <a:gd name="T55" fmla="*/ 2147483647 h 1882"/>
                <a:gd name="T56" fmla="*/ 2147483647 w 2441"/>
                <a:gd name="T57" fmla="*/ 2147483647 h 1882"/>
                <a:gd name="T58" fmla="*/ 2147483647 w 2441"/>
                <a:gd name="T59" fmla="*/ 2147483647 h 1882"/>
                <a:gd name="T60" fmla="*/ 2147483647 w 2441"/>
                <a:gd name="T61" fmla="*/ 2147483647 h 1882"/>
                <a:gd name="T62" fmla="*/ 2147483647 w 2441"/>
                <a:gd name="T63" fmla="*/ 2147483647 h 1882"/>
                <a:gd name="T64" fmla="*/ 2147483647 w 2441"/>
                <a:gd name="T65" fmla="*/ 2147483647 h 1882"/>
                <a:gd name="T66" fmla="*/ 2147483647 w 2441"/>
                <a:gd name="T67" fmla="*/ 2147483647 h 1882"/>
                <a:gd name="T68" fmla="*/ 2147483647 w 2441"/>
                <a:gd name="T69" fmla="*/ 2147483647 h 1882"/>
                <a:gd name="T70" fmla="*/ 2147483647 w 2441"/>
                <a:gd name="T71" fmla="*/ 2147483647 h 1882"/>
                <a:gd name="T72" fmla="*/ 2147483647 w 2441"/>
                <a:gd name="T73" fmla="*/ 2147483647 h 1882"/>
                <a:gd name="T74" fmla="*/ 2147483647 w 2441"/>
                <a:gd name="T75" fmla="*/ 2147483647 h 1882"/>
                <a:gd name="T76" fmla="*/ 2147483647 w 2441"/>
                <a:gd name="T77" fmla="*/ 2147483647 h 1882"/>
                <a:gd name="T78" fmla="*/ 2147483647 w 2441"/>
                <a:gd name="T79" fmla="*/ 2147483647 h 1882"/>
                <a:gd name="T80" fmla="*/ 2147483647 w 2441"/>
                <a:gd name="T81" fmla="*/ 2147483647 h 1882"/>
                <a:gd name="T82" fmla="*/ 2147483647 w 2441"/>
                <a:gd name="T83" fmla="*/ 2147483647 h 1882"/>
                <a:gd name="T84" fmla="*/ 2147483647 w 2441"/>
                <a:gd name="T85" fmla="*/ 2147483647 h 1882"/>
                <a:gd name="T86" fmla="*/ 2147483647 w 2441"/>
                <a:gd name="T87" fmla="*/ 2147483647 h 1882"/>
                <a:gd name="T88" fmla="*/ 2147483647 w 2441"/>
                <a:gd name="T89" fmla="*/ 2147483647 h 1882"/>
                <a:gd name="T90" fmla="*/ 2147483647 w 2441"/>
                <a:gd name="T91" fmla="*/ 2147483647 h 1882"/>
                <a:gd name="T92" fmla="*/ 2147483647 w 2441"/>
                <a:gd name="T93" fmla="*/ 2147483647 h 1882"/>
                <a:gd name="T94" fmla="*/ 2147483647 w 2441"/>
                <a:gd name="T95" fmla="*/ 2147483647 h 1882"/>
                <a:gd name="T96" fmla="*/ 2147483647 w 2441"/>
                <a:gd name="T97" fmla="*/ 2147483647 h 1882"/>
                <a:gd name="T98" fmla="*/ 2147483647 w 2441"/>
                <a:gd name="T99" fmla="*/ 2147483647 h 1882"/>
                <a:gd name="T100" fmla="*/ 2147483647 w 2441"/>
                <a:gd name="T101" fmla="*/ 2147483647 h 1882"/>
                <a:gd name="T102" fmla="*/ 2147483647 w 2441"/>
                <a:gd name="T103" fmla="*/ 2147483647 h 1882"/>
                <a:gd name="T104" fmla="*/ 2147483647 w 2441"/>
                <a:gd name="T105" fmla="*/ 2147483647 h 1882"/>
                <a:gd name="T106" fmla="*/ 2147483647 w 2441"/>
                <a:gd name="T107" fmla="*/ 2147483647 h 1882"/>
                <a:gd name="T108" fmla="*/ 2147483647 w 2441"/>
                <a:gd name="T109" fmla="*/ 2147483647 h 1882"/>
                <a:gd name="T110" fmla="*/ 2147483647 w 2441"/>
                <a:gd name="T111" fmla="*/ 2147483647 h 1882"/>
                <a:gd name="T112" fmla="*/ 2147483647 w 2441"/>
                <a:gd name="T113" fmla="*/ 2147483647 h 1882"/>
                <a:gd name="T114" fmla="*/ 2147483647 w 2441"/>
                <a:gd name="T115" fmla="*/ 2147483647 h 1882"/>
                <a:gd name="T116" fmla="*/ 2147483647 w 2441"/>
                <a:gd name="T117" fmla="*/ 2147483647 h 1882"/>
                <a:gd name="T118" fmla="*/ 2147483647 w 2441"/>
                <a:gd name="T119" fmla="*/ 2147483647 h 18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41"/>
                <a:gd name="T181" fmla="*/ 0 h 1882"/>
                <a:gd name="T182" fmla="*/ 2441 w 2441"/>
                <a:gd name="T183" fmla="*/ 1882 h 188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9" name="Freeform 19">
              <a:extLst>
                <a:ext uri="{FF2B5EF4-FFF2-40B4-BE49-F238E27FC236}">
                  <a16:creationId xmlns:a16="http://schemas.microsoft.com/office/drawing/2014/main" id="{342AF64B-08D1-8441-8697-C9631DE5B672}"/>
                </a:ext>
              </a:extLst>
            </p:cNvPr>
            <p:cNvSpPr>
              <a:spLocks noEditPoints="1"/>
            </p:cNvSpPr>
            <p:nvPr>
              <p:custDataLst>
                <p:tags r:id="rId2"/>
              </p:custDataLst>
            </p:nvPr>
          </p:nvSpPr>
          <p:spPr bwMode="auto">
            <a:xfrm>
              <a:off x="9564366" y="4251399"/>
              <a:ext cx="454020" cy="273746"/>
            </a:xfrm>
            <a:custGeom>
              <a:avLst/>
              <a:gdLst>
                <a:gd name="T0" fmla="*/ 2147483647 w 730"/>
                <a:gd name="T1" fmla="*/ 2147483647 h 491"/>
                <a:gd name="T2" fmla="*/ 2147483647 w 730"/>
                <a:gd name="T3" fmla="*/ 2147483647 h 491"/>
                <a:gd name="T4" fmla="*/ 2147483647 w 730"/>
                <a:gd name="T5" fmla="*/ 2147483647 h 491"/>
                <a:gd name="T6" fmla="*/ 2147483647 w 730"/>
                <a:gd name="T7" fmla="*/ 2147483647 h 491"/>
                <a:gd name="T8" fmla="*/ 2147483647 w 730"/>
                <a:gd name="T9" fmla="*/ 2147483647 h 491"/>
                <a:gd name="T10" fmla="*/ 2147483647 w 730"/>
                <a:gd name="T11" fmla="*/ 2147483647 h 491"/>
                <a:gd name="T12" fmla="*/ 2147483647 w 730"/>
                <a:gd name="T13" fmla="*/ 2147483647 h 491"/>
                <a:gd name="T14" fmla="*/ 2147483647 w 730"/>
                <a:gd name="T15" fmla="*/ 2147483647 h 491"/>
                <a:gd name="T16" fmla="*/ 2147483647 w 730"/>
                <a:gd name="T17" fmla="*/ 2147483647 h 491"/>
                <a:gd name="T18" fmla="*/ 2147483647 w 730"/>
                <a:gd name="T19" fmla="*/ 2147483647 h 491"/>
                <a:gd name="T20" fmla="*/ 2147483647 w 730"/>
                <a:gd name="T21" fmla="*/ 2147483647 h 491"/>
                <a:gd name="T22" fmla="*/ 2147483647 w 730"/>
                <a:gd name="T23" fmla="*/ 2147483647 h 491"/>
                <a:gd name="T24" fmla="*/ 2147483647 w 730"/>
                <a:gd name="T25" fmla="*/ 2147483647 h 491"/>
                <a:gd name="T26" fmla="*/ 2147483647 w 730"/>
                <a:gd name="T27" fmla="*/ 2147483647 h 491"/>
                <a:gd name="T28" fmla="*/ 2147483647 w 730"/>
                <a:gd name="T29" fmla="*/ 2147483647 h 491"/>
                <a:gd name="T30" fmla="*/ 2147483647 w 730"/>
                <a:gd name="T31" fmla="*/ 2147483647 h 491"/>
                <a:gd name="T32" fmla="*/ 2147483647 w 730"/>
                <a:gd name="T33" fmla="*/ 2147483647 h 491"/>
                <a:gd name="T34" fmla="*/ 2147483647 w 730"/>
                <a:gd name="T35" fmla="*/ 2147483647 h 491"/>
                <a:gd name="T36" fmla="*/ 2147483647 w 730"/>
                <a:gd name="T37" fmla="*/ 2147483647 h 491"/>
                <a:gd name="T38" fmla="*/ 2147483647 w 730"/>
                <a:gd name="T39" fmla="*/ 2147483647 h 491"/>
                <a:gd name="T40" fmla="*/ 2147483647 w 730"/>
                <a:gd name="T41" fmla="*/ 2147483647 h 491"/>
                <a:gd name="T42" fmla="*/ 2147483647 w 730"/>
                <a:gd name="T43" fmla="*/ 2147483647 h 491"/>
                <a:gd name="T44" fmla="*/ 2147483647 w 730"/>
                <a:gd name="T45" fmla="*/ 2147483647 h 491"/>
                <a:gd name="T46" fmla="*/ 2147483647 w 730"/>
                <a:gd name="T47" fmla="*/ 2147483647 h 491"/>
                <a:gd name="T48" fmla="*/ 2147483647 w 730"/>
                <a:gd name="T49" fmla="*/ 2147483647 h 491"/>
                <a:gd name="T50" fmla="*/ 2147483647 w 730"/>
                <a:gd name="T51" fmla="*/ 2147483647 h 491"/>
                <a:gd name="T52" fmla="*/ 2147483647 w 730"/>
                <a:gd name="T53" fmla="*/ 2147483647 h 491"/>
                <a:gd name="T54" fmla="*/ 2147483647 w 730"/>
                <a:gd name="T55" fmla="*/ 2147483647 h 491"/>
                <a:gd name="T56" fmla="*/ 2147483647 w 730"/>
                <a:gd name="T57" fmla="*/ 2147483647 h 491"/>
                <a:gd name="T58" fmla="*/ 2147483647 w 730"/>
                <a:gd name="T59" fmla="*/ 2147483647 h 491"/>
                <a:gd name="T60" fmla="*/ 2147483647 w 730"/>
                <a:gd name="T61" fmla="*/ 2147483647 h 491"/>
                <a:gd name="T62" fmla="*/ 2147483647 w 730"/>
                <a:gd name="T63" fmla="*/ 2147483647 h 491"/>
                <a:gd name="T64" fmla="*/ 2147483647 w 730"/>
                <a:gd name="T65" fmla="*/ 2147483647 h 491"/>
                <a:gd name="T66" fmla="*/ 2147483647 w 730"/>
                <a:gd name="T67" fmla="*/ 2147483647 h 491"/>
                <a:gd name="T68" fmla="*/ 2147483647 w 730"/>
                <a:gd name="T69" fmla="*/ 2147483647 h 491"/>
                <a:gd name="T70" fmla="*/ 2147483647 w 730"/>
                <a:gd name="T71" fmla="*/ 2147483647 h 491"/>
                <a:gd name="T72" fmla="*/ 2147483647 w 730"/>
                <a:gd name="T73" fmla="*/ 2147483647 h 491"/>
                <a:gd name="T74" fmla="*/ 2147483647 w 730"/>
                <a:gd name="T75" fmla="*/ 2147483647 h 491"/>
                <a:gd name="T76" fmla="*/ 2147483647 w 730"/>
                <a:gd name="T77" fmla="*/ 2147483647 h 491"/>
                <a:gd name="T78" fmla="*/ 2147483647 w 730"/>
                <a:gd name="T79" fmla="*/ 2147483647 h 491"/>
                <a:gd name="T80" fmla="*/ 2147483647 w 730"/>
                <a:gd name="T81" fmla="*/ 2147483647 h 491"/>
                <a:gd name="T82" fmla="*/ 2147483647 w 730"/>
                <a:gd name="T83" fmla="*/ 2147483647 h 491"/>
                <a:gd name="T84" fmla="*/ 2147483647 w 730"/>
                <a:gd name="T85" fmla="*/ 2147483647 h 491"/>
                <a:gd name="T86" fmla="*/ 2147483647 w 730"/>
                <a:gd name="T87" fmla="*/ 2147483647 h 491"/>
                <a:gd name="T88" fmla="*/ 2147483647 w 730"/>
                <a:gd name="T89" fmla="*/ 2147483647 h 491"/>
                <a:gd name="T90" fmla="*/ 2147483647 w 730"/>
                <a:gd name="T91" fmla="*/ 2147483647 h 491"/>
                <a:gd name="T92" fmla="*/ 2147483647 w 730"/>
                <a:gd name="T93" fmla="*/ 2147483647 h 491"/>
                <a:gd name="T94" fmla="*/ 2147483647 w 730"/>
                <a:gd name="T95" fmla="*/ 2147483647 h 49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30"/>
                <a:gd name="T145" fmla="*/ 0 h 491"/>
                <a:gd name="T146" fmla="*/ 730 w 730"/>
                <a:gd name="T147" fmla="*/ 491 h 49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0" name="Freeform 20">
              <a:extLst>
                <a:ext uri="{FF2B5EF4-FFF2-40B4-BE49-F238E27FC236}">
                  <a16:creationId xmlns:a16="http://schemas.microsoft.com/office/drawing/2014/main" id="{C4A3D2C8-C1CC-074C-8365-16F4089486E8}"/>
                </a:ext>
              </a:extLst>
            </p:cNvPr>
            <p:cNvSpPr>
              <a:spLocks/>
            </p:cNvSpPr>
            <p:nvPr>
              <p:custDataLst>
                <p:tags r:id="rId3"/>
              </p:custDataLst>
            </p:nvPr>
          </p:nvSpPr>
          <p:spPr bwMode="auto">
            <a:xfrm>
              <a:off x="5842071" y="2572193"/>
              <a:ext cx="258726" cy="166920"/>
            </a:xfrm>
            <a:custGeom>
              <a:avLst/>
              <a:gdLst>
                <a:gd name="T0" fmla="*/ 2147483647 w 419"/>
                <a:gd name="T1" fmla="*/ 2147483647 h 301"/>
                <a:gd name="T2" fmla="*/ 2147483647 w 419"/>
                <a:gd name="T3" fmla="*/ 2147483647 h 301"/>
                <a:gd name="T4" fmla="*/ 2147483647 w 419"/>
                <a:gd name="T5" fmla="*/ 2147483647 h 301"/>
                <a:gd name="T6" fmla="*/ 2147483647 w 419"/>
                <a:gd name="T7" fmla="*/ 2147483647 h 301"/>
                <a:gd name="T8" fmla="*/ 2147483647 w 419"/>
                <a:gd name="T9" fmla="*/ 2147483647 h 301"/>
                <a:gd name="T10" fmla="*/ 2147483647 w 419"/>
                <a:gd name="T11" fmla="*/ 2147483647 h 301"/>
                <a:gd name="T12" fmla="*/ 2147483647 w 419"/>
                <a:gd name="T13" fmla="*/ 2147483647 h 301"/>
                <a:gd name="T14" fmla="*/ 2147483647 w 419"/>
                <a:gd name="T15" fmla="*/ 2147483647 h 301"/>
                <a:gd name="T16" fmla="*/ 2147483647 w 419"/>
                <a:gd name="T17" fmla="*/ 2147483647 h 301"/>
                <a:gd name="T18" fmla="*/ 2147483647 w 419"/>
                <a:gd name="T19" fmla="*/ 2147483647 h 301"/>
                <a:gd name="T20" fmla="*/ 2147483647 w 419"/>
                <a:gd name="T21" fmla="*/ 2147483647 h 301"/>
                <a:gd name="T22" fmla="*/ 2147483647 w 419"/>
                <a:gd name="T23" fmla="*/ 2147483647 h 301"/>
                <a:gd name="T24" fmla="*/ 2147483647 w 419"/>
                <a:gd name="T25" fmla="*/ 2147483647 h 301"/>
                <a:gd name="T26" fmla="*/ 2147483647 w 419"/>
                <a:gd name="T27" fmla="*/ 2147483647 h 301"/>
                <a:gd name="T28" fmla="*/ 2147483647 w 419"/>
                <a:gd name="T29" fmla="*/ 2147483647 h 301"/>
                <a:gd name="T30" fmla="*/ 2147483647 w 419"/>
                <a:gd name="T31" fmla="*/ 2147483647 h 301"/>
                <a:gd name="T32" fmla="*/ 2147483647 w 419"/>
                <a:gd name="T33" fmla="*/ 2147483647 h 301"/>
                <a:gd name="T34" fmla="*/ 2147483647 w 419"/>
                <a:gd name="T35" fmla="*/ 2147483647 h 301"/>
                <a:gd name="T36" fmla="*/ 2147483647 w 419"/>
                <a:gd name="T37" fmla="*/ 0 h 301"/>
                <a:gd name="T38" fmla="*/ 2147483647 w 419"/>
                <a:gd name="T39" fmla="*/ 2147483647 h 301"/>
                <a:gd name="T40" fmla="*/ 2147483647 w 419"/>
                <a:gd name="T41" fmla="*/ 2147483647 h 301"/>
                <a:gd name="T42" fmla="*/ 2147483647 w 419"/>
                <a:gd name="T43" fmla="*/ 2147483647 h 301"/>
                <a:gd name="T44" fmla="*/ 2147483647 w 419"/>
                <a:gd name="T45" fmla="*/ 2147483647 h 301"/>
                <a:gd name="T46" fmla="*/ 2147483647 w 419"/>
                <a:gd name="T47" fmla="*/ 2147483647 h 301"/>
                <a:gd name="T48" fmla="*/ 2147483647 w 419"/>
                <a:gd name="T49" fmla="*/ 2147483647 h 301"/>
                <a:gd name="T50" fmla="*/ 2147483647 w 419"/>
                <a:gd name="T51" fmla="*/ 2147483647 h 301"/>
                <a:gd name="T52" fmla="*/ 2147483647 w 419"/>
                <a:gd name="T53" fmla="*/ 2147483647 h 301"/>
                <a:gd name="T54" fmla="*/ 2147483647 w 419"/>
                <a:gd name="T55" fmla="*/ 2147483647 h 301"/>
                <a:gd name="T56" fmla="*/ 2147483647 w 419"/>
                <a:gd name="T57" fmla="*/ 2147483647 h 301"/>
                <a:gd name="T58" fmla="*/ 2147483647 w 419"/>
                <a:gd name="T59" fmla="*/ 2147483647 h 301"/>
                <a:gd name="T60" fmla="*/ 2147483647 w 419"/>
                <a:gd name="T61" fmla="*/ 2147483647 h 301"/>
                <a:gd name="T62" fmla="*/ 2147483647 w 419"/>
                <a:gd name="T63" fmla="*/ 2147483647 h 301"/>
                <a:gd name="T64" fmla="*/ 2147483647 w 419"/>
                <a:gd name="T65" fmla="*/ 2147483647 h 301"/>
                <a:gd name="T66" fmla="*/ 2147483647 w 419"/>
                <a:gd name="T67" fmla="*/ 2147483647 h 301"/>
                <a:gd name="T68" fmla="*/ 2147483647 w 419"/>
                <a:gd name="T69" fmla="*/ 2147483647 h 301"/>
                <a:gd name="T70" fmla="*/ 2147483647 w 419"/>
                <a:gd name="T71" fmla="*/ 2147483647 h 301"/>
                <a:gd name="T72" fmla="*/ 2147483647 w 419"/>
                <a:gd name="T73" fmla="*/ 2147483647 h 301"/>
                <a:gd name="T74" fmla="*/ 2147483647 w 419"/>
                <a:gd name="T75" fmla="*/ 2147483647 h 301"/>
                <a:gd name="T76" fmla="*/ 2147483647 w 419"/>
                <a:gd name="T77" fmla="*/ 2147483647 h 301"/>
                <a:gd name="T78" fmla="*/ 2147483647 w 419"/>
                <a:gd name="T79" fmla="*/ 2147483647 h 301"/>
                <a:gd name="T80" fmla="*/ 2147483647 w 419"/>
                <a:gd name="T81" fmla="*/ 2147483647 h 301"/>
                <a:gd name="T82" fmla="*/ 2147483647 w 419"/>
                <a:gd name="T83" fmla="*/ 2147483647 h 301"/>
                <a:gd name="T84" fmla="*/ 2147483647 w 419"/>
                <a:gd name="T85" fmla="*/ 2147483647 h 301"/>
                <a:gd name="T86" fmla="*/ 2147483647 w 419"/>
                <a:gd name="T87" fmla="*/ 2147483647 h 301"/>
                <a:gd name="T88" fmla="*/ 2147483647 w 419"/>
                <a:gd name="T89" fmla="*/ 2147483647 h 3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9"/>
                <a:gd name="T136" fmla="*/ 0 h 301"/>
                <a:gd name="T137" fmla="*/ 419 w 419"/>
                <a:gd name="T138" fmla="*/ 301 h 3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1" name="Freeform 21">
              <a:extLst>
                <a:ext uri="{FF2B5EF4-FFF2-40B4-BE49-F238E27FC236}">
                  <a16:creationId xmlns:a16="http://schemas.microsoft.com/office/drawing/2014/main" id="{7EB5B9B1-0953-6342-92F3-6413A39B38ED}"/>
                </a:ext>
              </a:extLst>
            </p:cNvPr>
            <p:cNvSpPr>
              <a:spLocks/>
            </p:cNvSpPr>
            <p:nvPr>
              <p:custDataLst>
                <p:tags r:id="rId4"/>
              </p:custDataLst>
            </p:nvPr>
          </p:nvSpPr>
          <p:spPr bwMode="auto">
            <a:xfrm>
              <a:off x="5980614" y="2927731"/>
              <a:ext cx="61760" cy="91805"/>
            </a:xfrm>
            <a:custGeom>
              <a:avLst/>
              <a:gdLst>
                <a:gd name="T0" fmla="*/ 2147483647 w 100"/>
                <a:gd name="T1" fmla="*/ 2147483647 h 165"/>
                <a:gd name="T2" fmla="*/ 2147483647 w 100"/>
                <a:gd name="T3" fmla="*/ 2147483647 h 165"/>
                <a:gd name="T4" fmla="*/ 2147483647 w 100"/>
                <a:gd name="T5" fmla="*/ 2147483647 h 165"/>
                <a:gd name="T6" fmla="*/ 2147483647 w 100"/>
                <a:gd name="T7" fmla="*/ 2147483647 h 165"/>
                <a:gd name="T8" fmla="*/ 2147483647 w 100"/>
                <a:gd name="T9" fmla="*/ 2147483647 h 165"/>
                <a:gd name="T10" fmla="*/ 2147483647 w 100"/>
                <a:gd name="T11" fmla="*/ 2147483647 h 165"/>
                <a:gd name="T12" fmla="*/ 2147483647 w 100"/>
                <a:gd name="T13" fmla="*/ 2147483647 h 165"/>
                <a:gd name="T14" fmla="*/ 2147483647 w 100"/>
                <a:gd name="T15" fmla="*/ 2147483647 h 165"/>
                <a:gd name="T16" fmla="*/ 2147483647 w 100"/>
                <a:gd name="T17" fmla="*/ 2147483647 h 165"/>
                <a:gd name="T18" fmla="*/ 2147483647 w 100"/>
                <a:gd name="T19" fmla="*/ 2147483647 h 165"/>
                <a:gd name="T20" fmla="*/ 2147483647 w 100"/>
                <a:gd name="T21" fmla="*/ 2147483647 h 165"/>
                <a:gd name="T22" fmla="*/ 2147483647 w 100"/>
                <a:gd name="T23" fmla="*/ 2147483647 h 165"/>
                <a:gd name="T24" fmla="*/ 2147483647 w 100"/>
                <a:gd name="T25" fmla="*/ 2147483647 h 165"/>
                <a:gd name="T26" fmla="*/ 2147483647 w 100"/>
                <a:gd name="T27" fmla="*/ 2147483647 h 165"/>
                <a:gd name="T28" fmla="*/ 2147483647 w 100"/>
                <a:gd name="T29" fmla="*/ 2147483647 h 165"/>
                <a:gd name="T30" fmla="*/ 2147483647 w 100"/>
                <a:gd name="T31" fmla="*/ 2147483647 h 165"/>
                <a:gd name="T32" fmla="*/ 2147483647 w 100"/>
                <a:gd name="T33" fmla="*/ 2147483647 h 165"/>
                <a:gd name="T34" fmla="*/ 2147483647 w 100"/>
                <a:gd name="T35" fmla="*/ 0 h 165"/>
                <a:gd name="T36" fmla="*/ 2147483647 w 100"/>
                <a:gd name="T37" fmla="*/ 2147483647 h 165"/>
                <a:gd name="T38" fmla="*/ 2147483647 w 100"/>
                <a:gd name="T39" fmla="*/ 2147483647 h 165"/>
                <a:gd name="T40" fmla="*/ 0 w 100"/>
                <a:gd name="T41" fmla="*/ 2147483647 h 165"/>
                <a:gd name="T42" fmla="*/ 2147483647 w 100"/>
                <a:gd name="T43" fmla="*/ 2147483647 h 165"/>
                <a:gd name="T44" fmla="*/ 2147483647 w 100"/>
                <a:gd name="T45" fmla="*/ 2147483647 h 165"/>
                <a:gd name="T46" fmla="*/ 2147483647 w 100"/>
                <a:gd name="T47" fmla="*/ 2147483647 h 165"/>
                <a:gd name="T48" fmla="*/ 2147483647 w 100"/>
                <a:gd name="T49" fmla="*/ 2147483647 h 165"/>
                <a:gd name="T50" fmla="*/ 2147483647 w 100"/>
                <a:gd name="T51" fmla="*/ 2147483647 h 165"/>
                <a:gd name="T52" fmla="*/ 2147483647 w 100"/>
                <a:gd name="T53" fmla="*/ 2147483647 h 165"/>
                <a:gd name="T54" fmla="*/ 2147483647 w 100"/>
                <a:gd name="T55" fmla="*/ 2147483647 h 165"/>
                <a:gd name="T56" fmla="*/ 2147483647 w 100"/>
                <a:gd name="T57" fmla="*/ 2147483647 h 165"/>
                <a:gd name="T58" fmla="*/ 2147483647 w 100"/>
                <a:gd name="T59" fmla="*/ 2147483647 h 165"/>
                <a:gd name="T60" fmla="*/ 2147483647 w 100"/>
                <a:gd name="T61" fmla="*/ 2147483647 h 165"/>
                <a:gd name="T62" fmla="*/ 2147483647 w 100"/>
                <a:gd name="T63" fmla="*/ 2147483647 h 165"/>
                <a:gd name="T64" fmla="*/ 2147483647 w 100"/>
                <a:gd name="T65" fmla="*/ 2147483647 h 165"/>
                <a:gd name="T66" fmla="*/ 2147483647 w 100"/>
                <a:gd name="T67" fmla="*/ 2147483647 h 1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165"/>
                <a:gd name="T104" fmla="*/ 100 w 100"/>
                <a:gd name="T105" fmla="*/ 165 h 16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2" name="Freeform 22">
              <a:extLst>
                <a:ext uri="{FF2B5EF4-FFF2-40B4-BE49-F238E27FC236}">
                  <a16:creationId xmlns:a16="http://schemas.microsoft.com/office/drawing/2014/main" id="{8E29C705-EA38-3542-A069-83114DE1428E}"/>
                </a:ext>
              </a:extLst>
            </p:cNvPr>
            <p:cNvSpPr>
              <a:spLocks noEditPoints="1"/>
            </p:cNvSpPr>
            <p:nvPr>
              <p:custDataLst>
                <p:tags r:id="rId5"/>
              </p:custDataLst>
            </p:nvPr>
          </p:nvSpPr>
          <p:spPr bwMode="auto">
            <a:xfrm>
              <a:off x="6015667" y="2952769"/>
              <a:ext cx="227010" cy="205311"/>
            </a:xfrm>
            <a:custGeom>
              <a:avLst/>
              <a:gdLst>
                <a:gd name="T0" fmla="*/ 2147483647 w 365"/>
                <a:gd name="T1" fmla="*/ 2147483647 h 367"/>
                <a:gd name="T2" fmla="*/ 2147483647 w 365"/>
                <a:gd name="T3" fmla="*/ 2147483647 h 367"/>
                <a:gd name="T4" fmla="*/ 2147483647 w 365"/>
                <a:gd name="T5" fmla="*/ 2147483647 h 367"/>
                <a:gd name="T6" fmla="*/ 2147483647 w 365"/>
                <a:gd name="T7" fmla="*/ 2147483647 h 367"/>
                <a:gd name="T8" fmla="*/ 2147483647 w 365"/>
                <a:gd name="T9" fmla="*/ 2147483647 h 367"/>
                <a:gd name="T10" fmla="*/ 2147483647 w 365"/>
                <a:gd name="T11" fmla="*/ 2147483647 h 367"/>
                <a:gd name="T12" fmla="*/ 2147483647 w 365"/>
                <a:gd name="T13" fmla="*/ 2147483647 h 367"/>
                <a:gd name="T14" fmla="*/ 2147483647 w 365"/>
                <a:gd name="T15" fmla="*/ 2147483647 h 367"/>
                <a:gd name="T16" fmla="*/ 2147483647 w 365"/>
                <a:gd name="T17" fmla="*/ 2147483647 h 367"/>
                <a:gd name="T18" fmla="*/ 2147483647 w 365"/>
                <a:gd name="T19" fmla="*/ 2147483647 h 367"/>
                <a:gd name="T20" fmla="*/ 2147483647 w 365"/>
                <a:gd name="T21" fmla="*/ 2147483647 h 367"/>
                <a:gd name="T22" fmla="*/ 2147483647 w 365"/>
                <a:gd name="T23" fmla="*/ 2147483647 h 367"/>
                <a:gd name="T24" fmla="*/ 2147483647 w 365"/>
                <a:gd name="T25" fmla="*/ 2147483647 h 367"/>
                <a:gd name="T26" fmla="*/ 2147483647 w 365"/>
                <a:gd name="T27" fmla="*/ 2147483647 h 367"/>
                <a:gd name="T28" fmla="*/ 2147483647 w 365"/>
                <a:gd name="T29" fmla="*/ 2147483647 h 367"/>
                <a:gd name="T30" fmla="*/ 2147483647 w 365"/>
                <a:gd name="T31" fmla="*/ 2147483647 h 367"/>
                <a:gd name="T32" fmla="*/ 2147483647 w 365"/>
                <a:gd name="T33" fmla="*/ 2147483647 h 367"/>
                <a:gd name="T34" fmla="*/ 2147483647 w 365"/>
                <a:gd name="T35" fmla="*/ 0 h 367"/>
                <a:gd name="T36" fmla="*/ 2147483647 w 365"/>
                <a:gd name="T37" fmla="*/ 2147483647 h 367"/>
                <a:gd name="T38" fmla="*/ 2147483647 w 365"/>
                <a:gd name="T39" fmla="*/ 2147483647 h 367"/>
                <a:gd name="T40" fmla="*/ 2147483647 w 365"/>
                <a:gd name="T41" fmla="*/ 2147483647 h 367"/>
                <a:gd name="T42" fmla="*/ 2147483647 w 365"/>
                <a:gd name="T43" fmla="*/ 2147483647 h 367"/>
                <a:gd name="T44" fmla="*/ 2147483647 w 365"/>
                <a:gd name="T45" fmla="*/ 2147483647 h 367"/>
                <a:gd name="T46" fmla="*/ 2147483647 w 365"/>
                <a:gd name="T47" fmla="*/ 2147483647 h 367"/>
                <a:gd name="T48" fmla="*/ 2147483647 w 365"/>
                <a:gd name="T49" fmla="*/ 2147483647 h 367"/>
                <a:gd name="T50" fmla="*/ 2147483647 w 365"/>
                <a:gd name="T51" fmla="*/ 2147483647 h 367"/>
                <a:gd name="T52" fmla="*/ 2147483647 w 365"/>
                <a:gd name="T53" fmla="*/ 2147483647 h 367"/>
                <a:gd name="T54" fmla="*/ 2147483647 w 365"/>
                <a:gd name="T55" fmla="*/ 2147483647 h 367"/>
                <a:gd name="T56" fmla="*/ 2147483647 w 365"/>
                <a:gd name="T57" fmla="*/ 2147483647 h 367"/>
                <a:gd name="T58" fmla="*/ 2147483647 w 365"/>
                <a:gd name="T59" fmla="*/ 2147483647 h 367"/>
                <a:gd name="T60" fmla="*/ 2147483647 w 365"/>
                <a:gd name="T61" fmla="*/ 2147483647 h 367"/>
                <a:gd name="T62" fmla="*/ 2147483647 w 365"/>
                <a:gd name="T63" fmla="*/ 2147483647 h 367"/>
                <a:gd name="T64" fmla="*/ 2147483647 w 365"/>
                <a:gd name="T65" fmla="*/ 2147483647 h 367"/>
                <a:gd name="T66" fmla="*/ 2147483647 w 365"/>
                <a:gd name="T67" fmla="*/ 2147483647 h 367"/>
                <a:gd name="T68" fmla="*/ 2147483647 w 365"/>
                <a:gd name="T69" fmla="*/ 2147483647 h 367"/>
                <a:gd name="T70" fmla="*/ 2147483647 w 365"/>
                <a:gd name="T71" fmla="*/ 2147483647 h 367"/>
                <a:gd name="T72" fmla="*/ 2147483647 w 365"/>
                <a:gd name="T73" fmla="*/ 2147483647 h 367"/>
                <a:gd name="T74" fmla="*/ 2147483647 w 365"/>
                <a:gd name="T75" fmla="*/ 2147483647 h 367"/>
                <a:gd name="T76" fmla="*/ 2147483647 w 365"/>
                <a:gd name="T77" fmla="*/ 2147483647 h 367"/>
                <a:gd name="T78" fmla="*/ 2147483647 w 365"/>
                <a:gd name="T79" fmla="*/ 2147483647 h 367"/>
                <a:gd name="T80" fmla="*/ 2147483647 w 365"/>
                <a:gd name="T81" fmla="*/ 2147483647 h 367"/>
                <a:gd name="T82" fmla="*/ 2147483647 w 365"/>
                <a:gd name="T83" fmla="*/ 2147483647 h 367"/>
                <a:gd name="T84" fmla="*/ 2147483647 w 365"/>
                <a:gd name="T85" fmla="*/ 2147483647 h 367"/>
                <a:gd name="T86" fmla="*/ 2147483647 w 365"/>
                <a:gd name="T87" fmla="*/ 2147483647 h 367"/>
                <a:gd name="T88" fmla="*/ 2147483647 w 365"/>
                <a:gd name="T89" fmla="*/ 2147483647 h 367"/>
                <a:gd name="T90" fmla="*/ 2147483647 w 365"/>
                <a:gd name="T91" fmla="*/ 2147483647 h 367"/>
                <a:gd name="T92" fmla="*/ 2147483647 w 365"/>
                <a:gd name="T93" fmla="*/ 2147483647 h 367"/>
                <a:gd name="T94" fmla="*/ 2147483647 w 365"/>
                <a:gd name="T95" fmla="*/ 2147483647 h 367"/>
                <a:gd name="T96" fmla="*/ 2147483647 w 365"/>
                <a:gd name="T97" fmla="*/ 2147483647 h 367"/>
                <a:gd name="T98" fmla="*/ 2147483647 w 365"/>
                <a:gd name="T99" fmla="*/ 2147483647 h 367"/>
                <a:gd name="T100" fmla="*/ 2147483647 w 365"/>
                <a:gd name="T101" fmla="*/ 2147483647 h 367"/>
                <a:gd name="T102" fmla="*/ 2147483647 w 365"/>
                <a:gd name="T103" fmla="*/ 2147483647 h 367"/>
                <a:gd name="T104" fmla="*/ 2147483647 w 365"/>
                <a:gd name="T105" fmla="*/ 2147483647 h 367"/>
                <a:gd name="T106" fmla="*/ 2147483647 w 365"/>
                <a:gd name="T107" fmla="*/ 2147483647 h 367"/>
                <a:gd name="T108" fmla="*/ 2147483647 w 365"/>
                <a:gd name="T109" fmla="*/ 2147483647 h 367"/>
                <a:gd name="T110" fmla="*/ 2147483647 w 365"/>
                <a:gd name="T111" fmla="*/ 2147483647 h 367"/>
                <a:gd name="T112" fmla="*/ 2147483647 w 365"/>
                <a:gd name="T113" fmla="*/ 2147483647 h 36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65"/>
                <a:gd name="T172" fmla="*/ 0 h 367"/>
                <a:gd name="T173" fmla="*/ 365 w 365"/>
                <a:gd name="T174" fmla="*/ 367 h 36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3" name="Freeform 23">
              <a:extLst>
                <a:ext uri="{FF2B5EF4-FFF2-40B4-BE49-F238E27FC236}">
                  <a16:creationId xmlns:a16="http://schemas.microsoft.com/office/drawing/2014/main" id="{8C5A0790-6F02-9345-869A-2403F7B99E00}"/>
                </a:ext>
              </a:extLst>
            </p:cNvPr>
            <p:cNvSpPr>
              <a:spLocks noEditPoints="1"/>
            </p:cNvSpPr>
            <p:nvPr>
              <p:custDataLst>
                <p:tags r:id="rId6"/>
              </p:custDataLst>
            </p:nvPr>
          </p:nvSpPr>
          <p:spPr bwMode="auto">
            <a:xfrm>
              <a:off x="5287900" y="2403605"/>
              <a:ext cx="243703" cy="307131"/>
            </a:xfrm>
            <a:custGeom>
              <a:avLst/>
              <a:gdLst>
                <a:gd name="T0" fmla="*/ 2147483647 w 395"/>
                <a:gd name="T1" fmla="*/ 2147483647 h 549"/>
                <a:gd name="T2" fmla="*/ 2147483647 w 395"/>
                <a:gd name="T3" fmla="*/ 2147483647 h 549"/>
                <a:gd name="T4" fmla="*/ 2147483647 w 395"/>
                <a:gd name="T5" fmla="*/ 2147483647 h 549"/>
                <a:gd name="T6" fmla="*/ 2147483647 w 395"/>
                <a:gd name="T7" fmla="*/ 2147483647 h 549"/>
                <a:gd name="T8" fmla="*/ 2147483647 w 395"/>
                <a:gd name="T9" fmla="*/ 2147483647 h 549"/>
                <a:gd name="T10" fmla="*/ 2147483647 w 395"/>
                <a:gd name="T11" fmla="*/ 2147483647 h 549"/>
                <a:gd name="T12" fmla="*/ 2147483647 w 395"/>
                <a:gd name="T13" fmla="*/ 2147483647 h 549"/>
                <a:gd name="T14" fmla="*/ 2147483647 w 395"/>
                <a:gd name="T15" fmla="*/ 2147483647 h 549"/>
                <a:gd name="T16" fmla="*/ 2147483647 w 395"/>
                <a:gd name="T17" fmla="*/ 2147483647 h 549"/>
                <a:gd name="T18" fmla="*/ 2147483647 w 395"/>
                <a:gd name="T19" fmla="*/ 2147483647 h 549"/>
                <a:gd name="T20" fmla="*/ 2147483647 w 395"/>
                <a:gd name="T21" fmla="*/ 2147483647 h 549"/>
                <a:gd name="T22" fmla="*/ 2147483647 w 395"/>
                <a:gd name="T23" fmla="*/ 2147483647 h 549"/>
                <a:gd name="T24" fmla="*/ 2147483647 w 395"/>
                <a:gd name="T25" fmla="*/ 2147483647 h 549"/>
                <a:gd name="T26" fmla="*/ 2147483647 w 395"/>
                <a:gd name="T27" fmla="*/ 2147483647 h 549"/>
                <a:gd name="T28" fmla="*/ 2147483647 w 395"/>
                <a:gd name="T29" fmla="*/ 2147483647 h 549"/>
                <a:gd name="T30" fmla="*/ 2147483647 w 395"/>
                <a:gd name="T31" fmla="*/ 2147483647 h 549"/>
                <a:gd name="T32" fmla="*/ 2147483647 w 395"/>
                <a:gd name="T33" fmla="*/ 2147483647 h 549"/>
                <a:gd name="T34" fmla="*/ 2147483647 w 395"/>
                <a:gd name="T35" fmla="*/ 2147483647 h 549"/>
                <a:gd name="T36" fmla="*/ 2147483647 w 395"/>
                <a:gd name="T37" fmla="*/ 2147483647 h 549"/>
                <a:gd name="T38" fmla="*/ 2147483647 w 395"/>
                <a:gd name="T39" fmla="*/ 2147483647 h 549"/>
                <a:gd name="T40" fmla="*/ 2147483647 w 395"/>
                <a:gd name="T41" fmla="*/ 2147483647 h 549"/>
                <a:gd name="T42" fmla="*/ 2147483647 w 395"/>
                <a:gd name="T43" fmla="*/ 2147483647 h 549"/>
                <a:gd name="T44" fmla="*/ 2147483647 w 395"/>
                <a:gd name="T45" fmla="*/ 2147483647 h 549"/>
                <a:gd name="T46" fmla="*/ 2147483647 w 395"/>
                <a:gd name="T47" fmla="*/ 2147483647 h 549"/>
                <a:gd name="T48" fmla="*/ 2147483647 w 395"/>
                <a:gd name="T49" fmla="*/ 2147483647 h 549"/>
                <a:gd name="T50" fmla="*/ 2147483647 w 395"/>
                <a:gd name="T51" fmla="*/ 2147483647 h 549"/>
                <a:gd name="T52" fmla="*/ 2147483647 w 395"/>
                <a:gd name="T53" fmla="*/ 2147483647 h 549"/>
                <a:gd name="T54" fmla="*/ 2147483647 w 395"/>
                <a:gd name="T55" fmla="*/ 2147483647 h 549"/>
                <a:gd name="T56" fmla="*/ 2147483647 w 395"/>
                <a:gd name="T57" fmla="*/ 2147483647 h 549"/>
                <a:gd name="T58" fmla="*/ 2147483647 w 395"/>
                <a:gd name="T59" fmla="*/ 2147483647 h 549"/>
                <a:gd name="T60" fmla="*/ 2147483647 w 395"/>
                <a:gd name="T61" fmla="*/ 2147483647 h 549"/>
                <a:gd name="T62" fmla="*/ 2147483647 w 395"/>
                <a:gd name="T63" fmla="*/ 2147483647 h 549"/>
                <a:gd name="T64" fmla="*/ 2147483647 w 395"/>
                <a:gd name="T65" fmla="*/ 2147483647 h 549"/>
                <a:gd name="T66" fmla="*/ 2147483647 w 395"/>
                <a:gd name="T67" fmla="*/ 2147483647 h 549"/>
                <a:gd name="T68" fmla="*/ 2147483647 w 395"/>
                <a:gd name="T69" fmla="*/ 2147483647 h 549"/>
                <a:gd name="T70" fmla="*/ 2147483647 w 395"/>
                <a:gd name="T71" fmla="*/ 2147483647 h 549"/>
                <a:gd name="T72" fmla="*/ 2147483647 w 395"/>
                <a:gd name="T73" fmla="*/ 2147483647 h 549"/>
                <a:gd name="T74" fmla="*/ 2147483647 w 395"/>
                <a:gd name="T75" fmla="*/ 2147483647 h 549"/>
                <a:gd name="T76" fmla="*/ 2147483647 w 395"/>
                <a:gd name="T77" fmla="*/ 2147483647 h 549"/>
                <a:gd name="T78" fmla="*/ 2147483647 w 395"/>
                <a:gd name="T79" fmla="*/ 2147483647 h 549"/>
                <a:gd name="T80" fmla="*/ 2147483647 w 395"/>
                <a:gd name="T81" fmla="*/ 2147483647 h 549"/>
                <a:gd name="T82" fmla="*/ 2147483647 w 395"/>
                <a:gd name="T83" fmla="*/ 2147483647 h 549"/>
                <a:gd name="T84" fmla="*/ 2147483647 w 395"/>
                <a:gd name="T85" fmla="*/ 2147483647 h 549"/>
                <a:gd name="T86" fmla="*/ 2147483647 w 395"/>
                <a:gd name="T87" fmla="*/ 2147483647 h 549"/>
                <a:gd name="T88" fmla="*/ 2147483647 w 395"/>
                <a:gd name="T89" fmla="*/ 2147483647 h 549"/>
                <a:gd name="T90" fmla="*/ 2147483647 w 395"/>
                <a:gd name="T91" fmla="*/ 2147483647 h 549"/>
                <a:gd name="T92" fmla="*/ 2147483647 w 395"/>
                <a:gd name="T93" fmla="*/ 2147483647 h 549"/>
                <a:gd name="T94" fmla="*/ 2147483647 w 395"/>
                <a:gd name="T95" fmla="*/ 2147483647 h 549"/>
                <a:gd name="T96" fmla="*/ 2147483647 w 395"/>
                <a:gd name="T97" fmla="*/ 2147483647 h 549"/>
                <a:gd name="T98" fmla="*/ 2147483647 w 395"/>
                <a:gd name="T99" fmla="*/ 2147483647 h 549"/>
                <a:gd name="T100" fmla="*/ 2147483647 w 395"/>
                <a:gd name="T101" fmla="*/ 2147483647 h 549"/>
                <a:gd name="T102" fmla="*/ 2147483647 w 395"/>
                <a:gd name="T103" fmla="*/ 2147483647 h 549"/>
                <a:gd name="T104" fmla="*/ 2147483647 w 395"/>
                <a:gd name="T105" fmla="*/ 2147483647 h 549"/>
                <a:gd name="T106" fmla="*/ 2147483647 w 395"/>
                <a:gd name="T107" fmla="*/ 2147483647 h 549"/>
                <a:gd name="T108" fmla="*/ 2147483647 w 395"/>
                <a:gd name="T109" fmla="*/ 2147483647 h 549"/>
                <a:gd name="T110" fmla="*/ 2147483647 w 395"/>
                <a:gd name="T111" fmla="*/ 2147483647 h 549"/>
                <a:gd name="T112" fmla="*/ 2147483647 w 395"/>
                <a:gd name="T113" fmla="*/ 2147483647 h 549"/>
                <a:gd name="T114" fmla="*/ 2147483647 w 395"/>
                <a:gd name="T115" fmla="*/ 2147483647 h 549"/>
                <a:gd name="T116" fmla="*/ 2147483647 w 395"/>
                <a:gd name="T117" fmla="*/ 2147483647 h 5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5"/>
                <a:gd name="T178" fmla="*/ 0 h 549"/>
                <a:gd name="T179" fmla="*/ 395 w 395"/>
                <a:gd name="T180" fmla="*/ 549 h 5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4" name="Freeform 24">
              <a:extLst>
                <a:ext uri="{FF2B5EF4-FFF2-40B4-BE49-F238E27FC236}">
                  <a16:creationId xmlns:a16="http://schemas.microsoft.com/office/drawing/2014/main" id="{0FD60FB6-974F-D147-8E44-E9C5791C3165}"/>
                </a:ext>
              </a:extLst>
            </p:cNvPr>
            <p:cNvSpPr>
              <a:spLocks noEditPoints="1"/>
            </p:cNvSpPr>
            <p:nvPr>
              <p:custDataLst>
                <p:tags r:id="rId7"/>
              </p:custDataLst>
            </p:nvPr>
          </p:nvSpPr>
          <p:spPr bwMode="auto">
            <a:xfrm>
              <a:off x="5650114" y="2794196"/>
              <a:ext cx="320484" cy="310469"/>
            </a:xfrm>
            <a:custGeom>
              <a:avLst/>
              <a:gdLst>
                <a:gd name="T0" fmla="*/ 2147483647 w 523"/>
                <a:gd name="T1" fmla="*/ 2147483647 h 554"/>
                <a:gd name="T2" fmla="*/ 2147483647 w 523"/>
                <a:gd name="T3" fmla="*/ 2147483647 h 554"/>
                <a:gd name="T4" fmla="*/ 2147483647 w 523"/>
                <a:gd name="T5" fmla="*/ 2147483647 h 554"/>
                <a:gd name="T6" fmla="*/ 2147483647 w 523"/>
                <a:gd name="T7" fmla="*/ 2147483647 h 554"/>
                <a:gd name="T8" fmla="*/ 2147483647 w 523"/>
                <a:gd name="T9" fmla="*/ 2147483647 h 554"/>
                <a:gd name="T10" fmla="*/ 2147483647 w 523"/>
                <a:gd name="T11" fmla="*/ 2147483647 h 554"/>
                <a:gd name="T12" fmla="*/ 2147483647 w 523"/>
                <a:gd name="T13" fmla="*/ 2147483647 h 554"/>
                <a:gd name="T14" fmla="*/ 2147483647 w 523"/>
                <a:gd name="T15" fmla="*/ 2147483647 h 554"/>
                <a:gd name="T16" fmla="*/ 2147483647 w 523"/>
                <a:gd name="T17" fmla="*/ 2147483647 h 554"/>
                <a:gd name="T18" fmla="*/ 2147483647 w 523"/>
                <a:gd name="T19" fmla="*/ 2147483647 h 554"/>
                <a:gd name="T20" fmla="*/ 2147483647 w 523"/>
                <a:gd name="T21" fmla="*/ 2147483647 h 554"/>
                <a:gd name="T22" fmla="*/ 2147483647 w 523"/>
                <a:gd name="T23" fmla="*/ 2147483647 h 554"/>
                <a:gd name="T24" fmla="*/ 2147483647 w 523"/>
                <a:gd name="T25" fmla="*/ 2147483647 h 554"/>
                <a:gd name="T26" fmla="*/ 2147483647 w 523"/>
                <a:gd name="T27" fmla="*/ 2147483647 h 554"/>
                <a:gd name="T28" fmla="*/ 2147483647 w 523"/>
                <a:gd name="T29" fmla="*/ 2147483647 h 554"/>
                <a:gd name="T30" fmla="*/ 2147483647 w 523"/>
                <a:gd name="T31" fmla="*/ 2147483647 h 554"/>
                <a:gd name="T32" fmla="*/ 2147483647 w 523"/>
                <a:gd name="T33" fmla="*/ 2147483647 h 554"/>
                <a:gd name="T34" fmla="*/ 2147483647 w 523"/>
                <a:gd name="T35" fmla="*/ 2147483647 h 554"/>
                <a:gd name="T36" fmla="*/ 2147483647 w 523"/>
                <a:gd name="T37" fmla="*/ 2147483647 h 554"/>
                <a:gd name="T38" fmla="*/ 2147483647 w 523"/>
                <a:gd name="T39" fmla="*/ 2147483647 h 554"/>
                <a:gd name="T40" fmla="*/ 2147483647 w 523"/>
                <a:gd name="T41" fmla="*/ 2147483647 h 554"/>
                <a:gd name="T42" fmla="*/ 2147483647 w 523"/>
                <a:gd name="T43" fmla="*/ 2147483647 h 554"/>
                <a:gd name="T44" fmla="*/ 2147483647 w 523"/>
                <a:gd name="T45" fmla="*/ 2147483647 h 554"/>
                <a:gd name="T46" fmla="*/ 2147483647 w 523"/>
                <a:gd name="T47" fmla="*/ 2147483647 h 554"/>
                <a:gd name="T48" fmla="*/ 2147483647 w 523"/>
                <a:gd name="T49" fmla="*/ 2147483647 h 554"/>
                <a:gd name="T50" fmla="*/ 2147483647 w 523"/>
                <a:gd name="T51" fmla="*/ 2147483647 h 554"/>
                <a:gd name="T52" fmla="*/ 2147483647 w 523"/>
                <a:gd name="T53" fmla="*/ 2147483647 h 554"/>
                <a:gd name="T54" fmla="*/ 2147483647 w 523"/>
                <a:gd name="T55" fmla="*/ 2147483647 h 554"/>
                <a:gd name="T56" fmla="*/ 2147483647 w 523"/>
                <a:gd name="T57" fmla="*/ 2147483647 h 554"/>
                <a:gd name="T58" fmla="*/ 2147483647 w 523"/>
                <a:gd name="T59" fmla="*/ 2147483647 h 554"/>
                <a:gd name="T60" fmla="*/ 2147483647 w 523"/>
                <a:gd name="T61" fmla="*/ 2147483647 h 554"/>
                <a:gd name="T62" fmla="*/ 2147483647 w 523"/>
                <a:gd name="T63" fmla="*/ 2147483647 h 554"/>
                <a:gd name="T64" fmla="*/ 2147483647 w 523"/>
                <a:gd name="T65" fmla="*/ 2147483647 h 554"/>
                <a:gd name="T66" fmla="*/ 2147483647 w 523"/>
                <a:gd name="T67" fmla="*/ 2147483647 h 554"/>
                <a:gd name="T68" fmla="*/ 2147483647 w 523"/>
                <a:gd name="T69" fmla="*/ 2147483647 h 554"/>
                <a:gd name="T70" fmla="*/ 2147483647 w 523"/>
                <a:gd name="T71" fmla="*/ 2147483647 h 554"/>
                <a:gd name="T72" fmla="*/ 2147483647 w 523"/>
                <a:gd name="T73" fmla="*/ 2147483647 h 554"/>
                <a:gd name="T74" fmla="*/ 2147483647 w 523"/>
                <a:gd name="T75" fmla="*/ 2147483647 h 554"/>
                <a:gd name="T76" fmla="*/ 2147483647 w 523"/>
                <a:gd name="T77" fmla="*/ 2147483647 h 554"/>
                <a:gd name="T78" fmla="*/ 2147483647 w 523"/>
                <a:gd name="T79" fmla="*/ 2147483647 h 554"/>
                <a:gd name="T80" fmla="*/ 2147483647 w 523"/>
                <a:gd name="T81" fmla="*/ 2147483647 h 554"/>
                <a:gd name="T82" fmla="*/ 2147483647 w 523"/>
                <a:gd name="T83" fmla="*/ 2147483647 h 554"/>
                <a:gd name="T84" fmla="*/ 2147483647 w 523"/>
                <a:gd name="T85" fmla="*/ 2147483647 h 554"/>
                <a:gd name="T86" fmla="*/ 2147483647 w 523"/>
                <a:gd name="T87" fmla="*/ 2147483647 h 5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23"/>
                <a:gd name="T133" fmla="*/ 0 h 554"/>
                <a:gd name="T134" fmla="*/ 523 w 523"/>
                <a:gd name="T135" fmla="*/ 554 h 55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5" name="Freeform 25">
              <a:extLst>
                <a:ext uri="{FF2B5EF4-FFF2-40B4-BE49-F238E27FC236}">
                  <a16:creationId xmlns:a16="http://schemas.microsoft.com/office/drawing/2014/main" id="{5D471AF5-3836-B648-AB3E-005C549A24EC}"/>
                </a:ext>
              </a:extLst>
            </p:cNvPr>
            <p:cNvSpPr>
              <a:spLocks/>
            </p:cNvSpPr>
            <p:nvPr>
              <p:custDataLst>
                <p:tags r:id="rId8"/>
              </p:custDataLst>
            </p:nvPr>
          </p:nvSpPr>
          <p:spPr bwMode="auto">
            <a:xfrm>
              <a:off x="6052389" y="2642299"/>
              <a:ext cx="465705" cy="233687"/>
            </a:xfrm>
            <a:custGeom>
              <a:avLst/>
              <a:gdLst>
                <a:gd name="T0" fmla="*/ 2147483647 w 750"/>
                <a:gd name="T1" fmla="*/ 2147483647 h 415"/>
                <a:gd name="T2" fmla="*/ 2147483647 w 750"/>
                <a:gd name="T3" fmla="*/ 2147483647 h 415"/>
                <a:gd name="T4" fmla="*/ 2147483647 w 750"/>
                <a:gd name="T5" fmla="*/ 2147483647 h 415"/>
                <a:gd name="T6" fmla="*/ 2147483647 w 750"/>
                <a:gd name="T7" fmla="*/ 2147483647 h 415"/>
                <a:gd name="T8" fmla="*/ 2147483647 w 750"/>
                <a:gd name="T9" fmla="*/ 2147483647 h 415"/>
                <a:gd name="T10" fmla="*/ 2147483647 w 750"/>
                <a:gd name="T11" fmla="*/ 2147483647 h 415"/>
                <a:gd name="T12" fmla="*/ 2147483647 w 750"/>
                <a:gd name="T13" fmla="*/ 2147483647 h 415"/>
                <a:gd name="T14" fmla="*/ 2147483647 w 750"/>
                <a:gd name="T15" fmla="*/ 2147483647 h 415"/>
                <a:gd name="T16" fmla="*/ 2147483647 w 750"/>
                <a:gd name="T17" fmla="*/ 2147483647 h 415"/>
                <a:gd name="T18" fmla="*/ 2147483647 w 750"/>
                <a:gd name="T19" fmla="*/ 2147483647 h 415"/>
                <a:gd name="T20" fmla="*/ 2147483647 w 750"/>
                <a:gd name="T21" fmla="*/ 2147483647 h 415"/>
                <a:gd name="T22" fmla="*/ 2147483647 w 750"/>
                <a:gd name="T23" fmla="*/ 2147483647 h 415"/>
                <a:gd name="T24" fmla="*/ 2147483647 w 750"/>
                <a:gd name="T25" fmla="*/ 2147483647 h 415"/>
                <a:gd name="T26" fmla="*/ 2147483647 w 750"/>
                <a:gd name="T27" fmla="*/ 2147483647 h 415"/>
                <a:gd name="T28" fmla="*/ 2147483647 w 750"/>
                <a:gd name="T29" fmla="*/ 2147483647 h 415"/>
                <a:gd name="T30" fmla="*/ 2147483647 w 750"/>
                <a:gd name="T31" fmla="*/ 2147483647 h 415"/>
                <a:gd name="T32" fmla="*/ 2147483647 w 750"/>
                <a:gd name="T33" fmla="*/ 2147483647 h 415"/>
                <a:gd name="T34" fmla="*/ 2147483647 w 750"/>
                <a:gd name="T35" fmla="*/ 2147483647 h 415"/>
                <a:gd name="T36" fmla="*/ 2147483647 w 750"/>
                <a:gd name="T37" fmla="*/ 2147483647 h 415"/>
                <a:gd name="T38" fmla="*/ 2147483647 w 750"/>
                <a:gd name="T39" fmla="*/ 2147483647 h 415"/>
                <a:gd name="T40" fmla="*/ 2147483647 w 750"/>
                <a:gd name="T41" fmla="*/ 2147483647 h 415"/>
                <a:gd name="T42" fmla="*/ 2147483647 w 750"/>
                <a:gd name="T43" fmla="*/ 2147483647 h 415"/>
                <a:gd name="T44" fmla="*/ 2147483647 w 750"/>
                <a:gd name="T45" fmla="*/ 2147483647 h 415"/>
                <a:gd name="T46" fmla="*/ 2147483647 w 750"/>
                <a:gd name="T47" fmla="*/ 2147483647 h 415"/>
                <a:gd name="T48" fmla="*/ 2147483647 w 750"/>
                <a:gd name="T49" fmla="*/ 2147483647 h 415"/>
                <a:gd name="T50" fmla="*/ 2147483647 w 750"/>
                <a:gd name="T51" fmla="*/ 2147483647 h 415"/>
                <a:gd name="T52" fmla="*/ 2147483647 w 750"/>
                <a:gd name="T53" fmla="*/ 2147483647 h 415"/>
                <a:gd name="T54" fmla="*/ 2147483647 w 750"/>
                <a:gd name="T55" fmla="*/ 2147483647 h 415"/>
                <a:gd name="T56" fmla="*/ 2147483647 w 750"/>
                <a:gd name="T57" fmla="*/ 2147483647 h 415"/>
                <a:gd name="T58" fmla="*/ 2147483647 w 750"/>
                <a:gd name="T59" fmla="*/ 2147483647 h 415"/>
                <a:gd name="T60" fmla="*/ 2147483647 w 750"/>
                <a:gd name="T61" fmla="*/ 2147483647 h 415"/>
                <a:gd name="T62" fmla="*/ 2147483647 w 750"/>
                <a:gd name="T63" fmla="*/ 2147483647 h 415"/>
                <a:gd name="T64" fmla="*/ 2147483647 w 750"/>
                <a:gd name="T65" fmla="*/ 2147483647 h 415"/>
                <a:gd name="T66" fmla="*/ 2147483647 w 750"/>
                <a:gd name="T67" fmla="*/ 2147483647 h 415"/>
                <a:gd name="T68" fmla="*/ 2147483647 w 750"/>
                <a:gd name="T69" fmla="*/ 2147483647 h 415"/>
                <a:gd name="T70" fmla="*/ 2147483647 w 750"/>
                <a:gd name="T71" fmla="*/ 2147483647 h 415"/>
                <a:gd name="T72" fmla="*/ 2147483647 w 750"/>
                <a:gd name="T73" fmla="*/ 2147483647 h 415"/>
                <a:gd name="T74" fmla="*/ 2147483647 w 750"/>
                <a:gd name="T75" fmla="*/ 2147483647 h 415"/>
                <a:gd name="T76" fmla="*/ 2147483647 w 750"/>
                <a:gd name="T77" fmla="*/ 2147483647 h 415"/>
                <a:gd name="T78" fmla="*/ 2147483647 w 750"/>
                <a:gd name="T79" fmla="*/ 2147483647 h 415"/>
                <a:gd name="T80" fmla="*/ 2147483647 w 750"/>
                <a:gd name="T81" fmla="*/ 2147483647 h 415"/>
                <a:gd name="T82" fmla="*/ 2147483647 w 750"/>
                <a:gd name="T83" fmla="*/ 2147483647 h 415"/>
                <a:gd name="T84" fmla="*/ 2147483647 w 750"/>
                <a:gd name="T85" fmla="*/ 2147483647 h 415"/>
                <a:gd name="T86" fmla="*/ 2147483647 w 750"/>
                <a:gd name="T87" fmla="*/ 2147483647 h 415"/>
                <a:gd name="T88" fmla="*/ 2147483647 w 750"/>
                <a:gd name="T89" fmla="*/ 2147483647 h 415"/>
                <a:gd name="T90" fmla="*/ 2147483647 w 750"/>
                <a:gd name="T91" fmla="*/ 2147483647 h 415"/>
                <a:gd name="T92" fmla="*/ 2147483647 w 750"/>
                <a:gd name="T93" fmla="*/ 2147483647 h 415"/>
                <a:gd name="T94" fmla="*/ 2147483647 w 750"/>
                <a:gd name="T95" fmla="*/ 2147483647 h 415"/>
                <a:gd name="T96" fmla="*/ 2147483647 w 750"/>
                <a:gd name="T97" fmla="*/ 2147483647 h 415"/>
                <a:gd name="T98" fmla="*/ 2147483647 w 750"/>
                <a:gd name="T99" fmla="*/ 2147483647 h 415"/>
                <a:gd name="T100" fmla="*/ 2147483647 w 750"/>
                <a:gd name="T101" fmla="*/ 2147483647 h 41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50"/>
                <a:gd name="T154" fmla="*/ 0 h 415"/>
                <a:gd name="T155" fmla="*/ 750 w 750"/>
                <a:gd name="T156" fmla="*/ 415 h 41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6" name="Freeform 26">
              <a:extLst>
                <a:ext uri="{FF2B5EF4-FFF2-40B4-BE49-F238E27FC236}">
                  <a16:creationId xmlns:a16="http://schemas.microsoft.com/office/drawing/2014/main" id="{A9B7AE3D-BA99-2241-B755-3FE7168D4AD2}"/>
                </a:ext>
              </a:extLst>
            </p:cNvPr>
            <p:cNvSpPr>
              <a:spLocks/>
            </p:cNvSpPr>
            <p:nvPr>
              <p:custDataLst>
                <p:tags r:id="rId9"/>
              </p:custDataLst>
            </p:nvPr>
          </p:nvSpPr>
          <p:spPr bwMode="auto">
            <a:xfrm>
              <a:off x="6678335" y="4580230"/>
              <a:ext cx="253717" cy="417298"/>
            </a:xfrm>
            <a:custGeom>
              <a:avLst/>
              <a:gdLst>
                <a:gd name="T0" fmla="*/ 2147483647 w 409"/>
                <a:gd name="T1" fmla="*/ 2147483647 h 746"/>
                <a:gd name="T2" fmla="*/ 2147483647 w 409"/>
                <a:gd name="T3" fmla="*/ 2147483647 h 746"/>
                <a:gd name="T4" fmla="*/ 2147483647 w 409"/>
                <a:gd name="T5" fmla="*/ 2147483647 h 746"/>
                <a:gd name="T6" fmla="*/ 2147483647 w 409"/>
                <a:gd name="T7" fmla="*/ 2147483647 h 746"/>
                <a:gd name="T8" fmla="*/ 2147483647 w 409"/>
                <a:gd name="T9" fmla="*/ 2147483647 h 746"/>
                <a:gd name="T10" fmla="*/ 2147483647 w 409"/>
                <a:gd name="T11" fmla="*/ 2147483647 h 746"/>
                <a:gd name="T12" fmla="*/ 2147483647 w 409"/>
                <a:gd name="T13" fmla="*/ 2147483647 h 746"/>
                <a:gd name="T14" fmla="*/ 2147483647 w 409"/>
                <a:gd name="T15" fmla="*/ 2147483647 h 746"/>
                <a:gd name="T16" fmla="*/ 2147483647 w 409"/>
                <a:gd name="T17" fmla="*/ 2147483647 h 746"/>
                <a:gd name="T18" fmla="*/ 2147483647 w 409"/>
                <a:gd name="T19" fmla="*/ 2147483647 h 746"/>
                <a:gd name="T20" fmla="*/ 2147483647 w 409"/>
                <a:gd name="T21" fmla="*/ 2147483647 h 746"/>
                <a:gd name="T22" fmla="*/ 2147483647 w 409"/>
                <a:gd name="T23" fmla="*/ 2147483647 h 746"/>
                <a:gd name="T24" fmla="*/ 2147483647 w 409"/>
                <a:gd name="T25" fmla="*/ 2147483647 h 746"/>
                <a:gd name="T26" fmla="*/ 2147483647 w 409"/>
                <a:gd name="T27" fmla="*/ 2147483647 h 746"/>
                <a:gd name="T28" fmla="*/ 2147483647 w 409"/>
                <a:gd name="T29" fmla="*/ 2147483647 h 746"/>
                <a:gd name="T30" fmla="*/ 2147483647 w 409"/>
                <a:gd name="T31" fmla="*/ 2147483647 h 746"/>
                <a:gd name="T32" fmla="*/ 2147483647 w 409"/>
                <a:gd name="T33" fmla="*/ 2147483647 h 746"/>
                <a:gd name="T34" fmla="*/ 2147483647 w 409"/>
                <a:gd name="T35" fmla="*/ 2147483647 h 746"/>
                <a:gd name="T36" fmla="*/ 2147483647 w 409"/>
                <a:gd name="T37" fmla="*/ 2147483647 h 746"/>
                <a:gd name="T38" fmla="*/ 2147483647 w 409"/>
                <a:gd name="T39" fmla="*/ 0 h 746"/>
                <a:gd name="T40" fmla="*/ 2147483647 w 409"/>
                <a:gd name="T41" fmla="*/ 2147483647 h 746"/>
                <a:gd name="T42" fmla="*/ 2147483647 w 409"/>
                <a:gd name="T43" fmla="*/ 2147483647 h 746"/>
                <a:gd name="T44" fmla="*/ 2147483647 w 409"/>
                <a:gd name="T45" fmla="*/ 2147483647 h 746"/>
                <a:gd name="T46" fmla="*/ 2147483647 w 409"/>
                <a:gd name="T47" fmla="*/ 2147483647 h 746"/>
                <a:gd name="T48" fmla="*/ 2147483647 w 409"/>
                <a:gd name="T49" fmla="*/ 2147483647 h 746"/>
                <a:gd name="T50" fmla="*/ 2147483647 w 409"/>
                <a:gd name="T51" fmla="*/ 2147483647 h 746"/>
                <a:gd name="T52" fmla="*/ 2147483647 w 409"/>
                <a:gd name="T53" fmla="*/ 2147483647 h 746"/>
                <a:gd name="T54" fmla="*/ 2147483647 w 409"/>
                <a:gd name="T55" fmla="*/ 2147483647 h 746"/>
                <a:gd name="T56" fmla="*/ 2147483647 w 409"/>
                <a:gd name="T57" fmla="*/ 2147483647 h 746"/>
                <a:gd name="T58" fmla="*/ 2147483647 w 409"/>
                <a:gd name="T59" fmla="*/ 2147483647 h 746"/>
                <a:gd name="T60" fmla="*/ 2147483647 w 409"/>
                <a:gd name="T61" fmla="*/ 2147483647 h 746"/>
                <a:gd name="T62" fmla="*/ 2147483647 w 409"/>
                <a:gd name="T63" fmla="*/ 2147483647 h 746"/>
                <a:gd name="T64" fmla="*/ 2147483647 w 409"/>
                <a:gd name="T65" fmla="*/ 2147483647 h 746"/>
                <a:gd name="T66" fmla="*/ 2147483647 w 409"/>
                <a:gd name="T67" fmla="*/ 2147483647 h 746"/>
                <a:gd name="T68" fmla="*/ 2147483647 w 409"/>
                <a:gd name="T69" fmla="*/ 2147483647 h 746"/>
                <a:gd name="T70" fmla="*/ 2147483647 w 409"/>
                <a:gd name="T71" fmla="*/ 2147483647 h 746"/>
                <a:gd name="T72" fmla="*/ 2147483647 w 409"/>
                <a:gd name="T73" fmla="*/ 2147483647 h 746"/>
                <a:gd name="T74" fmla="*/ 2147483647 w 409"/>
                <a:gd name="T75" fmla="*/ 2147483647 h 746"/>
                <a:gd name="T76" fmla="*/ 2147483647 w 409"/>
                <a:gd name="T77" fmla="*/ 2147483647 h 746"/>
                <a:gd name="T78" fmla="*/ 2147483647 w 409"/>
                <a:gd name="T79" fmla="*/ 2147483647 h 746"/>
                <a:gd name="T80" fmla="*/ 2147483647 w 409"/>
                <a:gd name="T81" fmla="*/ 2147483647 h 746"/>
                <a:gd name="T82" fmla="*/ 2147483647 w 409"/>
                <a:gd name="T83" fmla="*/ 2147483647 h 746"/>
                <a:gd name="T84" fmla="*/ 2147483647 w 409"/>
                <a:gd name="T85" fmla="*/ 2147483647 h 746"/>
                <a:gd name="T86" fmla="*/ 2147483647 w 409"/>
                <a:gd name="T87" fmla="*/ 2147483647 h 746"/>
                <a:gd name="T88" fmla="*/ 2147483647 w 409"/>
                <a:gd name="T89" fmla="*/ 2147483647 h 7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09"/>
                <a:gd name="T136" fmla="*/ 0 h 746"/>
                <a:gd name="T137" fmla="*/ 409 w 409"/>
                <a:gd name="T138" fmla="*/ 746 h 7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7" name="Freeform 16">
              <a:extLst>
                <a:ext uri="{FF2B5EF4-FFF2-40B4-BE49-F238E27FC236}">
                  <a16:creationId xmlns:a16="http://schemas.microsoft.com/office/drawing/2014/main" id="{3E593471-D541-6F46-ADA9-8A9471E83747}"/>
                </a:ext>
              </a:extLst>
            </p:cNvPr>
            <p:cNvSpPr>
              <a:spLocks/>
            </p:cNvSpPr>
            <p:nvPr>
              <p:custDataLst>
                <p:tags r:id="rId10"/>
              </p:custDataLst>
            </p:nvPr>
          </p:nvSpPr>
          <p:spPr bwMode="auto">
            <a:xfrm>
              <a:off x="3940861" y="2665667"/>
              <a:ext cx="178603" cy="145219"/>
            </a:xfrm>
            <a:custGeom>
              <a:avLst/>
              <a:gdLst>
                <a:gd name="T0" fmla="*/ 2147483647 w 291"/>
                <a:gd name="T1" fmla="*/ 2147483647 h 260"/>
                <a:gd name="T2" fmla="*/ 2147483647 w 291"/>
                <a:gd name="T3" fmla="*/ 2147483647 h 260"/>
                <a:gd name="T4" fmla="*/ 2147483647 w 291"/>
                <a:gd name="T5" fmla="*/ 2147483647 h 260"/>
                <a:gd name="T6" fmla="*/ 2147483647 w 291"/>
                <a:gd name="T7" fmla="*/ 2147483647 h 260"/>
                <a:gd name="T8" fmla="*/ 2147483647 w 291"/>
                <a:gd name="T9" fmla="*/ 2147483647 h 260"/>
                <a:gd name="T10" fmla="*/ 2147483647 w 291"/>
                <a:gd name="T11" fmla="*/ 2147483647 h 260"/>
                <a:gd name="T12" fmla="*/ 2147483647 w 291"/>
                <a:gd name="T13" fmla="*/ 2147483647 h 260"/>
                <a:gd name="T14" fmla="*/ 2147483647 w 291"/>
                <a:gd name="T15" fmla="*/ 2147483647 h 260"/>
                <a:gd name="T16" fmla="*/ 2147483647 w 291"/>
                <a:gd name="T17" fmla="*/ 2147483647 h 260"/>
                <a:gd name="T18" fmla="*/ 2147483647 w 291"/>
                <a:gd name="T19" fmla="*/ 2147483647 h 260"/>
                <a:gd name="T20" fmla="*/ 2147483647 w 291"/>
                <a:gd name="T21" fmla="*/ 2147483647 h 260"/>
                <a:gd name="T22" fmla="*/ 2147483647 w 291"/>
                <a:gd name="T23" fmla="*/ 2147483647 h 260"/>
                <a:gd name="T24" fmla="*/ 2147483647 w 291"/>
                <a:gd name="T25" fmla="*/ 2147483647 h 260"/>
                <a:gd name="T26" fmla="*/ 2147483647 w 291"/>
                <a:gd name="T27" fmla="*/ 2147483647 h 260"/>
                <a:gd name="T28" fmla="*/ 2147483647 w 291"/>
                <a:gd name="T29" fmla="*/ 2147483647 h 260"/>
                <a:gd name="T30" fmla="*/ 2147483647 w 291"/>
                <a:gd name="T31" fmla="*/ 2147483647 h 260"/>
                <a:gd name="T32" fmla="*/ 2147483647 w 291"/>
                <a:gd name="T33" fmla="*/ 2147483647 h 260"/>
                <a:gd name="T34" fmla="*/ 2147483647 w 291"/>
                <a:gd name="T35" fmla="*/ 2147483647 h 260"/>
                <a:gd name="T36" fmla="*/ 2147483647 w 291"/>
                <a:gd name="T37" fmla="*/ 2147483647 h 260"/>
                <a:gd name="T38" fmla="*/ 2147483647 w 291"/>
                <a:gd name="T39" fmla="*/ 2147483647 h 260"/>
                <a:gd name="T40" fmla="*/ 2147483647 w 291"/>
                <a:gd name="T41" fmla="*/ 2147483647 h 260"/>
                <a:gd name="T42" fmla="*/ 2147483647 w 291"/>
                <a:gd name="T43" fmla="*/ 2147483647 h 260"/>
                <a:gd name="T44" fmla="*/ 2147483647 w 291"/>
                <a:gd name="T45" fmla="*/ 2147483647 h 260"/>
                <a:gd name="T46" fmla="*/ 2147483647 w 291"/>
                <a:gd name="T47" fmla="*/ 2147483647 h 260"/>
                <a:gd name="T48" fmla="*/ 2147483647 w 291"/>
                <a:gd name="T49" fmla="*/ 2147483647 h 260"/>
                <a:gd name="T50" fmla="*/ 2147483647 w 291"/>
                <a:gd name="T51" fmla="*/ 2147483647 h 260"/>
                <a:gd name="T52" fmla="*/ 2147483647 w 291"/>
                <a:gd name="T53" fmla="*/ 2147483647 h 260"/>
                <a:gd name="T54" fmla="*/ 2147483647 w 291"/>
                <a:gd name="T55" fmla="*/ 2147483647 h 260"/>
                <a:gd name="T56" fmla="*/ 2147483647 w 291"/>
                <a:gd name="T57" fmla="*/ 2147483647 h 260"/>
                <a:gd name="T58" fmla="*/ 2147483647 w 291"/>
                <a:gd name="T59" fmla="*/ 2147483647 h 260"/>
                <a:gd name="T60" fmla="*/ 2147483647 w 291"/>
                <a:gd name="T61" fmla="*/ 2147483647 h 260"/>
                <a:gd name="T62" fmla="*/ 2147483647 w 291"/>
                <a:gd name="T63" fmla="*/ 2147483647 h 260"/>
                <a:gd name="T64" fmla="*/ 2147483647 w 291"/>
                <a:gd name="T65" fmla="*/ 2147483647 h 260"/>
                <a:gd name="T66" fmla="*/ 2147483647 w 291"/>
                <a:gd name="T67" fmla="*/ 2147483647 h 260"/>
                <a:gd name="T68" fmla="*/ 2147483647 w 291"/>
                <a:gd name="T69" fmla="*/ 2147483647 h 260"/>
                <a:gd name="T70" fmla="*/ 2147483647 w 291"/>
                <a:gd name="T71" fmla="*/ 2147483647 h 260"/>
                <a:gd name="T72" fmla="*/ 2147483647 w 291"/>
                <a:gd name="T73" fmla="*/ 2147483647 h 260"/>
                <a:gd name="T74" fmla="*/ 2147483647 w 291"/>
                <a:gd name="T75" fmla="*/ 2147483647 h 260"/>
                <a:gd name="T76" fmla="*/ 2147483647 w 291"/>
                <a:gd name="T77" fmla="*/ 2147483647 h 260"/>
                <a:gd name="T78" fmla="*/ 2147483647 w 291"/>
                <a:gd name="T79" fmla="*/ 2147483647 h 260"/>
                <a:gd name="T80" fmla="*/ 2147483647 w 291"/>
                <a:gd name="T81" fmla="*/ 2147483647 h 260"/>
                <a:gd name="T82" fmla="*/ 2147483647 w 291"/>
                <a:gd name="T83" fmla="*/ 2147483647 h 260"/>
                <a:gd name="T84" fmla="*/ 2147483647 w 291"/>
                <a:gd name="T85" fmla="*/ 2147483647 h 2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1"/>
                <a:gd name="T130" fmla="*/ 0 h 260"/>
                <a:gd name="T131" fmla="*/ 291 w 291"/>
                <a:gd name="T132" fmla="*/ 260 h 2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8" name="Freeform 44">
              <a:extLst>
                <a:ext uri="{FF2B5EF4-FFF2-40B4-BE49-F238E27FC236}">
                  <a16:creationId xmlns:a16="http://schemas.microsoft.com/office/drawing/2014/main" id="{66736A32-60A9-1C40-8B3B-F8BD08C8F582}"/>
                </a:ext>
              </a:extLst>
            </p:cNvPr>
            <p:cNvSpPr>
              <a:spLocks/>
            </p:cNvSpPr>
            <p:nvPr>
              <p:custDataLst>
                <p:tags r:id="rId11"/>
              </p:custDataLst>
            </p:nvPr>
          </p:nvSpPr>
          <p:spPr bwMode="auto">
            <a:xfrm>
              <a:off x="7780002" y="3915891"/>
              <a:ext cx="81791" cy="126859"/>
            </a:xfrm>
            <a:custGeom>
              <a:avLst/>
              <a:gdLst>
                <a:gd name="T0" fmla="*/ 2147483647 w 136"/>
                <a:gd name="T1" fmla="*/ 2147483647 h 228"/>
                <a:gd name="T2" fmla="*/ 2147483647 w 136"/>
                <a:gd name="T3" fmla="*/ 2147483647 h 228"/>
                <a:gd name="T4" fmla="*/ 2147483647 w 136"/>
                <a:gd name="T5" fmla="*/ 2147483647 h 228"/>
                <a:gd name="T6" fmla="*/ 2147483647 w 136"/>
                <a:gd name="T7" fmla="*/ 2147483647 h 228"/>
                <a:gd name="T8" fmla="*/ 2147483647 w 136"/>
                <a:gd name="T9" fmla="*/ 2147483647 h 228"/>
                <a:gd name="T10" fmla="*/ 2147483647 w 136"/>
                <a:gd name="T11" fmla="*/ 2147483647 h 228"/>
                <a:gd name="T12" fmla="*/ 2147483647 w 136"/>
                <a:gd name="T13" fmla="*/ 2147483647 h 228"/>
                <a:gd name="T14" fmla="*/ 2147483647 w 136"/>
                <a:gd name="T15" fmla="*/ 2147483647 h 228"/>
                <a:gd name="T16" fmla="*/ 2147483647 w 136"/>
                <a:gd name="T17" fmla="*/ 2147483647 h 228"/>
                <a:gd name="T18" fmla="*/ 2147483647 w 136"/>
                <a:gd name="T19" fmla="*/ 2147483647 h 228"/>
                <a:gd name="T20" fmla="*/ 2147483647 w 136"/>
                <a:gd name="T21" fmla="*/ 2147483647 h 228"/>
                <a:gd name="T22" fmla="*/ 2147483647 w 136"/>
                <a:gd name="T23" fmla="*/ 2147483647 h 228"/>
                <a:gd name="T24" fmla="*/ 2147483647 w 136"/>
                <a:gd name="T25" fmla="*/ 2147483647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6"/>
                <a:gd name="T40" fmla="*/ 0 h 228"/>
                <a:gd name="T41" fmla="*/ 136 w 136"/>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9" name="Freeform 45">
              <a:extLst>
                <a:ext uri="{FF2B5EF4-FFF2-40B4-BE49-F238E27FC236}">
                  <a16:creationId xmlns:a16="http://schemas.microsoft.com/office/drawing/2014/main" id="{74DBE2A7-0D3A-B149-9754-AE52C072BE8C}"/>
                </a:ext>
              </a:extLst>
            </p:cNvPr>
            <p:cNvSpPr>
              <a:spLocks noEditPoints="1"/>
            </p:cNvSpPr>
            <p:nvPr>
              <p:custDataLst>
                <p:tags r:id="rId12"/>
              </p:custDataLst>
            </p:nvPr>
          </p:nvSpPr>
          <p:spPr bwMode="auto">
            <a:xfrm>
              <a:off x="8873322" y="3647152"/>
              <a:ext cx="298786" cy="445675"/>
            </a:xfrm>
            <a:custGeom>
              <a:avLst/>
              <a:gdLst>
                <a:gd name="T0" fmla="*/ 2147483647 w 487"/>
                <a:gd name="T1" fmla="*/ 2147483647 h 801"/>
                <a:gd name="T2" fmla="*/ 2147483647 w 487"/>
                <a:gd name="T3" fmla="*/ 2147483647 h 801"/>
                <a:gd name="T4" fmla="*/ 2147483647 w 487"/>
                <a:gd name="T5" fmla="*/ 2147483647 h 801"/>
                <a:gd name="T6" fmla="*/ 2147483647 w 487"/>
                <a:gd name="T7" fmla="*/ 2147483647 h 801"/>
                <a:gd name="T8" fmla="*/ 2147483647 w 487"/>
                <a:gd name="T9" fmla="*/ 2147483647 h 801"/>
                <a:gd name="T10" fmla="*/ 2147483647 w 487"/>
                <a:gd name="T11" fmla="*/ 2147483647 h 801"/>
                <a:gd name="T12" fmla="*/ 2147483647 w 487"/>
                <a:gd name="T13" fmla="*/ 2147483647 h 801"/>
                <a:gd name="T14" fmla="*/ 2147483647 w 487"/>
                <a:gd name="T15" fmla="*/ 2147483647 h 801"/>
                <a:gd name="T16" fmla="*/ 2147483647 w 487"/>
                <a:gd name="T17" fmla="*/ 2147483647 h 801"/>
                <a:gd name="T18" fmla="*/ 2147483647 w 487"/>
                <a:gd name="T19" fmla="*/ 2147483647 h 801"/>
                <a:gd name="T20" fmla="*/ 2147483647 w 487"/>
                <a:gd name="T21" fmla="*/ 2147483647 h 801"/>
                <a:gd name="T22" fmla="*/ 2147483647 w 487"/>
                <a:gd name="T23" fmla="*/ 2147483647 h 801"/>
                <a:gd name="T24" fmla="*/ 2147483647 w 487"/>
                <a:gd name="T25" fmla="*/ 2147483647 h 801"/>
                <a:gd name="T26" fmla="*/ 2147483647 w 487"/>
                <a:gd name="T27" fmla="*/ 2147483647 h 801"/>
                <a:gd name="T28" fmla="*/ 2147483647 w 487"/>
                <a:gd name="T29" fmla="*/ 2147483647 h 801"/>
                <a:gd name="T30" fmla="*/ 2147483647 w 487"/>
                <a:gd name="T31" fmla="*/ 2147483647 h 801"/>
                <a:gd name="T32" fmla="*/ 2147483647 w 487"/>
                <a:gd name="T33" fmla="*/ 2147483647 h 801"/>
                <a:gd name="T34" fmla="*/ 2147483647 w 487"/>
                <a:gd name="T35" fmla="*/ 2147483647 h 801"/>
                <a:gd name="T36" fmla="*/ 2147483647 w 487"/>
                <a:gd name="T37" fmla="*/ 2147483647 h 801"/>
                <a:gd name="T38" fmla="*/ 2147483647 w 487"/>
                <a:gd name="T39" fmla="*/ 2147483647 h 801"/>
                <a:gd name="T40" fmla="*/ 2147483647 w 487"/>
                <a:gd name="T41" fmla="*/ 2147483647 h 801"/>
                <a:gd name="T42" fmla="*/ 2147483647 w 487"/>
                <a:gd name="T43" fmla="*/ 2147483647 h 801"/>
                <a:gd name="T44" fmla="*/ 2147483647 w 487"/>
                <a:gd name="T45" fmla="*/ 2147483647 h 801"/>
                <a:gd name="T46" fmla="*/ 2147483647 w 487"/>
                <a:gd name="T47" fmla="*/ 2147483647 h 801"/>
                <a:gd name="T48" fmla="*/ 2147483647 w 487"/>
                <a:gd name="T49" fmla="*/ 2147483647 h 801"/>
                <a:gd name="T50" fmla="*/ 2147483647 w 487"/>
                <a:gd name="T51" fmla="*/ 2147483647 h 801"/>
                <a:gd name="T52" fmla="*/ 2147483647 w 487"/>
                <a:gd name="T53" fmla="*/ 2147483647 h 801"/>
                <a:gd name="T54" fmla="*/ 2147483647 w 487"/>
                <a:gd name="T55" fmla="*/ 2147483647 h 801"/>
                <a:gd name="T56" fmla="*/ 2147483647 w 487"/>
                <a:gd name="T57" fmla="*/ 2147483647 h 801"/>
                <a:gd name="T58" fmla="*/ 2147483647 w 487"/>
                <a:gd name="T59" fmla="*/ 2147483647 h 801"/>
                <a:gd name="T60" fmla="*/ 2147483647 w 487"/>
                <a:gd name="T61" fmla="*/ 2147483647 h 801"/>
                <a:gd name="T62" fmla="*/ 2147483647 w 487"/>
                <a:gd name="T63" fmla="*/ 2147483647 h 801"/>
                <a:gd name="T64" fmla="*/ 2147483647 w 487"/>
                <a:gd name="T65" fmla="*/ 2147483647 h 801"/>
                <a:gd name="T66" fmla="*/ 2147483647 w 487"/>
                <a:gd name="T67" fmla="*/ 2147483647 h 801"/>
                <a:gd name="T68" fmla="*/ 2147483647 w 487"/>
                <a:gd name="T69" fmla="*/ 2147483647 h 801"/>
                <a:gd name="T70" fmla="*/ 2147483647 w 487"/>
                <a:gd name="T71" fmla="*/ 2147483647 h 801"/>
                <a:gd name="T72" fmla="*/ 2147483647 w 487"/>
                <a:gd name="T73" fmla="*/ 2147483647 h 801"/>
                <a:gd name="T74" fmla="*/ 2147483647 w 487"/>
                <a:gd name="T75" fmla="*/ 2147483647 h 801"/>
                <a:gd name="T76" fmla="*/ 2147483647 w 487"/>
                <a:gd name="T77" fmla="*/ 2147483647 h 801"/>
                <a:gd name="T78" fmla="*/ 2147483647 w 487"/>
                <a:gd name="T79" fmla="*/ 2147483647 h 801"/>
                <a:gd name="T80" fmla="*/ 2147483647 w 487"/>
                <a:gd name="T81" fmla="*/ 2147483647 h 801"/>
                <a:gd name="T82" fmla="*/ 2147483647 w 487"/>
                <a:gd name="T83" fmla="*/ 2147483647 h 801"/>
                <a:gd name="T84" fmla="*/ 2147483647 w 487"/>
                <a:gd name="T85" fmla="*/ 2147483647 h 801"/>
                <a:gd name="T86" fmla="*/ 2147483647 w 487"/>
                <a:gd name="T87" fmla="*/ 2147483647 h 801"/>
                <a:gd name="T88" fmla="*/ 2147483647 w 487"/>
                <a:gd name="T89" fmla="*/ 2147483647 h 801"/>
                <a:gd name="T90" fmla="*/ 2147483647 w 487"/>
                <a:gd name="T91" fmla="*/ 2147483647 h 801"/>
                <a:gd name="T92" fmla="*/ 2147483647 w 487"/>
                <a:gd name="T93" fmla="*/ 2147483647 h 801"/>
                <a:gd name="T94" fmla="*/ 2147483647 w 487"/>
                <a:gd name="T95" fmla="*/ 2147483647 h 801"/>
                <a:gd name="T96" fmla="*/ 2147483647 w 487"/>
                <a:gd name="T97" fmla="*/ 2147483647 h 801"/>
                <a:gd name="T98" fmla="*/ 2147483647 w 487"/>
                <a:gd name="T99" fmla="*/ 2147483647 h 801"/>
                <a:gd name="T100" fmla="*/ 2147483647 w 487"/>
                <a:gd name="T101" fmla="*/ 2147483647 h 801"/>
                <a:gd name="T102" fmla="*/ 2147483647 w 487"/>
                <a:gd name="T103" fmla="*/ 2147483647 h 8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7"/>
                <a:gd name="T157" fmla="*/ 0 h 801"/>
                <a:gd name="T158" fmla="*/ 487 w 487"/>
                <a:gd name="T159" fmla="*/ 801 h 8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20" name="Freeform 46">
              <a:extLst>
                <a:ext uri="{FF2B5EF4-FFF2-40B4-BE49-F238E27FC236}">
                  <a16:creationId xmlns:a16="http://schemas.microsoft.com/office/drawing/2014/main" id="{8143FB6C-6793-3B4B-824C-6D64D049A3CE}"/>
                </a:ext>
              </a:extLst>
            </p:cNvPr>
            <p:cNvSpPr>
              <a:spLocks/>
            </p:cNvSpPr>
            <p:nvPr>
              <p:custDataLst>
                <p:tags r:id="rId13"/>
              </p:custDataLst>
            </p:nvPr>
          </p:nvSpPr>
          <p:spPr bwMode="auto">
            <a:xfrm>
              <a:off x="8886676" y="3446848"/>
              <a:ext cx="53415" cy="101820"/>
            </a:xfrm>
            <a:custGeom>
              <a:avLst/>
              <a:gdLst>
                <a:gd name="T0" fmla="*/ 2147483647 w 85"/>
                <a:gd name="T1" fmla="*/ 2147483647 h 181"/>
                <a:gd name="T2" fmla="*/ 2147483647 w 85"/>
                <a:gd name="T3" fmla="*/ 2147483647 h 181"/>
                <a:gd name="T4" fmla="*/ 2147483647 w 85"/>
                <a:gd name="T5" fmla="*/ 2147483647 h 181"/>
                <a:gd name="T6" fmla="*/ 2147483647 w 85"/>
                <a:gd name="T7" fmla="*/ 2147483647 h 181"/>
                <a:gd name="T8" fmla="*/ 2147483647 w 85"/>
                <a:gd name="T9" fmla="*/ 2147483647 h 181"/>
                <a:gd name="T10" fmla="*/ 2147483647 w 85"/>
                <a:gd name="T11" fmla="*/ 2147483647 h 181"/>
                <a:gd name="T12" fmla="*/ 2147483647 w 85"/>
                <a:gd name="T13" fmla="*/ 0 h 181"/>
                <a:gd name="T14" fmla="*/ 2147483647 w 85"/>
                <a:gd name="T15" fmla="*/ 2147483647 h 181"/>
                <a:gd name="T16" fmla="*/ 2147483647 w 85"/>
                <a:gd name="T17" fmla="*/ 2147483647 h 181"/>
                <a:gd name="T18" fmla="*/ 2147483647 w 85"/>
                <a:gd name="T19" fmla="*/ 2147483647 h 181"/>
                <a:gd name="T20" fmla="*/ 2147483647 w 85"/>
                <a:gd name="T21" fmla="*/ 2147483647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
                <a:gd name="T34" fmla="*/ 0 h 181"/>
                <a:gd name="T35" fmla="*/ 85 w 85"/>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21" name="Freeform 47">
              <a:extLst>
                <a:ext uri="{FF2B5EF4-FFF2-40B4-BE49-F238E27FC236}">
                  <a16:creationId xmlns:a16="http://schemas.microsoft.com/office/drawing/2014/main" id="{5FE2FCB1-FFE3-6F45-A17C-0BD86702FBC8}"/>
                </a:ext>
              </a:extLst>
            </p:cNvPr>
            <p:cNvSpPr>
              <a:spLocks/>
            </p:cNvSpPr>
            <p:nvPr>
              <p:custDataLst>
                <p:tags r:id="rId14"/>
              </p:custDataLst>
            </p:nvPr>
          </p:nvSpPr>
          <p:spPr bwMode="auto">
            <a:xfrm>
              <a:off x="8377573" y="4009367"/>
              <a:ext cx="128527" cy="163581"/>
            </a:xfrm>
            <a:custGeom>
              <a:avLst/>
              <a:gdLst>
                <a:gd name="T0" fmla="*/ 2147483647 w 207"/>
                <a:gd name="T1" fmla="*/ 2147483647 h 293"/>
                <a:gd name="T2" fmla="*/ 2147483647 w 207"/>
                <a:gd name="T3" fmla="*/ 2147483647 h 293"/>
                <a:gd name="T4" fmla="*/ 2147483647 w 207"/>
                <a:gd name="T5" fmla="*/ 2147483647 h 293"/>
                <a:gd name="T6" fmla="*/ 2147483647 w 207"/>
                <a:gd name="T7" fmla="*/ 2147483647 h 293"/>
                <a:gd name="T8" fmla="*/ 2147483647 w 207"/>
                <a:gd name="T9" fmla="*/ 2147483647 h 293"/>
                <a:gd name="T10" fmla="*/ 2147483647 w 207"/>
                <a:gd name="T11" fmla="*/ 2147483647 h 293"/>
                <a:gd name="T12" fmla="*/ 2147483647 w 207"/>
                <a:gd name="T13" fmla="*/ 2147483647 h 293"/>
                <a:gd name="T14" fmla="*/ 2147483647 w 207"/>
                <a:gd name="T15" fmla="*/ 2147483647 h 293"/>
                <a:gd name="T16" fmla="*/ 2147483647 w 207"/>
                <a:gd name="T17" fmla="*/ 2147483647 h 293"/>
                <a:gd name="T18" fmla="*/ 2147483647 w 207"/>
                <a:gd name="T19" fmla="*/ 2147483647 h 293"/>
                <a:gd name="T20" fmla="*/ 2147483647 w 207"/>
                <a:gd name="T21" fmla="*/ 2147483647 h 293"/>
                <a:gd name="T22" fmla="*/ 2147483647 w 207"/>
                <a:gd name="T23" fmla="*/ 2147483647 h 293"/>
                <a:gd name="T24" fmla="*/ 2147483647 w 207"/>
                <a:gd name="T25" fmla="*/ 2147483647 h 293"/>
                <a:gd name="T26" fmla="*/ 2147483647 w 207"/>
                <a:gd name="T27" fmla="*/ 2147483647 h 293"/>
                <a:gd name="T28" fmla="*/ 2147483647 w 207"/>
                <a:gd name="T29" fmla="*/ 2147483647 h 293"/>
                <a:gd name="T30" fmla="*/ 2147483647 w 207"/>
                <a:gd name="T31" fmla="*/ 2147483647 h 293"/>
                <a:gd name="T32" fmla="*/ 2147483647 w 207"/>
                <a:gd name="T33" fmla="*/ 2147483647 h 293"/>
                <a:gd name="T34" fmla="*/ 2147483647 w 207"/>
                <a:gd name="T35" fmla="*/ 2147483647 h 293"/>
                <a:gd name="T36" fmla="*/ 2147483647 w 207"/>
                <a:gd name="T37" fmla="*/ 2147483647 h 293"/>
                <a:gd name="T38" fmla="*/ 2147483647 w 207"/>
                <a:gd name="T39" fmla="*/ 2147483647 h 293"/>
                <a:gd name="T40" fmla="*/ 2147483647 w 207"/>
                <a:gd name="T41" fmla="*/ 2147483647 h 293"/>
                <a:gd name="T42" fmla="*/ 2147483647 w 207"/>
                <a:gd name="T43" fmla="*/ 2147483647 h 293"/>
                <a:gd name="T44" fmla="*/ 2147483647 w 207"/>
                <a:gd name="T45" fmla="*/ 2147483647 h 293"/>
                <a:gd name="T46" fmla="*/ 2147483647 w 207"/>
                <a:gd name="T47" fmla="*/ 2147483647 h 293"/>
                <a:gd name="T48" fmla="*/ 2147483647 w 207"/>
                <a:gd name="T49" fmla="*/ 2147483647 h 293"/>
                <a:gd name="T50" fmla="*/ 2147483647 w 207"/>
                <a:gd name="T51" fmla="*/ 2147483647 h 293"/>
                <a:gd name="T52" fmla="*/ 2147483647 w 207"/>
                <a:gd name="T53" fmla="*/ 2147483647 h 293"/>
                <a:gd name="T54" fmla="*/ 0 w 207"/>
                <a:gd name="T55" fmla="*/ 2147483647 h 293"/>
                <a:gd name="T56" fmla="*/ 2147483647 w 207"/>
                <a:gd name="T57" fmla="*/ 2147483647 h 29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7"/>
                <a:gd name="T88" fmla="*/ 0 h 293"/>
                <a:gd name="T89" fmla="*/ 207 w 207"/>
                <a:gd name="T90" fmla="*/ 293 h 29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22" name="Freeform 48">
              <a:extLst>
                <a:ext uri="{FF2B5EF4-FFF2-40B4-BE49-F238E27FC236}">
                  <a16:creationId xmlns:a16="http://schemas.microsoft.com/office/drawing/2014/main" id="{3E01D951-334A-0A45-B81F-064524AFFFFD}"/>
                </a:ext>
              </a:extLst>
            </p:cNvPr>
            <p:cNvSpPr>
              <a:spLocks/>
            </p:cNvSpPr>
            <p:nvPr>
              <p:custDataLst>
                <p:tags r:id="rId15"/>
              </p:custDataLst>
            </p:nvPr>
          </p:nvSpPr>
          <p:spPr bwMode="auto">
            <a:xfrm>
              <a:off x="8434325" y="3774010"/>
              <a:ext cx="155235" cy="123520"/>
            </a:xfrm>
            <a:custGeom>
              <a:avLst/>
              <a:gdLst>
                <a:gd name="T0" fmla="*/ 2147483647 w 252"/>
                <a:gd name="T1" fmla="*/ 0 h 224"/>
                <a:gd name="T2" fmla="*/ 2147483647 w 252"/>
                <a:gd name="T3" fmla="*/ 2147483647 h 224"/>
                <a:gd name="T4" fmla="*/ 2147483647 w 252"/>
                <a:gd name="T5" fmla="*/ 0 h 224"/>
                <a:gd name="T6" fmla="*/ 2147483647 w 252"/>
                <a:gd name="T7" fmla="*/ 2147483647 h 224"/>
                <a:gd name="T8" fmla="*/ 2147483647 w 252"/>
                <a:gd name="T9" fmla="*/ 2147483647 h 224"/>
                <a:gd name="T10" fmla="*/ 2147483647 w 252"/>
                <a:gd name="T11" fmla="*/ 2147483647 h 224"/>
                <a:gd name="T12" fmla="*/ 2147483647 w 252"/>
                <a:gd name="T13" fmla="*/ 2147483647 h 224"/>
                <a:gd name="T14" fmla="*/ 2147483647 w 252"/>
                <a:gd name="T15" fmla="*/ 2147483647 h 224"/>
                <a:gd name="T16" fmla="*/ 2147483647 w 252"/>
                <a:gd name="T17" fmla="*/ 2147483647 h 224"/>
                <a:gd name="T18" fmla="*/ 2147483647 w 252"/>
                <a:gd name="T19" fmla="*/ 2147483647 h 224"/>
                <a:gd name="T20" fmla="*/ 2147483647 w 252"/>
                <a:gd name="T21" fmla="*/ 2147483647 h 224"/>
                <a:gd name="T22" fmla="*/ 2147483647 w 252"/>
                <a:gd name="T23" fmla="*/ 2147483647 h 224"/>
                <a:gd name="T24" fmla="*/ 2147483647 w 252"/>
                <a:gd name="T25" fmla="*/ 2147483647 h 224"/>
                <a:gd name="T26" fmla="*/ 2147483647 w 252"/>
                <a:gd name="T27" fmla="*/ 2147483647 h 224"/>
                <a:gd name="T28" fmla="*/ 0 w 252"/>
                <a:gd name="T29" fmla="*/ 2147483647 h 224"/>
                <a:gd name="T30" fmla="*/ 2147483647 w 252"/>
                <a:gd name="T31" fmla="*/ 2147483647 h 224"/>
                <a:gd name="T32" fmla="*/ 2147483647 w 252"/>
                <a:gd name="T33" fmla="*/ 2147483647 h 224"/>
                <a:gd name="T34" fmla="*/ 2147483647 w 252"/>
                <a:gd name="T35" fmla="*/ 2147483647 h 224"/>
                <a:gd name="T36" fmla="*/ 2147483647 w 252"/>
                <a:gd name="T37" fmla="*/ 2147483647 h 224"/>
                <a:gd name="T38" fmla="*/ 2147483647 w 252"/>
                <a:gd name="T39" fmla="*/ 2147483647 h 224"/>
                <a:gd name="T40" fmla="*/ 2147483647 w 252"/>
                <a:gd name="T41" fmla="*/ 2147483647 h 224"/>
                <a:gd name="T42" fmla="*/ 2147483647 w 252"/>
                <a:gd name="T43" fmla="*/ 2147483647 h 224"/>
                <a:gd name="T44" fmla="*/ 2147483647 w 252"/>
                <a:gd name="T45" fmla="*/ 2147483647 h 224"/>
                <a:gd name="T46" fmla="*/ 2147483647 w 252"/>
                <a:gd name="T47" fmla="*/ 2147483647 h 224"/>
                <a:gd name="T48" fmla="*/ 2147483647 w 252"/>
                <a:gd name="T49" fmla="*/ 2147483647 h 224"/>
                <a:gd name="T50" fmla="*/ 2147483647 w 252"/>
                <a:gd name="T51" fmla="*/ 2147483647 h 224"/>
                <a:gd name="T52" fmla="*/ 2147483647 w 252"/>
                <a:gd name="T53" fmla="*/ 2147483647 h 224"/>
                <a:gd name="T54" fmla="*/ 2147483647 w 252"/>
                <a:gd name="T55" fmla="*/ 2147483647 h 224"/>
                <a:gd name="T56" fmla="*/ 2147483647 w 252"/>
                <a:gd name="T57" fmla="*/ 2147483647 h 224"/>
                <a:gd name="T58" fmla="*/ 2147483647 w 252"/>
                <a:gd name="T59" fmla="*/ 2147483647 h 224"/>
                <a:gd name="T60" fmla="*/ 2147483647 w 252"/>
                <a:gd name="T61" fmla="*/ 2147483647 h 224"/>
                <a:gd name="T62" fmla="*/ 2147483647 w 252"/>
                <a:gd name="T63" fmla="*/ 2147483647 h 224"/>
                <a:gd name="T64" fmla="*/ 2147483647 w 252"/>
                <a:gd name="T65" fmla="*/ 2147483647 h 224"/>
                <a:gd name="T66" fmla="*/ 2147483647 w 252"/>
                <a:gd name="T67" fmla="*/ 2147483647 h 224"/>
                <a:gd name="T68" fmla="*/ 2147483647 w 252"/>
                <a:gd name="T69" fmla="*/ 2147483647 h 224"/>
                <a:gd name="T70" fmla="*/ 2147483647 w 252"/>
                <a:gd name="T71" fmla="*/ 2147483647 h 224"/>
                <a:gd name="T72" fmla="*/ 2147483647 w 252"/>
                <a:gd name="T73" fmla="*/ 2147483647 h 224"/>
                <a:gd name="T74" fmla="*/ 2147483647 w 252"/>
                <a:gd name="T75" fmla="*/ 2147483647 h 224"/>
                <a:gd name="T76" fmla="*/ 2147483647 w 252"/>
                <a:gd name="T77" fmla="*/ 2147483647 h 224"/>
                <a:gd name="T78" fmla="*/ 2147483647 w 252"/>
                <a:gd name="T79" fmla="*/ 2147483647 h 224"/>
                <a:gd name="T80" fmla="*/ 2147483647 w 252"/>
                <a:gd name="T81" fmla="*/ 2147483647 h 224"/>
                <a:gd name="T82" fmla="*/ 2147483647 w 252"/>
                <a:gd name="T83" fmla="*/ 2147483647 h 224"/>
                <a:gd name="T84" fmla="*/ 2147483647 w 252"/>
                <a:gd name="T85" fmla="*/ 2147483647 h 224"/>
                <a:gd name="T86" fmla="*/ 2147483647 w 252"/>
                <a:gd name="T87" fmla="*/ 2147483647 h 224"/>
                <a:gd name="T88" fmla="*/ 2147483647 w 252"/>
                <a:gd name="T89" fmla="*/ 2147483647 h 224"/>
                <a:gd name="T90" fmla="*/ 2147483647 w 252"/>
                <a:gd name="T91" fmla="*/ 0 h 2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52"/>
                <a:gd name="T139" fmla="*/ 0 h 224"/>
                <a:gd name="T140" fmla="*/ 252 w 252"/>
                <a:gd name="T141" fmla="*/ 224 h 2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23" name="Freeform 49">
              <a:extLst>
                <a:ext uri="{FF2B5EF4-FFF2-40B4-BE49-F238E27FC236}">
                  <a16:creationId xmlns:a16="http://schemas.microsoft.com/office/drawing/2014/main" id="{D45F0DFB-4EDA-9C4E-BAFF-615BBA013933}"/>
                </a:ext>
              </a:extLst>
            </p:cNvPr>
            <p:cNvSpPr>
              <a:spLocks noEditPoints="1"/>
            </p:cNvSpPr>
            <p:nvPr>
              <p:custDataLst>
                <p:tags r:id="rId16"/>
              </p:custDataLst>
            </p:nvPr>
          </p:nvSpPr>
          <p:spPr bwMode="auto">
            <a:xfrm>
              <a:off x="8925067" y="3051250"/>
              <a:ext cx="120182" cy="160243"/>
            </a:xfrm>
            <a:custGeom>
              <a:avLst/>
              <a:gdLst>
                <a:gd name="T0" fmla="*/ 2147483647 w 191"/>
                <a:gd name="T1" fmla="*/ 2147483647 h 284"/>
                <a:gd name="T2" fmla="*/ 2147483647 w 191"/>
                <a:gd name="T3" fmla="*/ 2147483647 h 284"/>
                <a:gd name="T4" fmla="*/ 2147483647 w 191"/>
                <a:gd name="T5" fmla="*/ 2147483647 h 284"/>
                <a:gd name="T6" fmla="*/ 2147483647 w 191"/>
                <a:gd name="T7" fmla="*/ 2147483647 h 284"/>
                <a:gd name="T8" fmla="*/ 2147483647 w 191"/>
                <a:gd name="T9" fmla="*/ 2147483647 h 284"/>
                <a:gd name="T10" fmla="*/ 2147483647 w 191"/>
                <a:gd name="T11" fmla="*/ 2147483647 h 284"/>
                <a:gd name="T12" fmla="*/ 2147483647 w 191"/>
                <a:gd name="T13" fmla="*/ 2147483647 h 284"/>
                <a:gd name="T14" fmla="*/ 2147483647 w 191"/>
                <a:gd name="T15" fmla="*/ 2147483647 h 284"/>
                <a:gd name="T16" fmla="*/ 2147483647 w 191"/>
                <a:gd name="T17" fmla="*/ 2147483647 h 284"/>
                <a:gd name="T18" fmla="*/ 2147483647 w 191"/>
                <a:gd name="T19" fmla="*/ 0 h 284"/>
                <a:gd name="T20" fmla="*/ 2147483647 w 191"/>
                <a:gd name="T21" fmla="*/ 2147483647 h 284"/>
                <a:gd name="T22" fmla="*/ 2147483647 w 191"/>
                <a:gd name="T23" fmla="*/ 2147483647 h 284"/>
                <a:gd name="T24" fmla="*/ 2147483647 w 191"/>
                <a:gd name="T25" fmla="*/ 2147483647 h 284"/>
                <a:gd name="T26" fmla="*/ 0 w 191"/>
                <a:gd name="T27" fmla="*/ 2147483647 h 284"/>
                <a:gd name="T28" fmla="*/ 2147483647 w 191"/>
                <a:gd name="T29" fmla="*/ 2147483647 h 284"/>
                <a:gd name="T30" fmla="*/ 2147483647 w 191"/>
                <a:gd name="T31" fmla="*/ 2147483647 h 284"/>
                <a:gd name="T32" fmla="*/ 2147483647 w 191"/>
                <a:gd name="T33" fmla="*/ 2147483647 h 284"/>
                <a:gd name="T34" fmla="*/ 2147483647 w 191"/>
                <a:gd name="T35" fmla="*/ 2147483647 h 284"/>
                <a:gd name="T36" fmla="*/ 2147483647 w 191"/>
                <a:gd name="T37" fmla="*/ 2147483647 h 284"/>
                <a:gd name="T38" fmla="*/ 2147483647 w 191"/>
                <a:gd name="T39" fmla="*/ 2147483647 h 284"/>
                <a:gd name="T40" fmla="*/ 2147483647 w 191"/>
                <a:gd name="T41" fmla="*/ 2147483647 h 284"/>
                <a:gd name="T42" fmla="*/ 2147483647 w 191"/>
                <a:gd name="T43" fmla="*/ 2147483647 h 284"/>
                <a:gd name="T44" fmla="*/ 2147483647 w 191"/>
                <a:gd name="T45" fmla="*/ 2147483647 h 284"/>
                <a:gd name="T46" fmla="*/ 2147483647 w 191"/>
                <a:gd name="T47" fmla="*/ 2147483647 h 284"/>
                <a:gd name="T48" fmla="*/ 2147483647 w 191"/>
                <a:gd name="T49" fmla="*/ 2147483647 h 284"/>
                <a:gd name="T50" fmla="*/ 2147483647 w 191"/>
                <a:gd name="T51" fmla="*/ 2147483647 h 284"/>
                <a:gd name="T52" fmla="*/ 2147483647 w 191"/>
                <a:gd name="T53" fmla="*/ 2147483647 h 284"/>
                <a:gd name="T54" fmla="*/ 2147483647 w 191"/>
                <a:gd name="T55" fmla="*/ 2147483647 h 284"/>
                <a:gd name="T56" fmla="*/ 2147483647 w 191"/>
                <a:gd name="T57" fmla="*/ 2147483647 h 284"/>
                <a:gd name="T58" fmla="*/ 2147483647 w 191"/>
                <a:gd name="T59" fmla="*/ 2147483647 h 2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91"/>
                <a:gd name="T91" fmla="*/ 0 h 284"/>
                <a:gd name="T92" fmla="*/ 191 w 191"/>
                <a:gd name="T93" fmla="*/ 284 h 28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24" name="Freeform 50">
              <a:extLst>
                <a:ext uri="{FF2B5EF4-FFF2-40B4-BE49-F238E27FC236}">
                  <a16:creationId xmlns:a16="http://schemas.microsoft.com/office/drawing/2014/main" id="{0799E0CE-0291-A544-9B46-ABE324B8E824}"/>
                </a:ext>
              </a:extLst>
            </p:cNvPr>
            <p:cNvSpPr>
              <a:spLocks/>
            </p:cNvSpPr>
            <p:nvPr>
              <p:custDataLst>
                <p:tags r:id="rId17"/>
              </p:custDataLst>
            </p:nvPr>
          </p:nvSpPr>
          <p:spPr bwMode="auto">
            <a:xfrm>
              <a:off x="8335843" y="3535317"/>
              <a:ext cx="250380" cy="263732"/>
            </a:xfrm>
            <a:custGeom>
              <a:avLst/>
              <a:gdLst>
                <a:gd name="T0" fmla="*/ 2147483647 w 404"/>
                <a:gd name="T1" fmla="*/ 2147483647 h 470"/>
                <a:gd name="T2" fmla="*/ 2147483647 w 404"/>
                <a:gd name="T3" fmla="*/ 2147483647 h 470"/>
                <a:gd name="T4" fmla="*/ 2147483647 w 404"/>
                <a:gd name="T5" fmla="*/ 2147483647 h 470"/>
                <a:gd name="T6" fmla="*/ 2147483647 w 404"/>
                <a:gd name="T7" fmla="*/ 2147483647 h 470"/>
                <a:gd name="T8" fmla="*/ 2147483647 w 404"/>
                <a:gd name="T9" fmla="*/ 2147483647 h 470"/>
                <a:gd name="T10" fmla="*/ 2147483647 w 404"/>
                <a:gd name="T11" fmla="*/ 2147483647 h 470"/>
                <a:gd name="T12" fmla="*/ 2147483647 w 404"/>
                <a:gd name="T13" fmla="*/ 2147483647 h 470"/>
                <a:gd name="T14" fmla="*/ 2147483647 w 404"/>
                <a:gd name="T15" fmla="*/ 2147483647 h 470"/>
                <a:gd name="T16" fmla="*/ 2147483647 w 404"/>
                <a:gd name="T17" fmla="*/ 2147483647 h 470"/>
                <a:gd name="T18" fmla="*/ 2147483647 w 404"/>
                <a:gd name="T19" fmla="*/ 2147483647 h 470"/>
                <a:gd name="T20" fmla="*/ 2147483647 w 404"/>
                <a:gd name="T21" fmla="*/ 2147483647 h 470"/>
                <a:gd name="T22" fmla="*/ 2147483647 w 404"/>
                <a:gd name="T23" fmla="*/ 2147483647 h 470"/>
                <a:gd name="T24" fmla="*/ 2147483647 w 404"/>
                <a:gd name="T25" fmla="*/ 2147483647 h 470"/>
                <a:gd name="T26" fmla="*/ 2147483647 w 404"/>
                <a:gd name="T27" fmla="*/ 2147483647 h 470"/>
                <a:gd name="T28" fmla="*/ 2147483647 w 404"/>
                <a:gd name="T29" fmla="*/ 2147483647 h 470"/>
                <a:gd name="T30" fmla="*/ 2147483647 w 404"/>
                <a:gd name="T31" fmla="*/ 2147483647 h 470"/>
                <a:gd name="T32" fmla="*/ 2147483647 w 404"/>
                <a:gd name="T33" fmla="*/ 2147483647 h 470"/>
                <a:gd name="T34" fmla="*/ 2147483647 w 404"/>
                <a:gd name="T35" fmla="*/ 2147483647 h 470"/>
                <a:gd name="T36" fmla="*/ 2147483647 w 404"/>
                <a:gd name="T37" fmla="*/ 2147483647 h 470"/>
                <a:gd name="T38" fmla="*/ 2147483647 w 404"/>
                <a:gd name="T39" fmla="*/ 2147483647 h 470"/>
                <a:gd name="T40" fmla="*/ 2147483647 w 404"/>
                <a:gd name="T41" fmla="*/ 2147483647 h 470"/>
                <a:gd name="T42" fmla="*/ 2147483647 w 404"/>
                <a:gd name="T43" fmla="*/ 2147483647 h 470"/>
                <a:gd name="T44" fmla="*/ 2147483647 w 404"/>
                <a:gd name="T45" fmla="*/ 2147483647 h 470"/>
                <a:gd name="T46" fmla="*/ 2147483647 w 404"/>
                <a:gd name="T47" fmla="*/ 2147483647 h 470"/>
                <a:gd name="T48" fmla="*/ 2147483647 w 404"/>
                <a:gd name="T49" fmla="*/ 2147483647 h 470"/>
                <a:gd name="T50" fmla="*/ 2147483647 w 404"/>
                <a:gd name="T51" fmla="*/ 2147483647 h 470"/>
                <a:gd name="T52" fmla="*/ 2147483647 w 404"/>
                <a:gd name="T53" fmla="*/ 2147483647 h 470"/>
                <a:gd name="T54" fmla="*/ 2147483647 w 404"/>
                <a:gd name="T55" fmla="*/ 2147483647 h 470"/>
                <a:gd name="T56" fmla="*/ 2147483647 w 404"/>
                <a:gd name="T57" fmla="*/ 2147483647 h 470"/>
                <a:gd name="T58" fmla="*/ 2147483647 w 404"/>
                <a:gd name="T59" fmla="*/ 2147483647 h 470"/>
                <a:gd name="T60" fmla="*/ 2147483647 w 404"/>
                <a:gd name="T61" fmla="*/ 2147483647 h 470"/>
                <a:gd name="T62" fmla="*/ 2147483647 w 404"/>
                <a:gd name="T63" fmla="*/ 2147483647 h 470"/>
                <a:gd name="T64" fmla="*/ 2147483647 w 404"/>
                <a:gd name="T65" fmla="*/ 2147483647 h 470"/>
                <a:gd name="T66" fmla="*/ 2147483647 w 404"/>
                <a:gd name="T67" fmla="*/ 2147483647 h 470"/>
                <a:gd name="T68" fmla="*/ 2147483647 w 404"/>
                <a:gd name="T69" fmla="*/ 2147483647 h 470"/>
                <a:gd name="T70" fmla="*/ 2147483647 w 404"/>
                <a:gd name="T71" fmla="*/ 2147483647 h 470"/>
                <a:gd name="T72" fmla="*/ 2147483647 w 404"/>
                <a:gd name="T73" fmla="*/ 2147483647 h 470"/>
                <a:gd name="T74" fmla="*/ 2147483647 w 404"/>
                <a:gd name="T75" fmla="*/ 2147483647 h 470"/>
                <a:gd name="T76" fmla="*/ 2147483647 w 404"/>
                <a:gd name="T77" fmla="*/ 2147483647 h 4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4"/>
                <a:gd name="T118" fmla="*/ 0 h 470"/>
                <a:gd name="T119" fmla="*/ 404 w 404"/>
                <a:gd name="T120" fmla="*/ 470 h 47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25" name="Freeform 51">
              <a:extLst>
                <a:ext uri="{FF2B5EF4-FFF2-40B4-BE49-F238E27FC236}">
                  <a16:creationId xmlns:a16="http://schemas.microsoft.com/office/drawing/2014/main" id="{FA117A21-4FC9-BD43-BBEA-F3678D84AD36}"/>
                </a:ext>
              </a:extLst>
            </p:cNvPr>
            <p:cNvSpPr>
              <a:spLocks/>
            </p:cNvSpPr>
            <p:nvPr>
              <p:custDataLst>
                <p:tags r:id="rId18"/>
              </p:custDataLst>
            </p:nvPr>
          </p:nvSpPr>
          <p:spPr bwMode="auto">
            <a:xfrm>
              <a:off x="8265736" y="3593737"/>
              <a:ext cx="262064" cy="449012"/>
            </a:xfrm>
            <a:custGeom>
              <a:avLst/>
              <a:gdLst>
                <a:gd name="T0" fmla="*/ 2147483647 w 420"/>
                <a:gd name="T1" fmla="*/ 2147483647 h 800"/>
                <a:gd name="T2" fmla="*/ 2147483647 w 420"/>
                <a:gd name="T3" fmla="*/ 2147483647 h 800"/>
                <a:gd name="T4" fmla="*/ 2147483647 w 420"/>
                <a:gd name="T5" fmla="*/ 2147483647 h 800"/>
                <a:gd name="T6" fmla="*/ 2147483647 w 420"/>
                <a:gd name="T7" fmla="*/ 2147483647 h 800"/>
                <a:gd name="T8" fmla="*/ 2147483647 w 420"/>
                <a:gd name="T9" fmla="*/ 2147483647 h 800"/>
                <a:gd name="T10" fmla="*/ 2147483647 w 420"/>
                <a:gd name="T11" fmla="*/ 2147483647 h 800"/>
                <a:gd name="T12" fmla="*/ 2147483647 w 420"/>
                <a:gd name="T13" fmla="*/ 2147483647 h 800"/>
                <a:gd name="T14" fmla="*/ 2147483647 w 420"/>
                <a:gd name="T15" fmla="*/ 2147483647 h 800"/>
                <a:gd name="T16" fmla="*/ 2147483647 w 420"/>
                <a:gd name="T17" fmla="*/ 2147483647 h 800"/>
                <a:gd name="T18" fmla="*/ 2147483647 w 420"/>
                <a:gd name="T19" fmla="*/ 2147483647 h 800"/>
                <a:gd name="T20" fmla="*/ 2147483647 w 420"/>
                <a:gd name="T21" fmla="*/ 2147483647 h 800"/>
                <a:gd name="T22" fmla="*/ 2147483647 w 420"/>
                <a:gd name="T23" fmla="*/ 2147483647 h 800"/>
                <a:gd name="T24" fmla="*/ 2147483647 w 420"/>
                <a:gd name="T25" fmla="*/ 2147483647 h 800"/>
                <a:gd name="T26" fmla="*/ 2147483647 w 420"/>
                <a:gd name="T27" fmla="*/ 2147483647 h 800"/>
                <a:gd name="T28" fmla="*/ 2147483647 w 420"/>
                <a:gd name="T29" fmla="*/ 2147483647 h 800"/>
                <a:gd name="T30" fmla="*/ 2147483647 w 420"/>
                <a:gd name="T31" fmla="*/ 2147483647 h 800"/>
                <a:gd name="T32" fmla="*/ 2147483647 w 420"/>
                <a:gd name="T33" fmla="*/ 2147483647 h 800"/>
                <a:gd name="T34" fmla="*/ 2147483647 w 420"/>
                <a:gd name="T35" fmla="*/ 2147483647 h 800"/>
                <a:gd name="T36" fmla="*/ 2147483647 w 420"/>
                <a:gd name="T37" fmla="*/ 2147483647 h 800"/>
                <a:gd name="T38" fmla="*/ 2147483647 w 420"/>
                <a:gd name="T39" fmla="*/ 2147483647 h 800"/>
                <a:gd name="T40" fmla="*/ 2147483647 w 420"/>
                <a:gd name="T41" fmla="*/ 2147483647 h 800"/>
                <a:gd name="T42" fmla="*/ 2147483647 w 420"/>
                <a:gd name="T43" fmla="*/ 2147483647 h 800"/>
                <a:gd name="T44" fmla="*/ 2147483647 w 420"/>
                <a:gd name="T45" fmla="*/ 2147483647 h 800"/>
                <a:gd name="T46" fmla="*/ 2147483647 w 420"/>
                <a:gd name="T47" fmla="*/ 2147483647 h 800"/>
                <a:gd name="T48" fmla="*/ 2147483647 w 420"/>
                <a:gd name="T49" fmla="*/ 2147483647 h 800"/>
                <a:gd name="T50" fmla="*/ 2147483647 w 420"/>
                <a:gd name="T51" fmla="*/ 2147483647 h 800"/>
                <a:gd name="T52" fmla="*/ 2147483647 w 420"/>
                <a:gd name="T53" fmla="*/ 2147483647 h 800"/>
                <a:gd name="T54" fmla="*/ 2147483647 w 420"/>
                <a:gd name="T55" fmla="*/ 2147483647 h 800"/>
                <a:gd name="T56" fmla="*/ 2147483647 w 420"/>
                <a:gd name="T57" fmla="*/ 2147483647 h 800"/>
                <a:gd name="T58" fmla="*/ 2147483647 w 420"/>
                <a:gd name="T59" fmla="*/ 2147483647 h 800"/>
                <a:gd name="T60" fmla="*/ 2147483647 w 420"/>
                <a:gd name="T61" fmla="*/ 2147483647 h 800"/>
                <a:gd name="T62" fmla="*/ 2147483647 w 420"/>
                <a:gd name="T63" fmla="*/ 2147483647 h 800"/>
                <a:gd name="T64" fmla="*/ 2147483647 w 420"/>
                <a:gd name="T65" fmla="*/ 2147483647 h 800"/>
                <a:gd name="T66" fmla="*/ 2147483647 w 420"/>
                <a:gd name="T67" fmla="*/ 2147483647 h 800"/>
                <a:gd name="T68" fmla="*/ 2147483647 w 420"/>
                <a:gd name="T69" fmla="*/ 2147483647 h 800"/>
                <a:gd name="T70" fmla="*/ 2147483647 w 420"/>
                <a:gd name="T71" fmla="*/ 2147483647 h 800"/>
                <a:gd name="T72" fmla="*/ 2147483647 w 420"/>
                <a:gd name="T73" fmla="*/ 2147483647 h 800"/>
                <a:gd name="T74" fmla="*/ 2147483647 w 420"/>
                <a:gd name="T75" fmla="*/ 2147483647 h 800"/>
                <a:gd name="T76" fmla="*/ 2147483647 w 420"/>
                <a:gd name="T77" fmla="*/ 2147483647 h 800"/>
                <a:gd name="T78" fmla="*/ 2147483647 w 420"/>
                <a:gd name="T79" fmla="*/ 2147483647 h 800"/>
                <a:gd name="T80" fmla="*/ 2147483647 w 420"/>
                <a:gd name="T81" fmla="*/ 2147483647 h 800"/>
                <a:gd name="T82" fmla="*/ 2147483647 w 420"/>
                <a:gd name="T83" fmla="*/ 2147483647 h 800"/>
                <a:gd name="T84" fmla="*/ 2147483647 w 420"/>
                <a:gd name="T85" fmla="*/ 2147483647 h 800"/>
                <a:gd name="T86" fmla="*/ 2147483647 w 420"/>
                <a:gd name="T87" fmla="*/ 2147483647 h 800"/>
                <a:gd name="T88" fmla="*/ 2147483647 w 420"/>
                <a:gd name="T89" fmla="*/ 2147483647 h 800"/>
                <a:gd name="T90" fmla="*/ 2147483647 w 420"/>
                <a:gd name="T91" fmla="*/ 2147483647 h 800"/>
                <a:gd name="T92" fmla="*/ 2147483647 w 420"/>
                <a:gd name="T93" fmla="*/ 2147483647 h 800"/>
                <a:gd name="T94" fmla="*/ 2147483647 w 420"/>
                <a:gd name="T95" fmla="*/ 2147483647 h 800"/>
                <a:gd name="T96" fmla="*/ 2147483647 w 420"/>
                <a:gd name="T97" fmla="*/ 2147483647 h 800"/>
                <a:gd name="T98" fmla="*/ 2147483647 w 420"/>
                <a:gd name="T99" fmla="*/ 2147483647 h 800"/>
                <a:gd name="T100" fmla="*/ 2147483647 w 420"/>
                <a:gd name="T101" fmla="*/ 2147483647 h 800"/>
                <a:gd name="T102" fmla="*/ 2147483647 w 420"/>
                <a:gd name="T103" fmla="*/ 2147483647 h 800"/>
                <a:gd name="T104" fmla="*/ 2147483647 w 420"/>
                <a:gd name="T105" fmla="*/ 2147483647 h 800"/>
                <a:gd name="T106" fmla="*/ 2147483647 w 420"/>
                <a:gd name="T107" fmla="*/ 2147483647 h 800"/>
                <a:gd name="T108" fmla="*/ 2147483647 w 420"/>
                <a:gd name="T109" fmla="*/ 2147483647 h 800"/>
                <a:gd name="T110" fmla="*/ 2147483647 w 420"/>
                <a:gd name="T111" fmla="*/ 2147483647 h 8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800"/>
                <a:gd name="T170" fmla="*/ 420 w 420"/>
                <a:gd name="T171" fmla="*/ 800 h 8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26" name="Freeform 52">
              <a:extLst>
                <a:ext uri="{FF2B5EF4-FFF2-40B4-BE49-F238E27FC236}">
                  <a16:creationId xmlns:a16="http://schemas.microsoft.com/office/drawing/2014/main" id="{97304741-5C23-AD41-958C-35CDF112FFBE}"/>
                </a:ext>
              </a:extLst>
            </p:cNvPr>
            <p:cNvSpPr>
              <a:spLocks/>
            </p:cNvSpPr>
            <p:nvPr>
              <p:custDataLst>
                <p:tags r:id="rId19"/>
              </p:custDataLst>
            </p:nvPr>
          </p:nvSpPr>
          <p:spPr bwMode="auto">
            <a:xfrm>
              <a:off x="8389256" y="3505272"/>
              <a:ext cx="253717" cy="447343"/>
            </a:xfrm>
            <a:custGeom>
              <a:avLst/>
              <a:gdLst>
                <a:gd name="T0" fmla="*/ 2147483647 w 407"/>
                <a:gd name="T1" fmla="*/ 2147483647 h 795"/>
                <a:gd name="T2" fmla="*/ 2147483647 w 407"/>
                <a:gd name="T3" fmla="*/ 2147483647 h 795"/>
                <a:gd name="T4" fmla="*/ 2147483647 w 407"/>
                <a:gd name="T5" fmla="*/ 2147483647 h 795"/>
                <a:gd name="T6" fmla="*/ 2147483647 w 407"/>
                <a:gd name="T7" fmla="*/ 2147483647 h 795"/>
                <a:gd name="T8" fmla="*/ 2147483647 w 407"/>
                <a:gd name="T9" fmla="*/ 2147483647 h 795"/>
                <a:gd name="T10" fmla="*/ 2147483647 w 407"/>
                <a:gd name="T11" fmla="*/ 2147483647 h 795"/>
                <a:gd name="T12" fmla="*/ 2147483647 w 407"/>
                <a:gd name="T13" fmla="*/ 2147483647 h 795"/>
                <a:gd name="T14" fmla="*/ 2147483647 w 407"/>
                <a:gd name="T15" fmla="*/ 2147483647 h 795"/>
                <a:gd name="T16" fmla="*/ 2147483647 w 407"/>
                <a:gd name="T17" fmla="*/ 2147483647 h 795"/>
                <a:gd name="T18" fmla="*/ 2147483647 w 407"/>
                <a:gd name="T19" fmla="*/ 2147483647 h 795"/>
                <a:gd name="T20" fmla="*/ 2147483647 w 407"/>
                <a:gd name="T21" fmla="*/ 2147483647 h 795"/>
                <a:gd name="T22" fmla="*/ 2147483647 w 407"/>
                <a:gd name="T23" fmla="*/ 2147483647 h 795"/>
                <a:gd name="T24" fmla="*/ 2147483647 w 407"/>
                <a:gd name="T25" fmla="*/ 2147483647 h 795"/>
                <a:gd name="T26" fmla="*/ 2147483647 w 407"/>
                <a:gd name="T27" fmla="*/ 2147483647 h 795"/>
                <a:gd name="T28" fmla="*/ 2147483647 w 407"/>
                <a:gd name="T29" fmla="*/ 2147483647 h 795"/>
                <a:gd name="T30" fmla="*/ 2147483647 w 407"/>
                <a:gd name="T31" fmla="*/ 2147483647 h 795"/>
                <a:gd name="T32" fmla="*/ 2147483647 w 407"/>
                <a:gd name="T33" fmla="*/ 2147483647 h 795"/>
                <a:gd name="T34" fmla="*/ 2147483647 w 407"/>
                <a:gd name="T35" fmla="*/ 2147483647 h 795"/>
                <a:gd name="T36" fmla="*/ 2147483647 w 407"/>
                <a:gd name="T37" fmla="*/ 2147483647 h 795"/>
                <a:gd name="T38" fmla="*/ 2147483647 w 407"/>
                <a:gd name="T39" fmla="*/ 2147483647 h 795"/>
                <a:gd name="T40" fmla="*/ 2147483647 w 407"/>
                <a:gd name="T41" fmla="*/ 2147483647 h 795"/>
                <a:gd name="T42" fmla="*/ 2147483647 w 407"/>
                <a:gd name="T43" fmla="*/ 2147483647 h 795"/>
                <a:gd name="T44" fmla="*/ 2147483647 w 407"/>
                <a:gd name="T45" fmla="*/ 2147483647 h 795"/>
                <a:gd name="T46" fmla="*/ 2147483647 w 407"/>
                <a:gd name="T47" fmla="*/ 2147483647 h 795"/>
                <a:gd name="T48" fmla="*/ 2147483647 w 407"/>
                <a:gd name="T49" fmla="*/ 2147483647 h 795"/>
                <a:gd name="T50" fmla="*/ 2147483647 w 407"/>
                <a:gd name="T51" fmla="*/ 2147483647 h 795"/>
                <a:gd name="T52" fmla="*/ 2147483647 w 407"/>
                <a:gd name="T53" fmla="*/ 2147483647 h 795"/>
                <a:gd name="T54" fmla="*/ 2147483647 w 407"/>
                <a:gd name="T55" fmla="*/ 2147483647 h 795"/>
                <a:gd name="T56" fmla="*/ 2147483647 w 407"/>
                <a:gd name="T57" fmla="*/ 2147483647 h 795"/>
                <a:gd name="T58" fmla="*/ 2147483647 w 407"/>
                <a:gd name="T59" fmla="*/ 2147483647 h 795"/>
                <a:gd name="T60" fmla="*/ 2147483647 w 407"/>
                <a:gd name="T61" fmla="*/ 2147483647 h 795"/>
                <a:gd name="T62" fmla="*/ 2147483647 w 407"/>
                <a:gd name="T63" fmla="*/ 2147483647 h 795"/>
                <a:gd name="T64" fmla="*/ 2147483647 w 407"/>
                <a:gd name="T65" fmla="*/ 2147483647 h 795"/>
                <a:gd name="T66" fmla="*/ 2147483647 w 407"/>
                <a:gd name="T67" fmla="*/ 2147483647 h 795"/>
                <a:gd name="T68" fmla="*/ 2147483647 w 407"/>
                <a:gd name="T69" fmla="*/ 2147483647 h 795"/>
                <a:gd name="T70" fmla="*/ 2147483647 w 407"/>
                <a:gd name="T71" fmla="*/ 2147483647 h 795"/>
                <a:gd name="T72" fmla="*/ 2147483647 w 407"/>
                <a:gd name="T73" fmla="*/ 2147483647 h 795"/>
                <a:gd name="T74" fmla="*/ 2147483647 w 407"/>
                <a:gd name="T75" fmla="*/ 2147483647 h 795"/>
                <a:gd name="T76" fmla="*/ 2147483647 w 407"/>
                <a:gd name="T77" fmla="*/ 2147483647 h 795"/>
                <a:gd name="T78" fmla="*/ 2147483647 w 407"/>
                <a:gd name="T79" fmla="*/ 2147483647 h 795"/>
                <a:gd name="T80" fmla="*/ 2147483647 w 407"/>
                <a:gd name="T81" fmla="*/ 2147483647 h 795"/>
                <a:gd name="T82" fmla="*/ 2147483647 w 407"/>
                <a:gd name="T83" fmla="*/ 2147483647 h 795"/>
                <a:gd name="T84" fmla="*/ 2147483647 w 407"/>
                <a:gd name="T85" fmla="*/ 2147483647 h 795"/>
                <a:gd name="T86" fmla="*/ 2147483647 w 407"/>
                <a:gd name="T87" fmla="*/ 2147483647 h 795"/>
                <a:gd name="T88" fmla="*/ 2147483647 w 407"/>
                <a:gd name="T89" fmla="*/ 2147483647 h 795"/>
                <a:gd name="T90" fmla="*/ 2147483647 w 407"/>
                <a:gd name="T91" fmla="*/ 2147483647 h 795"/>
                <a:gd name="T92" fmla="*/ 2147483647 w 407"/>
                <a:gd name="T93" fmla="*/ 2147483647 h 795"/>
                <a:gd name="T94" fmla="*/ 2147483647 w 407"/>
                <a:gd name="T95" fmla="*/ 2147483647 h 795"/>
                <a:gd name="T96" fmla="*/ 2147483647 w 407"/>
                <a:gd name="T97" fmla="*/ 2147483647 h 795"/>
                <a:gd name="T98" fmla="*/ 2147483647 w 407"/>
                <a:gd name="T99" fmla="*/ 2147483647 h 795"/>
                <a:gd name="T100" fmla="*/ 2147483647 w 407"/>
                <a:gd name="T101" fmla="*/ 2147483647 h 795"/>
                <a:gd name="T102" fmla="*/ 2147483647 w 407"/>
                <a:gd name="T103" fmla="*/ 2147483647 h 79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7"/>
                <a:gd name="T157" fmla="*/ 0 h 795"/>
                <a:gd name="T158" fmla="*/ 407 w 407"/>
                <a:gd name="T159" fmla="*/ 795 h 79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27" name="Freeform 53">
              <a:extLst>
                <a:ext uri="{FF2B5EF4-FFF2-40B4-BE49-F238E27FC236}">
                  <a16:creationId xmlns:a16="http://schemas.microsoft.com/office/drawing/2014/main" id="{E3298D0F-C04E-2943-B278-35E8B2B04E32}"/>
                </a:ext>
              </a:extLst>
            </p:cNvPr>
            <p:cNvSpPr>
              <a:spLocks/>
            </p:cNvSpPr>
            <p:nvPr>
              <p:custDataLst>
                <p:tags r:id="rId20"/>
              </p:custDataLst>
            </p:nvPr>
          </p:nvSpPr>
          <p:spPr bwMode="auto">
            <a:xfrm>
              <a:off x="7718241" y="3288277"/>
              <a:ext cx="245372" cy="128527"/>
            </a:xfrm>
            <a:custGeom>
              <a:avLst/>
              <a:gdLst>
                <a:gd name="T0" fmla="*/ 2147483647 w 400"/>
                <a:gd name="T1" fmla="*/ 2147483647 h 233"/>
                <a:gd name="T2" fmla="*/ 2147483647 w 400"/>
                <a:gd name="T3" fmla="*/ 2147483647 h 233"/>
                <a:gd name="T4" fmla="*/ 2147483647 w 400"/>
                <a:gd name="T5" fmla="*/ 2147483647 h 233"/>
                <a:gd name="T6" fmla="*/ 2147483647 w 400"/>
                <a:gd name="T7" fmla="*/ 2147483647 h 233"/>
                <a:gd name="T8" fmla="*/ 2147483647 w 400"/>
                <a:gd name="T9" fmla="*/ 2147483647 h 233"/>
                <a:gd name="T10" fmla="*/ 2147483647 w 400"/>
                <a:gd name="T11" fmla="*/ 2147483647 h 233"/>
                <a:gd name="T12" fmla="*/ 2147483647 w 400"/>
                <a:gd name="T13" fmla="*/ 2147483647 h 233"/>
                <a:gd name="T14" fmla="*/ 2147483647 w 400"/>
                <a:gd name="T15" fmla="*/ 2147483647 h 233"/>
                <a:gd name="T16" fmla="*/ 2147483647 w 400"/>
                <a:gd name="T17" fmla="*/ 2147483647 h 233"/>
                <a:gd name="T18" fmla="*/ 2147483647 w 400"/>
                <a:gd name="T19" fmla="*/ 2147483647 h 233"/>
                <a:gd name="T20" fmla="*/ 2147483647 w 400"/>
                <a:gd name="T21" fmla="*/ 2147483647 h 233"/>
                <a:gd name="T22" fmla="*/ 2147483647 w 400"/>
                <a:gd name="T23" fmla="*/ 2147483647 h 233"/>
                <a:gd name="T24" fmla="*/ 2147483647 w 400"/>
                <a:gd name="T25" fmla="*/ 2147483647 h 233"/>
                <a:gd name="T26" fmla="*/ 2147483647 w 400"/>
                <a:gd name="T27" fmla="*/ 2147483647 h 233"/>
                <a:gd name="T28" fmla="*/ 2147483647 w 400"/>
                <a:gd name="T29" fmla="*/ 2147483647 h 233"/>
                <a:gd name="T30" fmla="*/ 2147483647 w 400"/>
                <a:gd name="T31" fmla="*/ 2147483647 h 233"/>
                <a:gd name="T32" fmla="*/ 2147483647 w 400"/>
                <a:gd name="T33" fmla="*/ 2147483647 h 233"/>
                <a:gd name="T34" fmla="*/ 2147483647 w 400"/>
                <a:gd name="T35" fmla="*/ 2147483647 h 233"/>
                <a:gd name="T36" fmla="*/ 2147483647 w 400"/>
                <a:gd name="T37" fmla="*/ 2147483647 h 233"/>
                <a:gd name="T38" fmla="*/ 2147483647 w 400"/>
                <a:gd name="T39" fmla="*/ 2147483647 h 233"/>
                <a:gd name="T40" fmla="*/ 2147483647 w 400"/>
                <a:gd name="T41" fmla="*/ 2147483647 h 233"/>
                <a:gd name="T42" fmla="*/ 2147483647 w 400"/>
                <a:gd name="T43" fmla="*/ 2147483647 h 233"/>
                <a:gd name="T44" fmla="*/ 2147483647 w 400"/>
                <a:gd name="T45" fmla="*/ 2147483647 h 233"/>
                <a:gd name="T46" fmla="*/ 2147483647 w 400"/>
                <a:gd name="T47" fmla="*/ 2147483647 h 233"/>
                <a:gd name="T48" fmla="*/ 2147483647 w 400"/>
                <a:gd name="T49" fmla="*/ 2147483647 h 233"/>
                <a:gd name="T50" fmla="*/ 2147483647 w 400"/>
                <a:gd name="T51" fmla="*/ 2147483647 h 233"/>
                <a:gd name="T52" fmla="*/ 2147483647 w 400"/>
                <a:gd name="T53" fmla="*/ 2147483647 h 233"/>
                <a:gd name="T54" fmla="*/ 2147483647 w 400"/>
                <a:gd name="T55" fmla="*/ 2147483647 h 233"/>
                <a:gd name="T56" fmla="*/ 2147483647 w 400"/>
                <a:gd name="T57" fmla="*/ 2147483647 h 233"/>
                <a:gd name="T58" fmla="*/ 2147483647 w 400"/>
                <a:gd name="T59" fmla="*/ 2147483647 h 233"/>
                <a:gd name="T60" fmla="*/ 2147483647 w 400"/>
                <a:gd name="T61" fmla="*/ 2147483647 h 233"/>
                <a:gd name="T62" fmla="*/ 2147483647 w 400"/>
                <a:gd name="T63" fmla="*/ 2147483647 h 233"/>
                <a:gd name="T64" fmla="*/ 2147483647 w 400"/>
                <a:gd name="T65" fmla="*/ 2147483647 h 233"/>
                <a:gd name="T66" fmla="*/ 2147483647 w 400"/>
                <a:gd name="T67" fmla="*/ 2147483647 h 233"/>
                <a:gd name="T68" fmla="*/ 2147483647 w 400"/>
                <a:gd name="T69" fmla="*/ 2147483647 h 233"/>
                <a:gd name="T70" fmla="*/ 2147483647 w 400"/>
                <a:gd name="T71" fmla="*/ 2147483647 h 233"/>
                <a:gd name="T72" fmla="*/ 2147483647 w 400"/>
                <a:gd name="T73" fmla="*/ 2147483647 h 233"/>
                <a:gd name="T74" fmla="*/ 2147483647 w 400"/>
                <a:gd name="T75" fmla="*/ 2147483647 h 233"/>
                <a:gd name="T76" fmla="*/ 2147483647 w 400"/>
                <a:gd name="T77" fmla="*/ 2147483647 h 233"/>
                <a:gd name="T78" fmla="*/ 2147483647 w 400"/>
                <a:gd name="T79" fmla="*/ 2147483647 h 233"/>
                <a:gd name="T80" fmla="*/ 2147483647 w 400"/>
                <a:gd name="T81" fmla="*/ 2147483647 h 233"/>
                <a:gd name="T82" fmla="*/ 2147483647 w 400"/>
                <a:gd name="T83" fmla="*/ 2147483647 h 233"/>
                <a:gd name="T84" fmla="*/ 2147483647 w 400"/>
                <a:gd name="T85" fmla="*/ 2147483647 h 233"/>
                <a:gd name="T86" fmla="*/ 2147483647 w 400"/>
                <a:gd name="T87" fmla="*/ 2147483647 h 233"/>
                <a:gd name="T88" fmla="*/ 2147483647 w 400"/>
                <a:gd name="T89" fmla="*/ 2147483647 h 233"/>
                <a:gd name="T90" fmla="*/ 2147483647 w 400"/>
                <a:gd name="T91" fmla="*/ 2147483647 h 233"/>
                <a:gd name="T92" fmla="*/ 2147483647 w 400"/>
                <a:gd name="T93" fmla="*/ 2147483647 h 233"/>
                <a:gd name="T94" fmla="*/ 2147483647 w 400"/>
                <a:gd name="T95" fmla="*/ 2147483647 h 233"/>
                <a:gd name="T96" fmla="*/ 2147483647 w 400"/>
                <a:gd name="T97" fmla="*/ 2147483647 h 233"/>
                <a:gd name="T98" fmla="*/ 2147483647 w 400"/>
                <a:gd name="T99" fmla="*/ 2147483647 h 233"/>
                <a:gd name="T100" fmla="*/ 2147483647 w 400"/>
                <a:gd name="T101" fmla="*/ 2147483647 h 233"/>
                <a:gd name="T102" fmla="*/ 2147483647 w 400"/>
                <a:gd name="T103" fmla="*/ 2147483647 h 233"/>
                <a:gd name="T104" fmla="*/ 2147483647 w 400"/>
                <a:gd name="T105" fmla="*/ 2147483647 h 233"/>
                <a:gd name="T106" fmla="*/ 2147483647 w 400"/>
                <a:gd name="T107" fmla="*/ 2147483647 h 233"/>
                <a:gd name="T108" fmla="*/ 2147483647 w 400"/>
                <a:gd name="T109" fmla="*/ 2147483647 h 233"/>
                <a:gd name="T110" fmla="*/ 2147483647 w 400"/>
                <a:gd name="T111" fmla="*/ 2147483647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00"/>
                <a:gd name="T169" fmla="*/ 0 h 233"/>
                <a:gd name="T170" fmla="*/ 400 w 400"/>
                <a:gd name="T171" fmla="*/ 233 h 23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28" name="Freeform 54">
              <a:extLst>
                <a:ext uri="{FF2B5EF4-FFF2-40B4-BE49-F238E27FC236}">
                  <a16:creationId xmlns:a16="http://schemas.microsoft.com/office/drawing/2014/main" id="{DD6FDC41-5BF9-754F-8AAE-809082D2DBED}"/>
                </a:ext>
              </a:extLst>
            </p:cNvPr>
            <p:cNvSpPr>
              <a:spLocks/>
            </p:cNvSpPr>
            <p:nvPr>
              <p:custDataLst>
                <p:tags r:id="rId21"/>
              </p:custDataLst>
            </p:nvPr>
          </p:nvSpPr>
          <p:spPr bwMode="auto">
            <a:xfrm>
              <a:off x="7971958" y="3353374"/>
              <a:ext cx="106828" cy="53415"/>
            </a:xfrm>
            <a:custGeom>
              <a:avLst/>
              <a:gdLst>
                <a:gd name="T0" fmla="*/ 2147483647 w 176"/>
                <a:gd name="T1" fmla="*/ 2147483647 h 93"/>
                <a:gd name="T2" fmla="*/ 2147483647 w 176"/>
                <a:gd name="T3" fmla="*/ 2147483647 h 93"/>
                <a:gd name="T4" fmla="*/ 2147483647 w 176"/>
                <a:gd name="T5" fmla="*/ 2147483647 h 93"/>
                <a:gd name="T6" fmla="*/ 2147483647 w 176"/>
                <a:gd name="T7" fmla="*/ 2147483647 h 93"/>
                <a:gd name="T8" fmla="*/ 2147483647 w 176"/>
                <a:gd name="T9" fmla="*/ 2147483647 h 93"/>
                <a:gd name="T10" fmla="*/ 2147483647 w 176"/>
                <a:gd name="T11" fmla="*/ 2147483647 h 93"/>
                <a:gd name="T12" fmla="*/ 2147483647 w 176"/>
                <a:gd name="T13" fmla="*/ 2147483647 h 93"/>
                <a:gd name="T14" fmla="*/ 2147483647 w 176"/>
                <a:gd name="T15" fmla="*/ 2147483647 h 93"/>
                <a:gd name="T16" fmla="*/ 2147483647 w 176"/>
                <a:gd name="T17" fmla="*/ 2147483647 h 93"/>
                <a:gd name="T18" fmla="*/ 2147483647 w 176"/>
                <a:gd name="T19" fmla="*/ 2147483647 h 93"/>
                <a:gd name="T20" fmla="*/ 2147483647 w 176"/>
                <a:gd name="T21" fmla="*/ 2147483647 h 93"/>
                <a:gd name="T22" fmla="*/ 2147483647 w 176"/>
                <a:gd name="T23" fmla="*/ 2147483647 h 93"/>
                <a:gd name="T24" fmla="*/ 2147483647 w 176"/>
                <a:gd name="T25" fmla="*/ 2147483647 h 93"/>
                <a:gd name="T26" fmla="*/ 2147483647 w 176"/>
                <a:gd name="T27" fmla="*/ 2147483647 h 93"/>
                <a:gd name="T28" fmla="*/ 2147483647 w 176"/>
                <a:gd name="T29" fmla="*/ 2147483647 h 93"/>
                <a:gd name="T30" fmla="*/ 2147483647 w 176"/>
                <a:gd name="T31" fmla="*/ 2147483647 h 93"/>
                <a:gd name="T32" fmla="*/ 2147483647 w 176"/>
                <a:gd name="T33" fmla="*/ 2147483647 h 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6"/>
                <a:gd name="T52" fmla="*/ 0 h 93"/>
                <a:gd name="T53" fmla="*/ 176 w 176"/>
                <a:gd name="T54" fmla="*/ 93 h 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29" name="Freeform 55">
              <a:extLst>
                <a:ext uri="{FF2B5EF4-FFF2-40B4-BE49-F238E27FC236}">
                  <a16:creationId xmlns:a16="http://schemas.microsoft.com/office/drawing/2014/main" id="{B29FEC1F-5294-3C47-8F15-9C584CE5B8D5}"/>
                </a:ext>
              </a:extLst>
            </p:cNvPr>
            <p:cNvSpPr>
              <a:spLocks/>
            </p:cNvSpPr>
            <p:nvPr>
              <p:custDataLst>
                <p:tags r:id="rId22"/>
              </p:custDataLst>
            </p:nvPr>
          </p:nvSpPr>
          <p:spPr bwMode="auto">
            <a:xfrm>
              <a:off x="7966952" y="3410127"/>
              <a:ext cx="153566" cy="160243"/>
            </a:xfrm>
            <a:custGeom>
              <a:avLst/>
              <a:gdLst>
                <a:gd name="T0" fmla="*/ 2147483647 w 247"/>
                <a:gd name="T1" fmla="*/ 2147483647 h 284"/>
                <a:gd name="T2" fmla="*/ 2147483647 w 247"/>
                <a:gd name="T3" fmla="*/ 2147483647 h 284"/>
                <a:gd name="T4" fmla="*/ 2147483647 w 247"/>
                <a:gd name="T5" fmla="*/ 2147483647 h 284"/>
                <a:gd name="T6" fmla="*/ 2147483647 w 247"/>
                <a:gd name="T7" fmla="*/ 2147483647 h 284"/>
                <a:gd name="T8" fmla="*/ 2147483647 w 247"/>
                <a:gd name="T9" fmla="*/ 2147483647 h 284"/>
                <a:gd name="T10" fmla="*/ 2147483647 w 247"/>
                <a:gd name="T11" fmla="*/ 2147483647 h 284"/>
                <a:gd name="T12" fmla="*/ 2147483647 w 247"/>
                <a:gd name="T13" fmla="*/ 2147483647 h 284"/>
                <a:gd name="T14" fmla="*/ 2147483647 w 247"/>
                <a:gd name="T15" fmla="*/ 2147483647 h 284"/>
                <a:gd name="T16" fmla="*/ 2147483647 w 247"/>
                <a:gd name="T17" fmla="*/ 2147483647 h 284"/>
                <a:gd name="T18" fmla="*/ 2147483647 w 247"/>
                <a:gd name="T19" fmla="*/ 2147483647 h 284"/>
                <a:gd name="T20" fmla="*/ 2147483647 w 247"/>
                <a:gd name="T21" fmla="*/ 2147483647 h 284"/>
                <a:gd name="T22" fmla="*/ 2147483647 w 247"/>
                <a:gd name="T23" fmla="*/ 2147483647 h 284"/>
                <a:gd name="T24" fmla="*/ 2147483647 w 247"/>
                <a:gd name="T25" fmla="*/ 2147483647 h 284"/>
                <a:gd name="T26" fmla="*/ 2147483647 w 247"/>
                <a:gd name="T27" fmla="*/ 2147483647 h 284"/>
                <a:gd name="T28" fmla="*/ 2147483647 w 247"/>
                <a:gd name="T29" fmla="*/ 2147483647 h 284"/>
                <a:gd name="T30" fmla="*/ 2147483647 w 247"/>
                <a:gd name="T31" fmla="*/ 2147483647 h 284"/>
                <a:gd name="T32" fmla="*/ 2147483647 w 247"/>
                <a:gd name="T33" fmla="*/ 2147483647 h 284"/>
                <a:gd name="T34" fmla="*/ 2147483647 w 247"/>
                <a:gd name="T35" fmla="*/ 2147483647 h 284"/>
                <a:gd name="T36" fmla="*/ 2147483647 w 247"/>
                <a:gd name="T37" fmla="*/ 2147483647 h 284"/>
                <a:gd name="T38" fmla="*/ 2147483647 w 247"/>
                <a:gd name="T39" fmla="*/ 2147483647 h 284"/>
                <a:gd name="T40" fmla="*/ 2147483647 w 247"/>
                <a:gd name="T41" fmla="*/ 2147483647 h 284"/>
                <a:gd name="T42" fmla="*/ 2147483647 w 247"/>
                <a:gd name="T43" fmla="*/ 2147483647 h 284"/>
                <a:gd name="T44" fmla="*/ 2147483647 w 247"/>
                <a:gd name="T45" fmla="*/ 2147483647 h 284"/>
                <a:gd name="T46" fmla="*/ 2147483647 w 247"/>
                <a:gd name="T47" fmla="*/ 2147483647 h 284"/>
                <a:gd name="T48" fmla="*/ 2147483647 w 247"/>
                <a:gd name="T49" fmla="*/ 2147483647 h 284"/>
                <a:gd name="T50" fmla="*/ 2147483647 w 247"/>
                <a:gd name="T51" fmla="*/ 2147483647 h 284"/>
                <a:gd name="T52" fmla="*/ 2147483647 w 247"/>
                <a:gd name="T53" fmla="*/ 2147483647 h 284"/>
                <a:gd name="T54" fmla="*/ 2147483647 w 247"/>
                <a:gd name="T55" fmla="*/ 2147483647 h 284"/>
                <a:gd name="T56" fmla="*/ 2147483647 w 247"/>
                <a:gd name="T57" fmla="*/ 2147483647 h 284"/>
                <a:gd name="T58" fmla="*/ 2147483647 w 247"/>
                <a:gd name="T59" fmla="*/ 2147483647 h 284"/>
                <a:gd name="T60" fmla="*/ 2147483647 w 247"/>
                <a:gd name="T61" fmla="*/ 2147483647 h 284"/>
                <a:gd name="T62" fmla="*/ 2147483647 w 247"/>
                <a:gd name="T63" fmla="*/ 2147483647 h 284"/>
                <a:gd name="T64" fmla="*/ 2147483647 w 247"/>
                <a:gd name="T65" fmla="*/ 2147483647 h 284"/>
                <a:gd name="T66" fmla="*/ 2147483647 w 247"/>
                <a:gd name="T67" fmla="*/ 2147483647 h 284"/>
                <a:gd name="T68" fmla="*/ 2147483647 w 247"/>
                <a:gd name="T69" fmla="*/ 2147483647 h 284"/>
                <a:gd name="T70" fmla="*/ 2147483647 w 247"/>
                <a:gd name="T71" fmla="*/ 2147483647 h 284"/>
                <a:gd name="T72" fmla="*/ 2147483647 w 247"/>
                <a:gd name="T73" fmla="*/ 2147483647 h 284"/>
                <a:gd name="T74" fmla="*/ 2147483647 w 247"/>
                <a:gd name="T75" fmla="*/ 0 h 284"/>
                <a:gd name="T76" fmla="*/ 2147483647 w 247"/>
                <a:gd name="T77" fmla="*/ 2147483647 h 284"/>
                <a:gd name="T78" fmla="*/ 2147483647 w 247"/>
                <a:gd name="T79" fmla="*/ 2147483647 h 284"/>
                <a:gd name="T80" fmla="*/ 2147483647 w 247"/>
                <a:gd name="T81" fmla="*/ 2147483647 h 284"/>
                <a:gd name="T82" fmla="*/ 2147483647 w 247"/>
                <a:gd name="T83" fmla="*/ 2147483647 h 284"/>
                <a:gd name="T84" fmla="*/ 2147483647 w 247"/>
                <a:gd name="T85" fmla="*/ 2147483647 h 284"/>
                <a:gd name="T86" fmla="*/ 2147483647 w 247"/>
                <a:gd name="T87" fmla="*/ 2147483647 h 284"/>
                <a:gd name="T88" fmla="*/ 2147483647 w 247"/>
                <a:gd name="T89" fmla="*/ 2147483647 h 284"/>
                <a:gd name="T90" fmla="*/ 2147483647 w 247"/>
                <a:gd name="T91" fmla="*/ 2147483647 h 284"/>
                <a:gd name="T92" fmla="*/ 2147483647 w 247"/>
                <a:gd name="T93" fmla="*/ 2147483647 h 284"/>
                <a:gd name="T94" fmla="*/ 2147483647 w 247"/>
                <a:gd name="T95" fmla="*/ 2147483647 h 284"/>
                <a:gd name="T96" fmla="*/ 2147483647 w 247"/>
                <a:gd name="T97" fmla="*/ 2147483647 h 284"/>
                <a:gd name="T98" fmla="*/ 2147483647 w 247"/>
                <a:gd name="T99" fmla="*/ 2147483647 h 284"/>
                <a:gd name="T100" fmla="*/ 2147483647 w 247"/>
                <a:gd name="T101" fmla="*/ 2147483647 h 284"/>
                <a:gd name="T102" fmla="*/ 2147483647 w 247"/>
                <a:gd name="T103" fmla="*/ 2147483647 h 284"/>
                <a:gd name="T104" fmla="*/ 2147483647 w 247"/>
                <a:gd name="T105" fmla="*/ 2147483647 h 284"/>
                <a:gd name="T106" fmla="*/ 2147483647 w 247"/>
                <a:gd name="T107" fmla="*/ 2147483647 h 2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47"/>
                <a:gd name="T163" fmla="*/ 0 h 284"/>
                <a:gd name="T164" fmla="*/ 247 w 247"/>
                <a:gd name="T165" fmla="*/ 284 h 2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30" name="Freeform 56">
              <a:extLst>
                <a:ext uri="{FF2B5EF4-FFF2-40B4-BE49-F238E27FC236}">
                  <a16:creationId xmlns:a16="http://schemas.microsoft.com/office/drawing/2014/main" id="{AD8E0EF2-9B3C-124C-9B9E-258619E24223}"/>
                </a:ext>
              </a:extLst>
            </p:cNvPr>
            <p:cNvSpPr>
              <a:spLocks noEditPoints="1"/>
            </p:cNvSpPr>
            <p:nvPr>
              <p:custDataLst>
                <p:tags r:id="rId23"/>
              </p:custDataLst>
            </p:nvPr>
          </p:nvSpPr>
          <p:spPr bwMode="auto">
            <a:xfrm>
              <a:off x="7412780" y="3121358"/>
              <a:ext cx="807888" cy="888009"/>
            </a:xfrm>
            <a:custGeom>
              <a:avLst/>
              <a:gdLst>
                <a:gd name="T0" fmla="*/ 2147483647 w 1304"/>
                <a:gd name="T1" fmla="*/ 2147483647 h 1578"/>
                <a:gd name="T2" fmla="*/ 2147483647 w 1304"/>
                <a:gd name="T3" fmla="*/ 2147483647 h 1578"/>
                <a:gd name="T4" fmla="*/ 2147483647 w 1304"/>
                <a:gd name="T5" fmla="*/ 2147483647 h 1578"/>
                <a:gd name="T6" fmla="*/ 2147483647 w 1304"/>
                <a:gd name="T7" fmla="*/ 2147483647 h 1578"/>
                <a:gd name="T8" fmla="*/ 2147483647 w 1304"/>
                <a:gd name="T9" fmla="*/ 2147483647 h 1578"/>
                <a:gd name="T10" fmla="*/ 2147483647 w 1304"/>
                <a:gd name="T11" fmla="*/ 2147483647 h 1578"/>
                <a:gd name="T12" fmla="*/ 2147483647 w 1304"/>
                <a:gd name="T13" fmla="*/ 2147483647 h 1578"/>
                <a:gd name="T14" fmla="*/ 2147483647 w 1304"/>
                <a:gd name="T15" fmla="*/ 2147483647 h 1578"/>
                <a:gd name="T16" fmla="*/ 2147483647 w 1304"/>
                <a:gd name="T17" fmla="*/ 2147483647 h 1578"/>
                <a:gd name="T18" fmla="*/ 2147483647 w 1304"/>
                <a:gd name="T19" fmla="*/ 2147483647 h 1578"/>
                <a:gd name="T20" fmla="*/ 2147483647 w 1304"/>
                <a:gd name="T21" fmla="*/ 2147483647 h 1578"/>
                <a:gd name="T22" fmla="*/ 2147483647 w 1304"/>
                <a:gd name="T23" fmla="*/ 2147483647 h 1578"/>
                <a:gd name="T24" fmla="*/ 2147483647 w 1304"/>
                <a:gd name="T25" fmla="*/ 2147483647 h 1578"/>
                <a:gd name="T26" fmla="*/ 2147483647 w 1304"/>
                <a:gd name="T27" fmla="*/ 2147483647 h 1578"/>
                <a:gd name="T28" fmla="*/ 2147483647 w 1304"/>
                <a:gd name="T29" fmla="*/ 2147483647 h 1578"/>
                <a:gd name="T30" fmla="*/ 2147483647 w 1304"/>
                <a:gd name="T31" fmla="*/ 2147483647 h 1578"/>
                <a:gd name="T32" fmla="*/ 2147483647 w 1304"/>
                <a:gd name="T33" fmla="*/ 2147483647 h 1578"/>
                <a:gd name="T34" fmla="*/ 2147483647 w 1304"/>
                <a:gd name="T35" fmla="*/ 2147483647 h 1578"/>
                <a:gd name="T36" fmla="*/ 2147483647 w 1304"/>
                <a:gd name="T37" fmla="*/ 2147483647 h 1578"/>
                <a:gd name="T38" fmla="*/ 2147483647 w 1304"/>
                <a:gd name="T39" fmla="*/ 2147483647 h 1578"/>
                <a:gd name="T40" fmla="*/ 2147483647 w 1304"/>
                <a:gd name="T41" fmla="*/ 2147483647 h 1578"/>
                <a:gd name="T42" fmla="*/ 2147483647 w 1304"/>
                <a:gd name="T43" fmla="*/ 2147483647 h 1578"/>
                <a:gd name="T44" fmla="*/ 2147483647 w 1304"/>
                <a:gd name="T45" fmla="*/ 2147483647 h 1578"/>
                <a:gd name="T46" fmla="*/ 2147483647 w 1304"/>
                <a:gd name="T47" fmla="*/ 2147483647 h 1578"/>
                <a:gd name="T48" fmla="*/ 2147483647 w 1304"/>
                <a:gd name="T49" fmla="*/ 2147483647 h 1578"/>
                <a:gd name="T50" fmla="*/ 2147483647 w 1304"/>
                <a:gd name="T51" fmla="*/ 2147483647 h 1578"/>
                <a:gd name="T52" fmla="*/ 2147483647 w 1304"/>
                <a:gd name="T53" fmla="*/ 2147483647 h 1578"/>
                <a:gd name="T54" fmla="*/ 2147483647 w 1304"/>
                <a:gd name="T55" fmla="*/ 2147483647 h 1578"/>
                <a:gd name="T56" fmla="*/ 2147483647 w 1304"/>
                <a:gd name="T57" fmla="*/ 2147483647 h 1578"/>
                <a:gd name="T58" fmla="*/ 2147483647 w 1304"/>
                <a:gd name="T59" fmla="*/ 2147483647 h 1578"/>
                <a:gd name="T60" fmla="*/ 2147483647 w 1304"/>
                <a:gd name="T61" fmla="*/ 2147483647 h 1578"/>
                <a:gd name="T62" fmla="*/ 2147483647 w 1304"/>
                <a:gd name="T63" fmla="*/ 2147483647 h 1578"/>
                <a:gd name="T64" fmla="*/ 2147483647 w 1304"/>
                <a:gd name="T65" fmla="*/ 2147483647 h 1578"/>
                <a:gd name="T66" fmla="*/ 2147483647 w 1304"/>
                <a:gd name="T67" fmla="*/ 2147483647 h 1578"/>
                <a:gd name="T68" fmla="*/ 2147483647 w 1304"/>
                <a:gd name="T69" fmla="*/ 2147483647 h 1578"/>
                <a:gd name="T70" fmla="*/ 2147483647 w 1304"/>
                <a:gd name="T71" fmla="*/ 2147483647 h 1578"/>
                <a:gd name="T72" fmla="*/ 2147483647 w 1304"/>
                <a:gd name="T73" fmla="*/ 2147483647 h 1578"/>
                <a:gd name="T74" fmla="*/ 2147483647 w 1304"/>
                <a:gd name="T75" fmla="*/ 2147483647 h 1578"/>
                <a:gd name="T76" fmla="*/ 2147483647 w 1304"/>
                <a:gd name="T77" fmla="*/ 2147483647 h 1578"/>
                <a:gd name="T78" fmla="*/ 2147483647 w 1304"/>
                <a:gd name="T79" fmla="*/ 2147483647 h 1578"/>
                <a:gd name="T80" fmla="*/ 2147483647 w 1304"/>
                <a:gd name="T81" fmla="*/ 2147483647 h 1578"/>
                <a:gd name="T82" fmla="*/ 2147483647 w 1304"/>
                <a:gd name="T83" fmla="*/ 2147483647 h 1578"/>
                <a:gd name="T84" fmla="*/ 2147483647 w 1304"/>
                <a:gd name="T85" fmla="*/ 2147483647 h 1578"/>
                <a:gd name="T86" fmla="*/ 2147483647 w 1304"/>
                <a:gd name="T87" fmla="*/ 2147483647 h 1578"/>
                <a:gd name="T88" fmla="*/ 2147483647 w 1304"/>
                <a:gd name="T89" fmla="*/ 2147483647 h 1578"/>
                <a:gd name="T90" fmla="*/ 2147483647 w 1304"/>
                <a:gd name="T91" fmla="*/ 2147483647 h 1578"/>
                <a:gd name="T92" fmla="*/ 2147483647 w 1304"/>
                <a:gd name="T93" fmla="*/ 2147483647 h 1578"/>
                <a:gd name="T94" fmla="*/ 2147483647 w 1304"/>
                <a:gd name="T95" fmla="*/ 2147483647 h 1578"/>
                <a:gd name="T96" fmla="*/ 2147483647 w 1304"/>
                <a:gd name="T97" fmla="*/ 2147483647 h 1578"/>
                <a:gd name="T98" fmla="*/ 2147483647 w 1304"/>
                <a:gd name="T99" fmla="*/ 2147483647 h 1578"/>
                <a:gd name="T100" fmla="*/ 2147483647 w 1304"/>
                <a:gd name="T101" fmla="*/ 2147483647 h 1578"/>
                <a:gd name="T102" fmla="*/ 2147483647 w 1304"/>
                <a:gd name="T103" fmla="*/ 2147483647 h 1578"/>
                <a:gd name="T104" fmla="*/ 2147483647 w 1304"/>
                <a:gd name="T105" fmla="*/ 2147483647 h 1578"/>
                <a:gd name="T106" fmla="*/ 2147483647 w 1304"/>
                <a:gd name="T107" fmla="*/ 2147483647 h 1578"/>
                <a:gd name="T108" fmla="*/ 2147483647 w 1304"/>
                <a:gd name="T109" fmla="*/ 2147483647 h 1578"/>
                <a:gd name="T110" fmla="*/ 2147483647 w 1304"/>
                <a:gd name="T111" fmla="*/ 2147483647 h 1578"/>
                <a:gd name="T112" fmla="*/ 2147483647 w 1304"/>
                <a:gd name="T113" fmla="*/ 2147483647 h 15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04"/>
                <a:gd name="T172" fmla="*/ 0 h 1578"/>
                <a:gd name="T173" fmla="*/ 1304 w 1304"/>
                <a:gd name="T174" fmla="*/ 1578 h 157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31" name="Freeform 57">
              <a:extLst>
                <a:ext uri="{FF2B5EF4-FFF2-40B4-BE49-F238E27FC236}">
                  <a16:creationId xmlns:a16="http://schemas.microsoft.com/office/drawing/2014/main" id="{F64345EF-B923-0247-914F-B7237F9E980C}"/>
                </a:ext>
              </a:extLst>
            </p:cNvPr>
            <p:cNvSpPr>
              <a:spLocks/>
            </p:cNvSpPr>
            <p:nvPr>
              <p:custDataLst>
                <p:tags r:id="rId24"/>
              </p:custDataLst>
            </p:nvPr>
          </p:nvSpPr>
          <p:spPr bwMode="auto">
            <a:xfrm>
              <a:off x="8105494" y="3350036"/>
              <a:ext cx="262064" cy="560848"/>
            </a:xfrm>
            <a:custGeom>
              <a:avLst/>
              <a:gdLst>
                <a:gd name="T0" fmla="*/ 2147483647 w 426"/>
                <a:gd name="T1" fmla="*/ 2147483647 h 1001"/>
                <a:gd name="T2" fmla="*/ 2147483647 w 426"/>
                <a:gd name="T3" fmla="*/ 2147483647 h 1001"/>
                <a:gd name="T4" fmla="*/ 2147483647 w 426"/>
                <a:gd name="T5" fmla="*/ 2147483647 h 1001"/>
                <a:gd name="T6" fmla="*/ 2147483647 w 426"/>
                <a:gd name="T7" fmla="*/ 2147483647 h 1001"/>
                <a:gd name="T8" fmla="*/ 2147483647 w 426"/>
                <a:gd name="T9" fmla="*/ 2147483647 h 1001"/>
                <a:gd name="T10" fmla="*/ 2147483647 w 426"/>
                <a:gd name="T11" fmla="*/ 2147483647 h 1001"/>
                <a:gd name="T12" fmla="*/ 2147483647 w 426"/>
                <a:gd name="T13" fmla="*/ 2147483647 h 1001"/>
                <a:gd name="T14" fmla="*/ 2147483647 w 426"/>
                <a:gd name="T15" fmla="*/ 2147483647 h 1001"/>
                <a:gd name="T16" fmla="*/ 2147483647 w 426"/>
                <a:gd name="T17" fmla="*/ 2147483647 h 1001"/>
                <a:gd name="T18" fmla="*/ 2147483647 w 426"/>
                <a:gd name="T19" fmla="*/ 2147483647 h 1001"/>
                <a:gd name="T20" fmla="*/ 2147483647 w 426"/>
                <a:gd name="T21" fmla="*/ 2147483647 h 1001"/>
                <a:gd name="T22" fmla="*/ 2147483647 w 426"/>
                <a:gd name="T23" fmla="*/ 2147483647 h 1001"/>
                <a:gd name="T24" fmla="*/ 2147483647 w 426"/>
                <a:gd name="T25" fmla="*/ 2147483647 h 1001"/>
                <a:gd name="T26" fmla="*/ 2147483647 w 426"/>
                <a:gd name="T27" fmla="*/ 2147483647 h 1001"/>
                <a:gd name="T28" fmla="*/ 2147483647 w 426"/>
                <a:gd name="T29" fmla="*/ 2147483647 h 1001"/>
                <a:gd name="T30" fmla="*/ 2147483647 w 426"/>
                <a:gd name="T31" fmla="*/ 2147483647 h 1001"/>
                <a:gd name="T32" fmla="*/ 2147483647 w 426"/>
                <a:gd name="T33" fmla="*/ 2147483647 h 1001"/>
                <a:gd name="T34" fmla="*/ 2147483647 w 426"/>
                <a:gd name="T35" fmla="*/ 2147483647 h 1001"/>
                <a:gd name="T36" fmla="*/ 2147483647 w 426"/>
                <a:gd name="T37" fmla="*/ 2147483647 h 1001"/>
                <a:gd name="T38" fmla="*/ 2147483647 w 426"/>
                <a:gd name="T39" fmla="*/ 2147483647 h 1001"/>
                <a:gd name="T40" fmla="*/ 2147483647 w 426"/>
                <a:gd name="T41" fmla="*/ 2147483647 h 1001"/>
                <a:gd name="T42" fmla="*/ 2147483647 w 426"/>
                <a:gd name="T43" fmla="*/ 2147483647 h 1001"/>
                <a:gd name="T44" fmla="*/ 2147483647 w 426"/>
                <a:gd name="T45" fmla="*/ 2147483647 h 1001"/>
                <a:gd name="T46" fmla="*/ 2147483647 w 426"/>
                <a:gd name="T47" fmla="*/ 2147483647 h 1001"/>
                <a:gd name="T48" fmla="*/ 2147483647 w 426"/>
                <a:gd name="T49" fmla="*/ 2147483647 h 1001"/>
                <a:gd name="T50" fmla="*/ 2147483647 w 426"/>
                <a:gd name="T51" fmla="*/ 2147483647 h 1001"/>
                <a:gd name="T52" fmla="*/ 2147483647 w 426"/>
                <a:gd name="T53" fmla="*/ 2147483647 h 1001"/>
                <a:gd name="T54" fmla="*/ 2147483647 w 426"/>
                <a:gd name="T55" fmla="*/ 2147483647 h 1001"/>
                <a:gd name="T56" fmla="*/ 2147483647 w 426"/>
                <a:gd name="T57" fmla="*/ 2147483647 h 1001"/>
                <a:gd name="T58" fmla="*/ 2147483647 w 426"/>
                <a:gd name="T59" fmla="*/ 2147483647 h 1001"/>
                <a:gd name="T60" fmla="*/ 2147483647 w 426"/>
                <a:gd name="T61" fmla="*/ 2147483647 h 1001"/>
                <a:gd name="T62" fmla="*/ 2147483647 w 426"/>
                <a:gd name="T63" fmla="*/ 2147483647 h 1001"/>
                <a:gd name="T64" fmla="*/ 2147483647 w 426"/>
                <a:gd name="T65" fmla="*/ 2147483647 h 1001"/>
                <a:gd name="T66" fmla="*/ 2147483647 w 426"/>
                <a:gd name="T67" fmla="*/ 2147483647 h 1001"/>
                <a:gd name="T68" fmla="*/ 2147483647 w 426"/>
                <a:gd name="T69" fmla="*/ 2147483647 h 1001"/>
                <a:gd name="T70" fmla="*/ 2147483647 w 426"/>
                <a:gd name="T71" fmla="*/ 2147483647 h 1001"/>
                <a:gd name="T72" fmla="*/ 2147483647 w 426"/>
                <a:gd name="T73" fmla="*/ 2147483647 h 1001"/>
                <a:gd name="T74" fmla="*/ 2147483647 w 426"/>
                <a:gd name="T75" fmla="*/ 2147483647 h 1001"/>
                <a:gd name="T76" fmla="*/ 2147483647 w 426"/>
                <a:gd name="T77" fmla="*/ 2147483647 h 1001"/>
                <a:gd name="T78" fmla="*/ 2147483647 w 426"/>
                <a:gd name="T79" fmla="*/ 2147483647 h 1001"/>
                <a:gd name="T80" fmla="*/ 2147483647 w 426"/>
                <a:gd name="T81" fmla="*/ 2147483647 h 1001"/>
                <a:gd name="T82" fmla="*/ 2147483647 w 426"/>
                <a:gd name="T83" fmla="*/ 2147483647 h 1001"/>
                <a:gd name="T84" fmla="*/ 2147483647 w 426"/>
                <a:gd name="T85" fmla="*/ 2147483647 h 10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6"/>
                <a:gd name="T130" fmla="*/ 0 h 1001"/>
                <a:gd name="T131" fmla="*/ 426 w 426"/>
                <a:gd name="T132" fmla="*/ 1001 h 100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32" name="Freeform 58">
              <a:extLst>
                <a:ext uri="{FF2B5EF4-FFF2-40B4-BE49-F238E27FC236}">
                  <a16:creationId xmlns:a16="http://schemas.microsoft.com/office/drawing/2014/main" id="{6E3B58A8-D1FA-A642-BBCD-076721A1389E}"/>
                </a:ext>
              </a:extLst>
            </p:cNvPr>
            <p:cNvSpPr>
              <a:spLocks/>
            </p:cNvSpPr>
            <p:nvPr>
              <p:custDataLst>
                <p:tags r:id="rId25"/>
              </p:custDataLst>
            </p:nvPr>
          </p:nvSpPr>
          <p:spPr bwMode="auto">
            <a:xfrm>
              <a:off x="8829922" y="2917716"/>
              <a:ext cx="138544" cy="158572"/>
            </a:xfrm>
            <a:custGeom>
              <a:avLst/>
              <a:gdLst>
                <a:gd name="T0" fmla="*/ 2147483647 w 220"/>
                <a:gd name="T1" fmla="*/ 0 h 280"/>
                <a:gd name="T2" fmla="*/ 2147483647 w 220"/>
                <a:gd name="T3" fmla="*/ 0 h 280"/>
                <a:gd name="T4" fmla="*/ 2147483647 w 220"/>
                <a:gd name="T5" fmla="*/ 2147483647 h 280"/>
                <a:gd name="T6" fmla="*/ 2147483647 w 220"/>
                <a:gd name="T7" fmla="*/ 2147483647 h 280"/>
                <a:gd name="T8" fmla="*/ 2147483647 w 220"/>
                <a:gd name="T9" fmla="*/ 2147483647 h 280"/>
                <a:gd name="T10" fmla="*/ 2147483647 w 220"/>
                <a:gd name="T11" fmla="*/ 2147483647 h 280"/>
                <a:gd name="T12" fmla="*/ 2147483647 w 220"/>
                <a:gd name="T13" fmla="*/ 2147483647 h 280"/>
                <a:gd name="T14" fmla="*/ 2147483647 w 220"/>
                <a:gd name="T15" fmla="*/ 2147483647 h 280"/>
                <a:gd name="T16" fmla="*/ 2147483647 w 220"/>
                <a:gd name="T17" fmla="*/ 2147483647 h 280"/>
                <a:gd name="T18" fmla="*/ 2147483647 w 220"/>
                <a:gd name="T19" fmla="*/ 2147483647 h 280"/>
                <a:gd name="T20" fmla="*/ 2147483647 w 220"/>
                <a:gd name="T21" fmla="*/ 2147483647 h 280"/>
                <a:gd name="T22" fmla="*/ 2147483647 w 220"/>
                <a:gd name="T23" fmla="*/ 2147483647 h 280"/>
                <a:gd name="T24" fmla="*/ 2147483647 w 220"/>
                <a:gd name="T25" fmla="*/ 2147483647 h 280"/>
                <a:gd name="T26" fmla="*/ 0 w 220"/>
                <a:gd name="T27" fmla="*/ 2147483647 h 280"/>
                <a:gd name="T28" fmla="*/ 2147483647 w 220"/>
                <a:gd name="T29" fmla="*/ 2147483647 h 280"/>
                <a:gd name="T30" fmla="*/ 2147483647 w 220"/>
                <a:gd name="T31" fmla="*/ 2147483647 h 280"/>
                <a:gd name="T32" fmla="*/ 2147483647 w 220"/>
                <a:gd name="T33" fmla="*/ 2147483647 h 280"/>
                <a:gd name="T34" fmla="*/ 2147483647 w 220"/>
                <a:gd name="T35" fmla="*/ 2147483647 h 280"/>
                <a:gd name="T36" fmla="*/ 2147483647 w 220"/>
                <a:gd name="T37" fmla="*/ 2147483647 h 280"/>
                <a:gd name="T38" fmla="*/ 2147483647 w 220"/>
                <a:gd name="T39" fmla="*/ 2147483647 h 280"/>
                <a:gd name="T40" fmla="*/ 2147483647 w 220"/>
                <a:gd name="T41" fmla="*/ 2147483647 h 280"/>
                <a:gd name="T42" fmla="*/ 2147483647 w 220"/>
                <a:gd name="T43" fmla="*/ 2147483647 h 280"/>
                <a:gd name="T44" fmla="*/ 2147483647 w 220"/>
                <a:gd name="T45" fmla="*/ 2147483647 h 280"/>
                <a:gd name="T46" fmla="*/ 2147483647 w 220"/>
                <a:gd name="T47" fmla="*/ 2147483647 h 280"/>
                <a:gd name="T48" fmla="*/ 2147483647 w 220"/>
                <a:gd name="T49" fmla="*/ 2147483647 h 280"/>
                <a:gd name="T50" fmla="*/ 2147483647 w 220"/>
                <a:gd name="T51" fmla="*/ 2147483647 h 280"/>
                <a:gd name="T52" fmla="*/ 2147483647 w 220"/>
                <a:gd name="T53" fmla="*/ 2147483647 h 280"/>
                <a:gd name="T54" fmla="*/ 2147483647 w 220"/>
                <a:gd name="T55" fmla="*/ 2147483647 h 280"/>
                <a:gd name="T56" fmla="*/ 2147483647 w 220"/>
                <a:gd name="T57" fmla="*/ 2147483647 h 280"/>
                <a:gd name="T58" fmla="*/ 2147483647 w 220"/>
                <a:gd name="T59" fmla="*/ 2147483647 h 280"/>
                <a:gd name="T60" fmla="*/ 2147483647 w 220"/>
                <a:gd name="T61" fmla="*/ 2147483647 h 280"/>
                <a:gd name="T62" fmla="*/ 2147483647 w 220"/>
                <a:gd name="T63" fmla="*/ 2147483647 h 280"/>
                <a:gd name="T64" fmla="*/ 2147483647 w 220"/>
                <a:gd name="T65" fmla="*/ 2147483647 h 280"/>
                <a:gd name="T66" fmla="*/ 2147483647 w 220"/>
                <a:gd name="T67" fmla="*/ 2147483647 h 280"/>
                <a:gd name="T68" fmla="*/ 2147483647 w 220"/>
                <a:gd name="T69" fmla="*/ 2147483647 h 280"/>
                <a:gd name="T70" fmla="*/ 2147483647 w 220"/>
                <a:gd name="T71" fmla="*/ 2147483647 h 280"/>
                <a:gd name="T72" fmla="*/ 2147483647 w 220"/>
                <a:gd name="T73" fmla="*/ 2147483647 h 280"/>
                <a:gd name="T74" fmla="*/ 2147483647 w 220"/>
                <a:gd name="T75" fmla="*/ 2147483647 h 280"/>
                <a:gd name="T76" fmla="*/ 2147483647 w 220"/>
                <a:gd name="T77" fmla="*/ 2147483647 h 280"/>
                <a:gd name="T78" fmla="*/ 2147483647 w 220"/>
                <a:gd name="T79" fmla="*/ 2147483647 h 280"/>
                <a:gd name="T80" fmla="*/ 2147483647 w 220"/>
                <a:gd name="T81" fmla="*/ 2147483647 h 280"/>
                <a:gd name="T82" fmla="*/ 2147483647 w 220"/>
                <a:gd name="T83" fmla="*/ 2147483647 h 280"/>
                <a:gd name="T84" fmla="*/ 2147483647 w 220"/>
                <a:gd name="T85" fmla="*/ 2147483647 h 280"/>
                <a:gd name="T86" fmla="*/ 2147483647 w 220"/>
                <a:gd name="T87" fmla="*/ 2147483647 h 280"/>
                <a:gd name="T88" fmla="*/ 2147483647 w 220"/>
                <a:gd name="T89" fmla="*/ 2147483647 h 280"/>
                <a:gd name="T90" fmla="*/ 2147483647 w 220"/>
                <a:gd name="T91" fmla="*/ 2147483647 h 280"/>
                <a:gd name="T92" fmla="*/ 2147483647 w 220"/>
                <a:gd name="T93" fmla="*/ 0 h 28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0"/>
                <a:gd name="T142" fmla="*/ 0 h 280"/>
                <a:gd name="T143" fmla="*/ 220 w 220"/>
                <a:gd name="T144" fmla="*/ 280 h 28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33" name="Freeform 60">
              <a:extLst>
                <a:ext uri="{FF2B5EF4-FFF2-40B4-BE49-F238E27FC236}">
                  <a16:creationId xmlns:a16="http://schemas.microsoft.com/office/drawing/2014/main" id="{CC352312-122C-424F-BAFC-57B15B185442}"/>
                </a:ext>
              </a:extLst>
            </p:cNvPr>
            <p:cNvSpPr>
              <a:spLocks/>
            </p:cNvSpPr>
            <p:nvPr>
              <p:custDataLst>
                <p:tags r:id="rId26"/>
              </p:custDataLst>
            </p:nvPr>
          </p:nvSpPr>
          <p:spPr bwMode="auto">
            <a:xfrm>
              <a:off x="5850416" y="3114681"/>
              <a:ext cx="20030" cy="16692"/>
            </a:xfrm>
            <a:custGeom>
              <a:avLst/>
              <a:gdLst>
                <a:gd name="T0" fmla="*/ 2147483647 w 34"/>
                <a:gd name="T1" fmla="*/ 2147483647 h 33"/>
                <a:gd name="T2" fmla="*/ 2147483647 w 34"/>
                <a:gd name="T3" fmla="*/ 2147483647 h 33"/>
                <a:gd name="T4" fmla="*/ 2147483647 w 34"/>
                <a:gd name="T5" fmla="*/ 2147483647 h 33"/>
                <a:gd name="T6" fmla="*/ 0 60000 65536"/>
                <a:gd name="T7" fmla="*/ 0 60000 65536"/>
                <a:gd name="T8" fmla="*/ 0 60000 65536"/>
                <a:gd name="T9" fmla="*/ 0 w 34"/>
                <a:gd name="T10" fmla="*/ 0 h 33"/>
                <a:gd name="T11" fmla="*/ 34 w 34"/>
                <a:gd name="T12" fmla="*/ 33 h 33"/>
              </a:gdLst>
              <a:ahLst/>
              <a:cxnLst>
                <a:cxn ang="T6">
                  <a:pos x="T0" y="T1"/>
                </a:cxn>
                <a:cxn ang="T7">
                  <a:pos x="T2" y="T3"/>
                </a:cxn>
                <a:cxn ang="T8">
                  <a:pos x="T4" y="T5"/>
                </a:cxn>
              </a:cxnLst>
              <a:rect l="T9" t="T10" r="T11" b="T12"/>
              <a:pathLst>
                <a:path w="34" h="33">
                  <a:moveTo>
                    <a:pt x="23" y="33"/>
                  </a:moveTo>
                  <a:cubicBezTo>
                    <a:pt x="34" y="20"/>
                    <a:pt x="16" y="0"/>
                    <a:pt x="8" y="14"/>
                  </a:cubicBezTo>
                  <a:cubicBezTo>
                    <a:pt x="0" y="28"/>
                    <a:pt x="23" y="33"/>
                    <a:pt x="23" y="33"/>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34" name="Freeform 61">
              <a:extLst>
                <a:ext uri="{FF2B5EF4-FFF2-40B4-BE49-F238E27FC236}">
                  <a16:creationId xmlns:a16="http://schemas.microsoft.com/office/drawing/2014/main" id="{92F43F3A-82EF-C249-8A58-AAF61A7384D6}"/>
                </a:ext>
              </a:extLst>
            </p:cNvPr>
            <p:cNvSpPr>
              <a:spLocks/>
            </p:cNvSpPr>
            <p:nvPr>
              <p:custDataLst>
                <p:tags r:id="rId27"/>
              </p:custDataLst>
            </p:nvPr>
          </p:nvSpPr>
          <p:spPr bwMode="auto">
            <a:xfrm>
              <a:off x="6352843" y="3138049"/>
              <a:ext cx="60090" cy="31713"/>
            </a:xfrm>
            <a:custGeom>
              <a:avLst/>
              <a:gdLst>
                <a:gd name="T0" fmla="*/ 2147483647 w 98"/>
                <a:gd name="T1" fmla="*/ 2147483647 h 60"/>
                <a:gd name="T2" fmla="*/ 2147483647 w 98"/>
                <a:gd name="T3" fmla="*/ 2147483647 h 60"/>
                <a:gd name="T4" fmla="*/ 2147483647 w 98"/>
                <a:gd name="T5" fmla="*/ 2147483647 h 60"/>
                <a:gd name="T6" fmla="*/ 2147483647 w 98"/>
                <a:gd name="T7" fmla="*/ 2147483647 h 60"/>
                <a:gd name="T8" fmla="*/ 2147483647 w 98"/>
                <a:gd name="T9" fmla="*/ 2147483647 h 60"/>
                <a:gd name="T10" fmla="*/ 2147483647 w 98"/>
                <a:gd name="T11" fmla="*/ 0 h 60"/>
                <a:gd name="T12" fmla="*/ 2147483647 w 98"/>
                <a:gd name="T13" fmla="*/ 2147483647 h 60"/>
                <a:gd name="T14" fmla="*/ 2147483647 w 98"/>
                <a:gd name="T15" fmla="*/ 2147483647 h 60"/>
                <a:gd name="T16" fmla="*/ 2147483647 w 98"/>
                <a:gd name="T17" fmla="*/ 2147483647 h 60"/>
                <a:gd name="T18" fmla="*/ 2147483647 w 98"/>
                <a:gd name="T19" fmla="*/ 2147483647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60"/>
                <a:gd name="T32" fmla="*/ 98 w 98"/>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35" name="Freeform 62">
              <a:extLst>
                <a:ext uri="{FF2B5EF4-FFF2-40B4-BE49-F238E27FC236}">
                  <a16:creationId xmlns:a16="http://schemas.microsoft.com/office/drawing/2014/main" id="{F0CD009B-B7CA-464D-A113-0AD191A6E041}"/>
                </a:ext>
              </a:extLst>
            </p:cNvPr>
            <p:cNvSpPr>
              <a:spLocks/>
            </p:cNvSpPr>
            <p:nvPr>
              <p:custDataLst>
                <p:tags r:id="rId28"/>
              </p:custDataLst>
            </p:nvPr>
          </p:nvSpPr>
          <p:spPr bwMode="auto">
            <a:xfrm>
              <a:off x="4975761" y="2250040"/>
              <a:ext cx="245371" cy="85128"/>
            </a:xfrm>
            <a:custGeom>
              <a:avLst/>
              <a:gdLst>
                <a:gd name="T0" fmla="*/ 2147483647 w 396"/>
                <a:gd name="T1" fmla="*/ 2147483647 h 152"/>
                <a:gd name="T2" fmla="*/ 2147483647 w 396"/>
                <a:gd name="T3" fmla="*/ 2147483647 h 152"/>
                <a:gd name="T4" fmla="*/ 2147483647 w 396"/>
                <a:gd name="T5" fmla="*/ 2147483647 h 152"/>
                <a:gd name="T6" fmla="*/ 2147483647 w 396"/>
                <a:gd name="T7" fmla="*/ 2147483647 h 152"/>
                <a:gd name="T8" fmla="*/ 2147483647 w 396"/>
                <a:gd name="T9" fmla="*/ 2147483647 h 152"/>
                <a:gd name="T10" fmla="*/ 2147483647 w 396"/>
                <a:gd name="T11" fmla="*/ 2147483647 h 152"/>
                <a:gd name="T12" fmla="*/ 2147483647 w 396"/>
                <a:gd name="T13" fmla="*/ 2147483647 h 152"/>
                <a:gd name="T14" fmla="*/ 2147483647 w 396"/>
                <a:gd name="T15" fmla="*/ 2147483647 h 152"/>
                <a:gd name="T16" fmla="*/ 2147483647 w 396"/>
                <a:gd name="T17" fmla="*/ 2147483647 h 152"/>
                <a:gd name="T18" fmla="*/ 2147483647 w 396"/>
                <a:gd name="T19" fmla="*/ 2147483647 h 152"/>
                <a:gd name="T20" fmla="*/ 2147483647 w 396"/>
                <a:gd name="T21" fmla="*/ 2147483647 h 152"/>
                <a:gd name="T22" fmla="*/ 2147483647 w 396"/>
                <a:gd name="T23" fmla="*/ 2147483647 h 152"/>
                <a:gd name="T24" fmla="*/ 2147483647 w 396"/>
                <a:gd name="T25" fmla="*/ 2147483647 h 152"/>
                <a:gd name="T26" fmla="*/ 2147483647 w 396"/>
                <a:gd name="T27" fmla="*/ 2147483647 h 152"/>
                <a:gd name="T28" fmla="*/ 2147483647 w 396"/>
                <a:gd name="T29" fmla="*/ 2147483647 h 152"/>
                <a:gd name="T30" fmla="*/ 2147483647 w 396"/>
                <a:gd name="T31" fmla="*/ 2147483647 h 152"/>
                <a:gd name="T32" fmla="*/ 2147483647 w 396"/>
                <a:gd name="T33" fmla="*/ 2147483647 h 152"/>
                <a:gd name="T34" fmla="*/ 2147483647 w 396"/>
                <a:gd name="T35" fmla="*/ 2147483647 h 152"/>
                <a:gd name="T36" fmla="*/ 2147483647 w 396"/>
                <a:gd name="T37" fmla="*/ 2147483647 h 152"/>
                <a:gd name="T38" fmla="*/ 2147483647 w 396"/>
                <a:gd name="T39" fmla="*/ 2147483647 h 152"/>
                <a:gd name="T40" fmla="*/ 2147483647 w 396"/>
                <a:gd name="T41" fmla="*/ 2147483647 h 152"/>
                <a:gd name="T42" fmla="*/ 2147483647 w 396"/>
                <a:gd name="T43" fmla="*/ 2147483647 h 152"/>
                <a:gd name="T44" fmla="*/ 2147483647 w 396"/>
                <a:gd name="T45" fmla="*/ 2147483647 h 152"/>
                <a:gd name="T46" fmla="*/ 2147483647 w 396"/>
                <a:gd name="T47" fmla="*/ 2147483647 h 152"/>
                <a:gd name="T48" fmla="*/ 2147483647 w 396"/>
                <a:gd name="T49" fmla="*/ 2147483647 h 152"/>
                <a:gd name="T50" fmla="*/ 2147483647 w 396"/>
                <a:gd name="T51" fmla="*/ 2147483647 h 152"/>
                <a:gd name="T52" fmla="*/ 2147483647 w 396"/>
                <a:gd name="T53" fmla="*/ 2147483647 h 152"/>
                <a:gd name="T54" fmla="*/ 2147483647 w 396"/>
                <a:gd name="T55" fmla="*/ 2147483647 h 152"/>
                <a:gd name="T56" fmla="*/ 2147483647 w 396"/>
                <a:gd name="T57" fmla="*/ 2147483647 h 152"/>
                <a:gd name="T58" fmla="*/ 2147483647 w 396"/>
                <a:gd name="T59" fmla="*/ 2147483647 h 152"/>
                <a:gd name="T60" fmla="*/ 2147483647 w 396"/>
                <a:gd name="T61" fmla="*/ 2147483647 h 152"/>
                <a:gd name="T62" fmla="*/ 2147483647 w 396"/>
                <a:gd name="T63" fmla="*/ 2147483647 h 152"/>
                <a:gd name="T64" fmla="*/ 2147483647 w 396"/>
                <a:gd name="T65" fmla="*/ 2147483647 h 1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96"/>
                <a:gd name="T100" fmla="*/ 0 h 152"/>
                <a:gd name="T101" fmla="*/ 396 w 396"/>
                <a:gd name="T102" fmla="*/ 152 h 1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36" name="Freeform 63">
              <a:extLst>
                <a:ext uri="{FF2B5EF4-FFF2-40B4-BE49-F238E27FC236}">
                  <a16:creationId xmlns:a16="http://schemas.microsoft.com/office/drawing/2014/main" id="{DFB63CF2-2366-E945-B3AD-7C92724E3000}"/>
                </a:ext>
              </a:extLst>
            </p:cNvPr>
            <p:cNvSpPr>
              <a:spLocks/>
            </p:cNvSpPr>
            <p:nvPr>
              <p:custDataLst>
                <p:tags r:id="rId29"/>
              </p:custDataLst>
            </p:nvPr>
          </p:nvSpPr>
          <p:spPr bwMode="auto">
            <a:xfrm>
              <a:off x="6932052" y="3410127"/>
              <a:ext cx="138543" cy="120182"/>
            </a:xfrm>
            <a:custGeom>
              <a:avLst/>
              <a:gdLst>
                <a:gd name="T0" fmla="*/ 2147483647 w 224"/>
                <a:gd name="T1" fmla="*/ 2147483647 h 215"/>
                <a:gd name="T2" fmla="*/ 2147483647 w 224"/>
                <a:gd name="T3" fmla="*/ 2147483647 h 215"/>
                <a:gd name="T4" fmla="*/ 2147483647 w 224"/>
                <a:gd name="T5" fmla="*/ 2147483647 h 215"/>
                <a:gd name="T6" fmla="*/ 2147483647 w 224"/>
                <a:gd name="T7" fmla="*/ 2147483647 h 215"/>
                <a:gd name="T8" fmla="*/ 2147483647 w 224"/>
                <a:gd name="T9" fmla="*/ 2147483647 h 215"/>
                <a:gd name="T10" fmla="*/ 2147483647 w 224"/>
                <a:gd name="T11" fmla="*/ 2147483647 h 215"/>
                <a:gd name="T12" fmla="*/ 2147483647 w 224"/>
                <a:gd name="T13" fmla="*/ 2147483647 h 215"/>
                <a:gd name="T14" fmla="*/ 2147483647 w 224"/>
                <a:gd name="T15" fmla="*/ 2147483647 h 215"/>
                <a:gd name="T16" fmla="*/ 2147483647 w 224"/>
                <a:gd name="T17" fmla="*/ 2147483647 h 215"/>
                <a:gd name="T18" fmla="*/ 2147483647 w 224"/>
                <a:gd name="T19" fmla="*/ 2147483647 h 215"/>
                <a:gd name="T20" fmla="*/ 2147483647 w 224"/>
                <a:gd name="T21" fmla="*/ 2147483647 h 215"/>
                <a:gd name="T22" fmla="*/ 2147483647 w 224"/>
                <a:gd name="T23" fmla="*/ 2147483647 h 215"/>
                <a:gd name="T24" fmla="*/ 2147483647 w 224"/>
                <a:gd name="T25" fmla="*/ 2147483647 h 215"/>
                <a:gd name="T26" fmla="*/ 2147483647 w 224"/>
                <a:gd name="T27" fmla="*/ 2147483647 h 215"/>
                <a:gd name="T28" fmla="*/ 2147483647 w 224"/>
                <a:gd name="T29" fmla="*/ 2147483647 h 215"/>
                <a:gd name="T30" fmla="*/ 2147483647 w 224"/>
                <a:gd name="T31" fmla="*/ 2147483647 h 215"/>
                <a:gd name="T32" fmla="*/ 2147483647 w 224"/>
                <a:gd name="T33" fmla="*/ 2147483647 h 215"/>
                <a:gd name="T34" fmla="*/ 2147483647 w 224"/>
                <a:gd name="T35" fmla="*/ 2147483647 h 215"/>
                <a:gd name="T36" fmla="*/ 2147483647 w 224"/>
                <a:gd name="T37" fmla="*/ 2147483647 h 215"/>
                <a:gd name="T38" fmla="*/ 2147483647 w 224"/>
                <a:gd name="T39" fmla="*/ 2147483647 h 215"/>
                <a:gd name="T40" fmla="*/ 2147483647 w 224"/>
                <a:gd name="T41" fmla="*/ 2147483647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4"/>
                <a:gd name="T64" fmla="*/ 0 h 215"/>
                <a:gd name="T65" fmla="*/ 224 w 224"/>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37" name="Freeform 64">
              <a:extLst>
                <a:ext uri="{FF2B5EF4-FFF2-40B4-BE49-F238E27FC236}">
                  <a16:creationId xmlns:a16="http://schemas.microsoft.com/office/drawing/2014/main" id="{26B01953-2423-9445-87FD-80D4A6571539}"/>
                </a:ext>
              </a:extLst>
            </p:cNvPr>
            <p:cNvSpPr>
              <a:spLocks/>
            </p:cNvSpPr>
            <p:nvPr>
              <p:custDataLst>
                <p:tags r:id="rId30"/>
              </p:custDataLst>
            </p:nvPr>
          </p:nvSpPr>
          <p:spPr bwMode="auto">
            <a:xfrm>
              <a:off x="6955422" y="3455196"/>
              <a:ext cx="225341" cy="250378"/>
            </a:xfrm>
            <a:custGeom>
              <a:avLst/>
              <a:gdLst>
                <a:gd name="T0" fmla="*/ 2147483647 w 364"/>
                <a:gd name="T1" fmla="*/ 2147483647 h 445"/>
                <a:gd name="T2" fmla="*/ 2147483647 w 364"/>
                <a:gd name="T3" fmla="*/ 2147483647 h 445"/>
                <a:gd name="T4" fmla="*/ 2147483647 w 364"/>
                <a:gd name="T5" fmla="*/ 2147483647 h 445"/>
                <a:gd name="T6" fmla="*/ 2147483647 w 364"/>
                <a:gd name="T7" fmla="*/ 2147483647 h 445"/>
                <a:gd name="T8" fmla="*/ 2147483647 w 364"/>
                <a:gd name="T9" fmla="*/ 2147483647 h 445"/>
                <a:gd name="T10" fmla="*/ 2147483647 w 364"/>
                <a:gd name="T11" fmla="*/ 2147483647 h 445"/>
                <a:gd name="T12" fmla="*/ 2147483647 w 364"/>
                <a:gd name="T13" fmla="*/ 2147483647 h 445"/>
                <a:gd name="T14" fmla="*/ 2147483647 w 364"/>
                <a:gd name="T15" fmla="*/ 2147483647 h 445"/>
                <a:gd name="T16" fmla="*/ 2147483647 w 364"/>
                <a:gd name="T17" fmla="*/ 2147483647 h 445"/>
                <a:gd name="T18" fmla="*/ 2147483647 w 364"/>
                <a:gd name="T19" fmla="*/ 2147483647 h 445"/>
                <a:gd name="T20" fmla="*/ 2147483647 w 364"/>
                <a:gd name="T21" fmla="*/ 2147483647 h 445"/>
                <a:gd name="T22" fmla="*/ 2147483647 w 364"/>
                <a:gd name="T23" fmla="*/ 2147483647 h 445"/>
                <a:gd name="T24" fmla="*/ 2147483647 w 364"/>
                <a:gd name="T25" fmla="*/ 2147483647 h 445"/>
                <a:gd name="T26" fmla="*/ 2147483647 w 364"/>
                <a:gd name="T27" fmla="*/ 2147483647 h 445"/>
                <a:gd name="T28" fmla="*/ 2147483647 w 364"/>
                <a:gd name="T29" fmla="*/ 2147483647 h 445"/>
                <a:gd name="T30" fmla="*/ 2147483647 w 364"/>
                <a:gd name="T31" fmla="*/ 0 h 445"/>
                <a:gd name="T32" fmla="*/ 2147483647 w 364"/>
                <a:gd name="T33" fmla="*/ 2147483647 h 445"/>
                <a:gd name="T34" fmla="*/ 2147483647 w 364"/>
                <a:gd name="T35" fmla="*/ 2147483647 h 445"/>
                <a:gd name="T36" fmla="*/ 2147483647 w 364"/>
                <a:gd name="T37" fmla="*/ 2147483647 h 445"/>
                <a:gd name="T38" fmla="*/ 2147483647 w 364"/>
                <a:gd name="T39" fmla="*/ 2147483647 h 445"/>
                <a:gd name="T40" fmla="*/ 2147483647 w 364"/>
                <a:gd name="T41" fmla="*/ 2147483647 h 445"/>
                <a:gd name="T42" fmla="*/ 2147483647 w 364"/>
                <a:gd name="T43" fmla="*/ 2147483647 h 445"/>
                <a:gd name="T44" fmla="*/ 2147483647 w 364"/>
                <a:gd name="T45" fmla="*/ 2147483647 h 445"/>
                <a:gd name="T46" fmla="*/ 2147483647 w 364"/>
                <a:gd name="T47" fmla="*/ 2147483647 h 445"/>
                <a:gd name="T48" fmla="*/ 0 w 364"/>
                <a:gd name="T49" fmla="*/ 2147483647 h 445"/>
                <a:gd name="T50" fmla="*/ 2147483647 w 364"/>
                <a:gd name="T51" fmla="*/ 2147483647 h 445"/>
                <a:gd name="T52" fmla="*/ 2147483647 w 364"/>
                <a:gd name="T53" fmla="*/ 2147483647 h 445"/>
                <a:gd name="T54" fmla="*/ 2147483647 w 364"/>
                <a:gd name="T55" fmla="*/ 2147483647 h 44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64"/>
                <a:gd name="T85" fmla="*/ 0 h 445"/>
                <a:gd name="T86" fmla="*/ 364 w 364"/>
                <a:gd name="T87" fmla="*/ 445 h 44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38" name="Freeform 65">
              <a:extLst>
                <a:ext uri="{FF2B5EF4-FFF2-40B4-BE49-F238E27FC236}">
                  <a16:creationId xmlns:a16="http://schemas.microsoft.com/office/drawing/2014/main" id="{E9B635E3-302B-F549-85DF-4EB6D70B9B9B}"/>
                </a:ext>
              </a:extLst>
            </p:cNvPr>
            <p:cNvSpPr>
              <a:spLocks/>
            </p:cNvSpPr>
            <p:nvPr>
              <p:custDataLst>
                <p:tags r:id="rId31"/>
              </p:custDataLst>
            </p:nvPr>
          </p:nvSpPr>
          <p:spPr bwMode="auto">
            <a:xfrm>
              <a:off x="6908684" y="3418473"/>
              <a:ext cx="30045" cy="56752"/>
            </a:xfrm>
            <a:custGeom>
              <a:avLst/>
              <a:gdLst>
                <a:gd name="T0" fmla="*/ 2147483647 w 49"/>
                <a:gd name="T1" fmla="*/ 2147483647 h 98"/>
                <a:gd name="T2" fmla="*/ 2147483647 w 49"/>
                <a:gd name="T3" fmla="*/ 2147483647 h 98"/>
                <a:gd name="T4" fmla="*/ 2147483647 w 49"/>
                <a:gd name="T5" fmla="*/ 2147483647 h 98"/>
                <a:gd name="T6" fmla="*/ 2147483647 w 49"/>
                <a:gd name="T7" fmla="*/ 2147483647 h 98"/>
                <a:gd name="T8" fmla="*/ 2147483647 w 49"/>
                <a:gd name="T9" fmla="*/ 2147483647 h 98"/>
                <a:gd name="T10" fmla="*/ 2147483647 w 49"/>
                <a:gd name="T11" fmla="*/ 2147483647 h 98"/>
                <a:gd name="T12" fmla="*/ 2147483647 w 49"/>
                <a:gd name="T13" fmla="*/ 2147483647 h 98"/>
                <a:gd name="T14" fmla="*/ 2147483647 w 49"/>
                <a:gd name="T15" fmla="*/ 2147483647 h 98"/>
                <a:gd name="T16" fmla="*/ 0 w 49"/>
                <a:gd name="T17" fmla="*/ 2147483647 h 98"/>
                <a:gd name="T18" fmla="*/ 2147483647 w 49"/>
                <a:gd name="T19" fmla="*/ 2147483647 h 98"/>
                <a:gd name="T20" fmla="*/ 2147483647 w 49"/>
                <a:gd name="T21" fmla="*/ 2147483647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98"/>
                <a:gd name="T35" fmla="*/ 49 w 49"/>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39" name="Freeform 66">
              <a:extLst>
                <a:ext uri="{FF2B5EF4-FFF2-40B4-BE49-F238E27FC236}">
                  <a16:creationId xmlns:a16="http://schemas.microsoft.com/office/drawing/2014/main" id="{DE9E407E-E112-BC40-B690-BA0087DDF0CE}"/>
                </a:ext>
              </a:extLst>
            </p:cNvPr>
            <p:cNvSpPr>
              <a:spLocks/>
            </p:cNvSpPr>
            <p:nvPr>
              <p:custDataLst>
                <p:tags r:id="rId32"/>
              </p:custDataLst>
            </p:nvPr>
          </p:nvSpPr>
          <p:spPr bwMode="auto">
            <a:xfrm>
              <a:off x="7177424" y="3094650"/>
              <a:ext cx="433989" cy="395598"/>
            </a:xfrm>
            <a:custGeom>
              <a:avLst/>
              <a:gdLst>
                <a:gd name="T0" fmla="*/ 2147483647 w 701"/>
                <a:gd name="T1" fmla="*/ 2147483647 h 705"/>
                <a:gd name="T2" fmla="*/ 2147483647 w 701"/>
                <a:gd name="T3" fmla="*/ 2147483647 h 705"/>
                <a:gd name="T4" fmla="*/ 2147483647 w 701"/>
                <a:gd name="T5" fmla="*/ 0 h 705"/>
                <a:gd name="T6" fmla="*/ 2147483647 w 701"/>
                <a:gd name="T7" fmla="*/ 2147483647 h 705"/>
                <a:gd name="T8" fmla="*/ 2147483647 w 701"/>
                <a:gd name="T9" fmla="*/ 2147483647 h 705"/>
                <a:gd name="T10" fmla="*/ 2147483647 w 701"/>
                <a:gd name="T11" fmla="*/ 2147483647 h 705"/>
                <a:gd name="T12" fmla="*/ 2147483647 w 701"/>
                <a:gd name="T13" fmla="*/ 2147483647 h 705"/>
                <a:gd name="T14" fmla="*/ 2147483647 w 701"/>
                <a:gd name="T15" fmla="*/ 2147483647 h 705"/>
                <a:gd name="T16" fmla="*/ 2147483647 w 701"/>
                <a:gd name="T17" fmla="*/ 2147483647 h 705"/>
                <a:gd name="T18" fmla="*/ 2147483647 w 701"/>
                <a:gd name="T19" fmla="*/ 2147483647 h 705"/>
                <a:gd name="T20" fmla="*/ 2147483647 w 701"/>
                <a:gd name="T21" fmla="*/ 2147483647 h 705"/>
                <a:gd name="T22" fmla="*/ 2147483647 w 701"/>
                <a:gd name="T23" fmla="*/ 2147483647 h 705"/>
                <a:gd name="T24" fmla="*/ 2147483647 w 701"/>
                <a:gd name="T25" fmla="*/ 2147483647 h 705"/>
                <a:gd name="T26" fmla="*/ 2147483647 w 701"/>
                <a:gd name="T27" fmla="*/ 2147483647 h 705"/>
                <a:gd name="T28" fmla="*/ 2147483647 w 701"/>
                <a:gd name="T29" fmla="*/ 2147483647 h 705"/>
                <a:gd name="T30" fmla="*/ 2147483647 w 701"/>
                <a:gd name="T31" fmla="*/ 2147483647 h 705"/>
                <a:gd name="T32" fmla="*/ 2147483647 w 701"/>
                <a:gd name="T33" fmla="*/ 2147483647 h 705"/>
                <a:gd name="T34" fmla="*/ 0 w 701"/>
                <a:gd name="T35" fmla="*/ 2147483647 h 705"/>
                <a:gd name="T36" fmla="*/ 2147483647 w 701"/>
                <a:gd name="T37" fmla="*/ 2147483647 h 705"/>
                <a:gd name="T38" fmla="*/ 2147483647 w 701"/>
                <a:gd name="T39" fmla="*/ 2147483647 h 705"/>
                <a:gd name="T40" fmla="*/ 2147483647 w 701"/>
                <a:gd name="T41" fmla="*/ 2147483647 h 705"/>
                <a:gd name="T42" fmla="*/ 2147483647 w 701"/>
                <a:gd name="T43" fmla="*/ 2147483647 h 705"/>
                <a:gd name="T44" fmla="*/ 2147483647 w 701"/>
                <a:gd name="T45" fmla="*/ 2147483647 h 705"/>
                <a:gd name="T46" fmla="*/ 2147483647 w 701"/>
                <a:gd name="T47" fmla="*/ 2147483647 h 705"/>
                <a:gd name="T48" fmla="*/ 2147483647 w 701"/>
                <a:gd name="T49" fmla="*/ 2147483647 h 705"/>
                <a:gd name="T50" fmla="*/ 2147483647 w 701"/>
                <a:gd name="T51" fmla="*/ 2147483647 h 705"/>
                <a:gd name="T52" fmla="*/ 2147483647 w 701"/>
                <a:gd name="T53" fmla="*/ 2147483647 h 705"/>
                <a:gd name="T54" fmla="*/ 2147483647 w 701"/>
                <a:gd name="T55" fmla="*/ 2147483647 h 705"/>
                <a:gd name="T56" fmla="*/ 2147483647 w 701"/>
                <a:gd name="T57" fmla="*/ 2147483647 h 705"/>
                <a:gd name="T58" fmla="*/ 2147483647 w 701"/>
                <a:gd name="T59" fmla="*/ 2147483647 h 705"/>
                <a:gd name="T60" fmla="*/ 2147483647 w 701"/>
                <a:gd name="T61" fmla="*/ 2147483647 h 705"/>
                <a:gd name="T62" fmla="*/ 2147483647 w 701"/>
                <a:gd name="T63" fmla="*/ 2147483647 h 705"/>
                <a:gd name="T64" fmla="*/ 2147483647 w 701"/>
                <a:gd name="T65" fmla="*/ 2147483647 h 705"/>
                <a:gd name="T66" fmla="*/ 2147483647 w 701"/>
                <a:gd name="T67" fmla="*/ 2147483647 h 705"/>
                <a:gd name="T68" fmla="*/ 2147483647 w 701"/>
                <a:gd name="T69" fmla="*/ 2147483647 h 705"/>
                <a:gd name="T70" fmla="*/ 2147483647 w 701"/>
                <a:gd name="T71" fmla="*/ 2147483647 h 705"/>
                <a:gd name="T72" fmla="*/ 2147483647 w 701"/>
                <a:gd name="T73" fmla="*/ 2147483647 h 705"/>
                <a:gd name="T74" fmla="*/ 2147483647 w 701"/>
                <a:gd name="T75" fmla="*/ 2147483647 h 705"/>
                <a:gd name="T76" fmla="*/ 2147483647 w 701"/>
                <a:gd name="T77" fmla="*/ 2147483647 h 705"/>
                <a:gd name="T78" fmla="*/ 2147483647 w 701"/>
                <a:gd name="T79" fmla="*/ 2147483647 h 705"/>
                <a:gd name="T80" fmla="*/ 2147483647 w 701"/>
                <a:gd name="T81" fmla="*/ 2147483647 h 705"/>
                <a:gd name="T82" fmla="*/ 2147483647 w 701"/>
                <a:gd name="T83" fmla="*/ 2147483647 h 705"/>
                <a:gd name="T84" fmla="*/ 2147483647 w 701"/>
                <a:gd name="T85" fmla="*/ 2147483647 h 705"/>
                <a:gd name="T86" fmla="*/ 2147483647 w 701"/>
                <a:gd name="T87" fmla="*/ 2147483647 h 705"/>
                <a:gd name="T88" fmla="*/ 2147483647 w 701"/>
                <a:gd name="T89" fmla="*/ 2147483647 h 705"/>
                <a:gd name="T90" fmla="*/ 2147483647 w 701"/>
                <a:gd name="T91" fmla="*/ 2147483647 h 7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01"/>
                <a:gd name="T139" fmla="*/ 0 h 705"/>
                <a:gd name="T140" fmla="*/ 701 w 701"/>
                <a:gd name="T141" fmla="*/ 705 h 7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40" name="Freeform 67">
              <a:extLst>
                <a:ext uri="{FF2B5EF4-FFF2-40B4-BE49-F238E27FC236}">
                  <a16:creationId xmlns:a16="http://schemas.microsoft.com/office/drawing/2014/main" id="{E8905D04-4CEC-0146-A872-661A1B0C0A78}"/>
                </a:ext>
              </a:extLst>
            </p:cNvPr>
            <p:cNvSpPr>
              <a:spLocks/>
            </p:cNvSpPr>
            <p:nvPr>
              <p:custDataLst>
                <p:tags r:id="rId33"/>
              </p:custDataLst>
            </p:nvPr>
          </p:nvSpPr>
          <p:spPr bwMode="auto">
            <a:xfrm>
              <a:off x="6543131" y="3084635"/>
              <a:ext cx="280425" cy="248709"/>
            </a:xfrm>
            <a:custGeom>
              <a:avLst/>
              <a:gdLst>
                <a:gd name="T0" fmla="*/ 2147483647 w 454"/>
                <a:gd name="T1" fmla="*/ 2147483647 h 442"/>
                <a:gd name="T2" fmla="*/ 2147483647 w 454"/>
                <a:gd name="T3" fmla="*/ 2147483647 h 442"/>
                <a:gd name="T4" fmla="*/ 2147483647 w 454"/>
                <a:gd name="T5" fmla="*/ 2147483647 h 442"/>
                <a:gd name="T6" fmla="*/ 2147483647 w 454"/>
                <a:gd name="T7" fmla="*/ 2147483647 h 442"/>
                <a:gd name="T8" fmla="*/ 2147483647 w 454"/>
                <a:gd name="T9" fmla="*/ 2147483647 h 442"/>
                <a:gd name="T10" fmla="*/ 2147483647 w 454"/>
                <a:gd name="T11" fmla="*/ 2147483647 h 442"/>
                <a:gd name="T12" fmla="*/ 2147483647 w 454"/>
                <a:gd name="T13" fmla="*/ 2147483647 h 442"/>
                <a:gd name="T14" fmla="*/ 2147483647 w 454"/>
                <a:gd name="T15" fmla="*/ 2147483647 h 442"/>
                <a:gd name="T16" fmla="*/ 2147483647 w 454"/>
                <a:gd name="T17" fmla="*/ 2147483647 h 442"/>
                <a:gd name="T18" fmla="*/ 2147483647 w 454"/>
                <a:gd name="T19" fmla="*/ 2147483647 h 442"/>
                <a:gd name="T20" fmla="*/ 2147483647 w 454"/>
                <a:gd name="T21" fmla="*/ 2147483647 h 442"/>
                <a:gd name="T22" fmla="*/ 2147483647 w 454"/>
                <a:gd name="T23" fmla="*/ 2147483647 h 442"/>
                <a:gd name="T24" fmla="*/ 2147483647 w 454"/>
                <a:gd name="T25" fmla="*/ 2147483647 h 442"/>
                <a:gd name="T26" fmla="*/ 2147483647 w 454"/>
                <a:gd name="T27" fmla="*/ 2147483647 h 442"/>
                <a:gd name="T28" fmla="*/ 2147483647 w 454"/>
                <a:gd name="T29" fmla="*/ 2147483647 h 442"/>
                <a:gd name="T30" fmla="*/ 2147483647 w 454"/>
                <a:gd name="T31" fmla="*/ 2147483647 h 442"/>
                <a:gd name="T32" fmla="*/ 2147483647 w 454"/>
                <a:gd name="T33" fmla="*/ 2147483647 h 442"/>
                <a:gd name="T34" fmla="*/ 2147483647 w 454"/>
                <a:gd name="T35" fmla="*/ 2147483647 h 442"/>
                <a:gd name="T36" fmla="*/ 2147483647 w 454"/>
                <a:gd name="T37" fmla="*/ 2147483647 h 442"/>
                <a:gd name="T38" fmla="*/ 2147483647 w 454"/>
                <a:gd name="T39" fmla="*/ 2147483647 h 442"/>
                <a:gd name="T40" fmla="*/ 2147483647 w 454"/>
                <a:gd name="T41" fmla="*/ 2147483647 h 442"/>
                <a:gd name="T42" fmla="*/ 2147483647 w 454"/>
                <a:gd name="T43" fmla="*/ 2147483647 h 442"/>
                <a:gd name="T44" fmla="*/ 2147483647 w 454"/>
                <a:gd name="T45" fmla="*/ 2147483647 h 442"/>
                <a:gd name="T46" fmla="*/ 2147483647 w 454"/>
                <a:gd name="T47" fmla="*/ 2147483647 h 442"/>
                <a:gd name="T48" fmla="*/ 2147483647 w 454"/>
                <a:gd name="T49" fmla="*/ 2147483647 h 442"/>
                <a:gd name="T50" fmla="*/ 2147483647 w 454"/>
                <a:gd name="T51" fmla="*/ 2147483647 h 442"/>
                <a:gd name="T52" fmla="*/ 2147483647 w 454"/>
                <a:gd name="T53" fmla="*/ 2147483647 h 442"/>
                <a:gd name="T54" fmla="*/ 2147483647 w 454"/>
                <a:gd name="T55" fmla="*/ 2147483647 h 442"/>
                <a:gd name="T56" fmla="*/ 2147483647 w 454"/>
                <a:gd name="T57" fmla="*/ 2147483647 h 442"/>
                <a:gd name="T58" fmla="*/ 2147483647 w 454"/>
                <a:gd name="T59" fmla="*/ 2147483647 h 442"/>
                <a:gd name="T60" fmla="*/ 2147483647 w 454"/>
                <a:gd name="T61" fmla="*/ 2147483647 h 442"/>
                <a:gd name="T62" fmla="*/ 2147483647 w 454"/>
                <a:gd name="T63" fmla="*/ 2147483647 h 442"/>
                <a:gd name="T64" fmla="*/ 2147483647 w 454"/>
                <a:gd name="T65" fmla="*/ 2147483647 h 442"/>
                <a:gd name="T66" fmla="*/ 2147483647 w 454"/>
                <a:gd name="T67" fmla="*/ 2147483647 h 442"/>
                <a:gd name="T68" fmla="*/ 2147483647 w 454"/>
                <a:gd name="T69" fmla="*/ 2147483647 h 442"/>
                <a:gd name="T70" fmla="*/ 2147483647 w 454"/>
                <a:gd name="T71" fmla="*/ 2147483647 h 442"/>
                <a:gd name="T72" fmla="*/ 2147483647 w 454"/>
                <a:gd name="T73" fmla="*/ 2147483647 h 442"/>
                <a:gd name="T74" fmla="*/ 2147483647 w 454"/>
                <a:gd name="T75" fmla="*/ 2147483647 h 442"/>
                <a:gd name="T76" fmla="*/ 0 w 454"/>
                <a:gd name="T77" fmla="*/ 2147483647 h 442"/>
                <a:gd name="T78" fmla="*/ 0 w 454"/>
                <a:gd name="T79" fmla="*/ 2147483647 h 442"/>
                <a:gd name="T80" fmla="*/ 2147483647 w 454"/>
                <a:gd name="T81" fmla="*/ 2147483647 h 442"/>
                <a:gd name="T82" fmla="*/ 2147483647 w 454"/>
                <a:gd name="T83" fmla="*/ 2147483647 h 442"/>
                <a:gd name="T84" fmla="*/ 2147483647 w 454"/>
                <a:gd name="T85" fmla="*/ 2147483647 h 442"/>
                <a:gd name="T86" fmla="*/ 2147483647 w 454"/>
                <a:gd name="T87" fmla="*/ 2147483647 h 442"/>
                <a:gd name="T88" fmla="*/ 2147483647 w 454"/>
                <a:gd name="T89" fmla="*/ 2147483647 h 442"/>
                <a:gd name="T90" fmla="*/ 2147483647 w 454"/>
                <a:gd name="T91" fmla="*/ 2147483647 h 442"/>
                <a:gd name="T92" fmla="*/ 2147483647 w 454"/>
                <a:gd name="T93" fmla="*/ 2147483647 h 442"/>
                <a:gd name="T94" fmla="*/ 2147483647 w 454"/>
                <a:gd name="T95" fmla="*/ 2147483647 h 442"/>
                <a:gd name="T96" fmla="*/ 2147483647 w 454"/>
                <a:gd name="T97" fmla="*/ 2147483647 h 442"/>
                <a:gd name="T98" fmla="*/ 2147483647 w 454"/>
                <a:gd name="T99" fmla="*/ 2147483647 h 442"/>
                <a:gd name="T100" fmla="*/ 2147483647 w 454"/>
                <a:gd name="T101" fmla="*/ 2147483647 h 442"/>
                <a:gd name="T102" fmla="*/ 2147483647 w 454"/>
                <a:gd name="T103" fmla="*/ 2147483647 h 442"/>
                <a:gd name="T104" fmla="*/ 2147483647 w 454"/>
                <a:gd name="T105" fmla="*/ 2147483647 h 442"/>
                <a:gd name="T106" fmla="*/ 2147483647 w 454"/>
                <a:gd name="T107" fmla="*/ 2147483647 h 442"/>
                <a:gd name="T108" fmla="*/ 2147483647 w 454"/>
                <a:gd name="T109" fmla="*/ 2147483647 h 442"/>
                <a:gd name="T110" fmla="*/ 2147483647 w 454"/>
                <a:gd name="T111" fmla="*/ 2147483647 h 442"/>
                <a:gd name="T112" fmla="*/ 2147483647 w 454"/>
                <a:gd name="T113" fmla="*/ 2147483647 h 442"/>
                <a:gd name="T114" fmla="*/ 2147483647 w 454"/>
                <a:gd name="T115" fmla="*/ 2147483647 h 442"/>
                <a:gd name="T116" fmla="*/ 2147483647 w 454"/>
                <a:gd name="T117" fmla="*/ 2147483647 h 44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4"/>
                <a:gd name="T178" fmla="*/ 0 h 442"/>
                <a:gd name="T179" fmla="*/ 454 w 454"/>
                <a:gd name="T180" fmla="*/ 442 h 44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41" name="Freeform 68">
              <a:extLst>
                <a:ext uri="{FF2B5EF4-FFF2-40B4-BE49-F238E27FC236}">
                  <a16:creationId xmlns:a16="http://schemas.microsoft.com/office/drawing/2014/main" id="{37E8933C-349A-1E45-A2F5-8C26494AF413}"/>
                </a:ext>
              </a:extLst>
            </p:cNvPr>
            <p:cNvSpPr>
              <a:spLocks/>
            </p:cNvSpPr>
            <p:nvPr>
              <p:custDataLst>
                <p:tags r:id="rId34"/>
              </p:custDataLst>
            </p:nvPr>
          </p:nvSpPr>
          <p:spPr bwMode="auto">
            <a:xfrm>
              <a:off x="6775149" y="3304967"/>
              <a:ext cx="56752" cy="45067"/>
            </a:xfrm>
            <a:custGeom>
              <a:avLst/>
              <a:gdLst>
                <a:gd name="T0" fmla="*/ 2147483647 w 89"/>
                <a:gd name="T1" fmla="*/ 0 h 81"/>
                <a:gd name="T2" fmla="*/ 2147483647 w 89"/>
                <a:gd name="T3" fmla="*/ 2147483647 h 81"/>
                <a:gd name="T4" fmla="*/ 2147483647 w 89"/>
                <a:gd name="T5" fmla="*/ 2147483647 h 81"/>
                <a:gd name="T6" fmla="*/ 0 w 89"/>
                <a:gd name="T7" fmla="*/ 2147483647 h 81"/>
                <a:gd name="T8" fmla="*/ 2147483647 w 89"/>
                <a:gd name="T9" fmla="*/ 2147483647 h 81"/>
                <a:gd name="T10" fmla="*/ 2147483647 w 89"/>
                <a:gd name="T11" fmla="*/ 2147483647 h 81"/>
                <a:gd name="T12" fmla="*/ 2147483647 w 89"/>
                <a:gd name="T13" fmla="*/ 2147483647 h 81"/>
                <a:gd name="T14" fmla="*/ 2147483647 w 89"/>
                <a:gd name="T15" fmla="*/ 2147483647 h 81"/>
                <a:gd name="T16" fmla="*/ 2147483647 w 89"/>
                <a:gd name="T17" fmla="*/ 2147483647 h 81"/>
                <a:gd name="T18" fmla="*/ 2147483647 w 89"/>
                <a:gd name="T19" fmla="*/ 2147483647 h 81"/>
                <a:gd name="T20" fmla="*/ 2147483647 w 89"/>
                <a:gd name="T21" fmla="*/ 2147483647 h 81"/>
                <a:gd name="T22" fmla="*/ 2147483647 w 89"/>
                <a:gd name="T23" fmla="*/ 2147483647 h 81"/>
                <a:gd name="T24" fmla="*/ 2147483647 w 89"/>
                <a:gd name="T25" fmla="*/ 2147483647 h 81"/>
                <a:gd name="T26" fmla="*/ 2147483647 w 89"/>
                <a:gd name="T27" fmla="*/ 2147483647 h 81"/>
                <a:gd name="T28" fmla="*/ 2147483647 w 89"/>
                <a:gd name="T29" fmla="*/ 2147483647 h 81"/>
                <a:gd name="T30" fmla="*/ 2147483647 w 89"/>
                <a:gd name="T31" fmla="*/ 0 h 81"/>
                <a:gd name="T32" fmla="*/ 2147483647 w 89"/>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9"/>
                <a:gd name="T52" fmla="*/ 0 h 81"/>
                <a:gd name="T53" fmla="*/ 89 w 89"/>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42" name="Freeform 69">
              <a:extLst>
                <a:ext uri="{FF2B5EF4-FFF2-40B4-BE49-F238E27FC236}">
                  <a16:creationId xmlns:a16="http://schemas.microsoft.com/office/drawing/2014/main" id="{D3017FD4-E608-394E-9588-8795CBF9D800}"/>
                </a:ext>
              </a:extLst>
            </p:cNvPr>
            <p:cNvSpPr>
              <a:spLocks/>
            </p:cNvSpPr>
            <p:nvPr>
              <p:custDataLst>
                <p:tags r:id="rId35"/>
              </p:custDataLst>
            </p:nvPr>
          </p:nvSpPr>
          <p:spPr bwMode="auto">
            <a:xfrm>
              <a:off x="6661644" y="3011191"/>
              <a:ext cx="597570" cy="440666"/>
            </a:xfrm>
            <a:custGeom>
              <a:avLst/>
              <a:gdLst>
                <a:gd name="T0" fmla="*/ 2147483647 w 959"/>
                <a:gd name="T1" fmla="*/ 2147483647 h 789"/>
                <a:gd name="T2" fmla="*/ 2147483647 w 959"/>
                <a:gd name="T3" fmla="*/ 2147483647 h 789"/>
                <a:gd name="T4" fmla="*/ 2147483647 w 959"/>
                <a:gd name="T5" fmla="*/ 2147483647 h 789"/>
                <a:gd name="T6" fmla="*/ 2147483647 w 959"/>
                <a:gd name="T7" fmla="*/ 2147483647 h 789"/>
                <a:gd name="T8" fmla="*/ 2147483647 w 959"/>
                <a:gd name="T9" fmla="*/ 2147483647 h 789"/>
                <a:gd name="T10" fmla="*/ 2147483647 w 959"/>
                <a:gd name="T11" fmla="*/ 2147483647 h 789"/>
                <a:gd name="T12" fmla="*/ 2147483647 w 959"/>
                <a:gd name="T13" fmla="*/ 2147483647 h 789"/>
                <a:gd name="T14" fmla="*/ 2147483647 w 959"/>
                <a:gd name="T15" fmla="*/ 2147483647 h 789"/>
                <a:gd name="T16" fmla="*/ 2147483647 w 959"/>
                <a:gd name="T17" fmla="*/ 2147483647 h 789"/>
                <a:gd name="T18" fmla="*/ 2147483647 w 959"/>
                <a:gd name="T19" fmla="*/ 2147483647 h 789"/>
                <a:gd name="T20" fmla="*/ 2147483647 w 959"/>
                <a:gd name="T21" fmla="*/ 2147483647 h 789"/>
                <a:gd name="T22" fmla="*/ 2147483647 w 959"/>
                <a:gd name="T23" fmla="*/ 2147483647 h 789"/>
                <a:gd name="T24" fmla="*/ 2147483647 w 959"/>
                <a:gd name="T25" fmla="*/ 2147483647 h 789"/>
                <a:gd name="T26" fmla="*/ 2147483647 w 959"/>
                <a:gd name="T27" fmla="*/ 2147483647 h 789"/>
                <a:gd name="T28" fmla="*/ 2147483647 w 959"/>
                <a:gd name="T29" fmla="*/ 2147483647 h 789"/>
                <a:gd name="T30" fmla="*/ 2147483647 w 959"/>
                <a:gd name="T31" fmla="*/ 2147483647 h 789"/>
                <a:gd name="T32" fmla="*/ 2147483647 w 959"/>
                <a:gd name="T33" fmla="*/ 2147483647 h 789"/>
                <a:gd name="T34" fmla="*/ 2147483647 w 959"/>
                <a:gd name="T35" fmla="*/ 2147483647 h 789"/>
                <a:gd name="T36" fmla="*/ 2147483647 w 959"/>
                <a:gd name="T37" fmla="*/ 2147483647 h 789"/>
                <a:gd name="T38" fmla="*/ 2147483647 w 959"/>
                <a:gd name="T39" fmla="*/ 2147483647 h 789"/>
                <a:gd name="T40" fmla="*/ 2147483647 w 959"/>
                <a:gd name="T41" fmla="*/ 2147483647 h 789"/>
                <a:gd name="T42" fmla="*/ 2147483647 w 959"/>
                <a:gd name="T43" fmla="*/ 2147483647 h 789"/>
                <a:gd name="T44" fmla="*/ 2147483647 w 959"/>
                <a:gd name="T45" fmla="*/ 2147483647 h 789"/>
                <a:gd name="T46" fmla="*/ 2147483647 w 959"/>
                <a:gd name="T47" fmla="*/ 2147483647 h 789"/>
                <a:gd name="T48" fmla="*/ 2147483647 w 959"/>
                <a:gd name="T49" fmla="*/ 2147483647 h 789"/>
                <a:gd name="T50" fmla="*/ 0 w 959"/>
                <a:gd name="T51" fmla="*/ 2147483647 h 789"/>
                <a:gd name="T52" fmla="*/ 2147483647 w 959"/>
                <a:gd name="T53" fmla="*/ 2147483647 h 789"/>
                <a:gd name="T54" fmla="*/ 2147483647 w 959"/>
                <a:gd name="T55" fmla="*/ 2147483647 h 789"/>
                <a:gd name="T56" fmla="*/ 2147483647 w 959"/>
                <a:gd name="T57" fmla="*/ 2147483647 h 789"/>
                <a:gd name="T58" fmla="*/ 2147483647 w 959"/>
                <a:gd name="T59" fmla="*/ 2147483647 h 789"/>
                <a:gd name="T60" fmla="*/ 2147483647 w 959"/>
                <a:gd name="T61" fmla="*/ 2147483647 h 789"/>
                <a:gd name="T62" fmla="*/ 2147483647 w 959"/>
                <a:gd name="T63" fmla="*/ 2147483647 h 789"/>
                <a:gd name="T64" fmla="*/ 2147483647 w 959"/>
                <a:gd name="T65" fmla="*/ 2147483647 h 789"/>
                <a:gd name="T66" fmla="*/ 2147483647 w 959"/>
                <a:gd name="T67" fmla="*/ 2147483647 h 789"/>
                <a:gd name="T68" fmla="*/ 2147483647 w 959"/>
                <a:gd name="T69" fmla="*/ 2147483647 h 789"/>
                <a:gd name="T70" fmla="*/ 2147483647 w 959"/>
                <a:gd name="T71" fmla="*/ 2147483647 h 789"/>
                <a:gd name="T72" fmla="*/ 2147483647 w 959"/>
                <a:gd name="T73" fmla="*/ 2147483647 h 789"/>
                <a:gd name="T74" fmla="*/ 2147483647 w 959"/>
                <a:gd name="T75" fmla="*/ 2147483647 h 789"/>
                <a:gd name="T76" fmla="*/ 2147483647 w 959"/>
                <a:gd name="T77" fmla="*/ 2147483647 h 789"/>
                <a:gd name="T78" fmla="*/ 2147483647 w 959"/>
                <a:gd name="T79" fmla="*/ 2147483647 h 789"/>
                <a:gd name="T80" fmla="*/ 2147483647 w 959"/>
                <a:gd name="T81" fmla="*/ 2147483647 h 789"/>
                <a:gd name="T82" fmla="*/ 2147483647 w 959"/>
                <a:gd name="T83" fmla="*/ 2147483647 h 789"/>
                <a:gd name="T84" fmla="*/ 2147483647 w 959"/>
                <a:gd name="T85" fmla="*/ 2147483647 h 789"/>
                <a:gd name="T86" fmla="*/ 2147483647 w 959"/>
                <a:gd name="T87" fmla="*/ 2147483647 h 789"/>
                <a:gd name="T88" fmla="*/ 2147483647 w 959"/>
                <a:gd name="T89" fmla="*/ 2147483647 h 789"/>
                <a:gd name="T90" fmla="*/ 2147483647 w 959"/>
                <a:gd name="T91" fmla="*/ 2147483647 h 789"/>
                <a:gd name="T92" fmla="*/ 2147483647 w 959"/>
                <a:gd name="T93" fmla="*/ 2147483647 h 789"/>
                <a:gd name="T94" fmla="*/ 2147483647 w 959"/>
                <a:gd name="T95" fmla="*/ 2147483647 h 789"/>
                <a:gd name="T96" fmla="*/ 2147483647 w 959"/>
                <a:gd name="T97" fmla="*/ 2147483647 h 7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59"/>
                <a:gd name="T148" fmla="*/ 0 h 789"/>
                <a:gd name="T149" fmla="*/ 959 w 959"/>
                <a:gd name="T150" fmla="*/ 789 h 7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43" name="Freeform 70">
              <a:extLst>
                <a:ext uri="{FF2B5EF4-FFF2-40B4-BE49-F238E27FC236}">
                  <a16:creationId xmlns:a16="http://schemas.microsoft.com/office/drawing/2014/main" id="{7F6F0425-EA96-0C49-BA4A-6E38FD2CDCBA}"/>
                </a:ext>
              </a:extLst>
            </p:cNvPr>
            <p:cNvSpPr>
              <a:spLocks/>
            </p:cNvSpPr>
            <p:nvPr>
              <p:custDataLst>
                <p:tags r:id="rId36"/>
              </p:custDataLst>
            </p:nvPr>
          </p:nvSpPr>
          <p:spPr bwMode="auto">
            <a:xfrm>
              <a:off x="7297605" y="2977806"/>
              <a:ext cx="230349" cy="130196"/>
            </a:xfrm>
            <a:custGeom>
              <a:avLst/>
              <a:gdLst>
                <a:gd name="T0" fmla="*/ 2147483647 w 372"/>
                <a:gd name="T1" fmla="*/ 2147483647 h 238"/>
                <a:gd name="T2" fmla="*/ 2147483647 w 372"/>
                <a:gd name="T3" fmla="*/ 2147483647 h 238"/>
                <a:gd name="T4" fmla="*/ 2147483647 w 372"/>
                <a:gd name="T5" fmla="*/ 2147483647 h 238"/>
                <a:gd name="T6" fmla="*/ 2147483647 w 372"/>
                <a:gd name="T7" fmla="*/ 2147483647 h 238"/>
                <a:gd name="T8" fmla="*/ 2147483647 w 372"/>
                <a:gd name="T9" fmla="*/ 2147483647 h 238"/>
                <a:gd name="T10" fmla="*/ 2147483647 w 372"/>
                <a:gd name="T11" fmla="*/ 2147483647 h 238"/>
                <a:gd name="T12" fmla="*/ 2147483647 w 372"/>
                <a:gd name="T13" fmla="*/ 2147483647 h 238"/>
                <a:gd name="T14" fmla="*/ 2147483647 w 372"/>
                <a:gd name="T15" fmla="*/ 2147483647 h 238"/>
                <a:gd name="T16" fmla="*/ 2147483647 w 372"/>
                <a:gd name="T17" fmla="*/ 2147483647 h 238"/>
                <a:gd name="T18" fmla="*/ 2147483647 w 372"/>
                <a:gd name="T19" fmla="*/ 2147483647 h 238"/>
                <a:gd name="T20" fmla="*/ 2147483647 w 372"/>
                <a:gd name="T21" fmla="*/ 2147483647 h 238"/>
                <a:gd name="T22" fmla="*/ 2147483647 w 372"/>
                <a:gd name="T23" fmla="*/ 2147483647 h 238"/>
                <a:gd name="T24" fmla="*/ 2147483647 w 372"/>
                <a:gd name="T25" fmla="*/ 2147483647 h 238"/>
                <a:gd name="T26" fmla="*/ 2147483647 w 372"/>
                <a:gd name="T27" fmla="*/ 2147483647 h 238"/>
                <a:gd name="T28" fmla="*/ 2147483647 w 372"/>
                <a:gd name="T29" fmla="*/ 2147483647 h 238"/>
                <a:gd name="T30" fmla="*/ 2147483647 w 372"/>
                <a:gd name="T31" fmla="*/ 2147483647 h 238"/>
                <a:gd name="T32" fmla="*/ 2147483647 w 372"/>
                <a:gd name="T33" fmla="*/ 2147483647 h 238"/>
                <a:gd name="T34" fmla="*/ 2147483647 w 372"/>
                <a:gd name="T35" fmla="*/ 2147483647 h 238"/>
                <a:gd name="T36" fmla="*/ 2147483647 w 372"/>
                <a:gd name="T37" fmla="*/ 2147483647 h 238"/>
                <a:gd name="T38" fmla="*/ 2147483647 w 372"/>
                <a:gd name="T39" fmla="*/ 2147483647 h 238"/>
                <a:gd name="T40" fmla="*/ 2147483647 w 372"/>
                <a:gd name="T41" fmla="*/ 2147483647 h 238"/>
                <a:gd name="T42" fmla="*/ 2147483647 w 372"/>
                <a:gd name="T43" fmla="*/ 2147483647 h 238"/>
                <a:gd name="T44" fmla="*/ 2147483647 w 372"/>
                <a:gd name="T45" fmla="*/ 2147483647 h 238"/>
                <a:gd name="T46" fmla="*/ 2147483647 w 372"/>
                <a:gd name="T47" fmla="*/ 2147483647 h 238"/>
                <a:gd name="T48" fmla="*/ 2147483647 w 372"/>
                <a:gd name="T49" fmla="*/ 2147483647 h 238"/>
                <a:gd name="T50" fmla="*/ 2147483647 w 372"/>
                <a:gd name="T51" fmla="*/ 2147483647 h 238"/>
                <a:gd name="T52" fmla="*/ 2147483647 w 372"/>
                <a:gd name="T53" fmla="*/ 2147483647 h 238"/>
                <a:gd name="T54" fmla="*/ 2147483647 w 372"/>
                <a:gd name="T55" fmla="*/ 2147483647 h 238"/>
                <a:gd name="T56" fmla="*/ 2147483647 w 372"/>
                <a:gd name="T57" fmla="*/ 2147483647 h 238"/>
                <a:gd name="T58" fmla="*/ 2147483647 w 372"/>
                <a:gd name="T59" fmla="*/ 2147483647 h 238"/>
                <a:gd name="T60" fmla="*/ 2147483647 w 372"/>
                <a:gd name="T61" fmla="*/ 2147483647 h 238"/>
                <a:gd name="T62" fmla="*/ 2147483647 w 372"/>
                <a:gd name="T63" fmla="*/ 2147483647 h 238"/>
                <a:gd name="T64" fmla="*/ 2147483647 w 372"/>
                <a:gd name="T65" fmla="*/ 2147483647 h 238"/>
                <a:gd name="T66" fmla="*/ 2147483647 w 372"/>
                <a:gd name="T67" fmla="*/ 2147483647 h 2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2"/>
                <a:gd name="T103" fmla="*/ 0 h 238"/>
                <a:gd name="T104" fmla="*/ 372 w 372"/>
                <a:gd name="T105" fmla="*/ 238 h 2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44" name="Freeform 71">
              <a:extLst>
                <a:ext uri="{FF2B5EF4-FFF2-40B4-BE49-F238E27FC236}">
                  <a16:creationId xmlns:a16="http://schemas.microsoft.com/office/drawing/2014/main" id="{1A97464B-60EB-F440-9E8D-B3F6DCF01184}"/>
                </a:ext>
              </a:extLst>
            </p:cNvPr>
            <p:cNvSpPr>
              <a:spLocks/>
            </p:cNvSpPr>
            <p:nvPr>
              <p:custDataLst>
                <p:tags r:id="rId37"/>
              </p:custDataLst>
            </p:nvPr>
          </p:nvSpPr>
          <p:spPr bwMode="auto">
            <a:xfrm>
              <a:off x="7344342" y="2909369"/>
              <a:ext cx="277085" cy="120182"/>
            </a:xfrm>
            <a:custGeom>
              <a:avLst/>
              <a:gdLst>
                <a:gd name="T0" fmla="*/ 2147483647 w 449"/>
                <a:gd name="T1" fmla="*/ 2147483647 h 211"/>
                <a:gd name="T2" fmla="*/ 2147483647 w 449"/>
                <a:gd name="T3" fmla="*/ 2147483647 h 211"/>
                <a:gd name="T4" fmla="*/ 2147483647 w 449"/>
                <a:gd name="T5" fmla="*/ 2147483647 h 211"/>
                <a:gd name="T6" fmla="*/ 2147483647 w 449"/>
                <a:gd name="T7" fmla="*/ 2147483647 h 211"/>
                <a:gd name="T8" fmla="*/ 2147483647 w 449"/>
                <a:gd name="T9" fmla="*/ 2147483647 h 211"/>
                <a:gd name="T10" fmla="*/ 2147483647 w 449"/>
                <a:gd name="T11" fmla="*/ 2147483647 h 211"/>
                <a:gd name="T12" fmla="*/ 2147483647 w 449"/>
                <a:gd name="T13" fmla="*/ 2147483647 h 211"/>
                <a:gd name="T14" fmla="*/ 2147483647 w 449"/>
                <a:gd name="T15" fmla="*/ 2147483647 h 211"/>
                <a:gd name="T16" fmla="*/ 2147483647 w 449"/>
                <a:gd name="T17" fmla="*/ 2147483647 h 211"/>
                <a:gd name="T18" fmla="*/ 2147483647 w 449"/>
                <a:gd name="T19" fmla="*/ 2147483647 h 211"/>
                <a:gd name="T20" fmla="*/ 2147483647 w 449"/>
                <a:gd name="T21" fmla="*/ 2147483647 h 211"/>
                <a:gd name="T22" fmla="*/ 0 w 449"/>
                <a:gd name="T23" fmla="*/ 2147483647 h 211"/>
                <a:gd name="T24" fmla="*/ 2147483647 w 449"/>
                <a:gd name="T25" fmla="*/ 2147483647 h 211"/>
                <a:gd name="T26" fmla="*/ 2147483647 w 449"/>
                <a:gd name="T27" fmla="*/ 2147483647 h 211"/>
                <a:gd name="T28" fmla="*/ 2147483647 w 449"/>
                <a:gd name="T29" fmla="*/ 2147483647 h 211"/>
                <a:gd name="T30" fmla="*/ 2147483647 w 449"/>
                <a:gd name="T31" fmla="*/ 2147483647 h 211"/>
                <a:gd name="T32" fmla="*/ 2147483647 w 449"/>
                <a:gd name="T33" fmla="*/ 2147483647 h 211"/>
                <a:gd name="T34" fmla="*/ 2147483647 w 449"/>
                <a:gd name="T35" fmla="*/ 2147483647 h 211"/>
                <a:gd name="T36" fmla="*/ 2147483647 w 449"/>
                <a:gd name="T37" fmla="*/ 2147483647 h 211"/>
                <a:gd name="T38" fmla="*/ 2147483647 w 449"/>
                <a:gd name="T39" fmla="*/ 2147483647 h 211"/>
                <a:gd name="T40" fmla="*/ 2147483647 w 449"/>
                <a:gd name="T41" fmla="*/ 2147483647 h 211"/>
                <a:gd name="T42" fmla="*/ 2147483647 w 449"/>
                <a:gd name="T43" fmla="*/ 2147483647 h 211"/>
                <a:gd name="T44" fmla="*/ 2147483647 w 449"/>
                <a:gd name="T45" fmla="*/ 2147483647 h 211"/>
                <a:gd name="T46" fmla="*/ 2147483647 w 449"/>
                <a:gd name="T47" fmla="*/ 2147483647 h 211"/>
                <a:gd name="T48" fmla="*/ 2147483647 w 449"/>
                <a:gd name="T49" fmla="*/ 2147483647 h 211"/>
                <a:gd name="T50" fmla="*/ 2147483647 w 449"/>
                <a:gd name="T51" fmla="*/ 2147483647 h 211"/>
                <a:gd name="T52" fmla="*/ 2147483647 w 449"/>
                <a:gd name="T53" fmla="*/ 2147483647 h 211"/>
                <a:gd name="T54" fmla="*/ 2147483647 w 449"/>
                <a:gd name="T55" fmla="*/ 2147483647 h 211"/>
                <a:gd name="T56" fmla="*/ 2147483647 w 449"/>
                <a:gd name="T57" fmla="*/ 2147483647 h 211"/>
                <a:gd name="T58" fmla="*/ 2147483647 w 449"/>
                <a:gd name="T59" fmla="*/ 2147483647 h 211"/>
                <a:gd name="T60" fmla="*/ 2147483647 w 449"/>
                <a:gd name="T61" fmla="*/ 2147483647 h 211"/>
                <a:gd name="T62" fmla="*/ 2147483647 w 449"/>
                <a:gd name="T63" fmla="*/ 2147483647 h 211"/>
                <a:gd name="T64" fmla="*/ 2147483647 w 449"/>
                <a:gd name="T65" fmla="*/ 2147483647 h 211"/>
                <a:gd name="T66" fmla="*/ 2147483647 w 449"/>
                <a:gd name="T67" fmla="*/ 2147483647 h 211"/>
                <a:gd name="T68" fmla="*/ 2147483647 w 449"/>
                <a:gd name="T69" fmla="*/ 2147483647 h 211"/>
                <a:gd name="T70" fmla="*/ 2147483647 w 449"/>
                <a:gd name="T71" fmla="*/ 2147483647 h 2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9"/>
                <a:gd name="T109" fmla="*/ 0 h 211"/>
                <a:gd name="T110" fmla="*/ 449 w 449"/>
                <a:gd name="T111" fmla="*/ 211 h 2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45" name="Freeform 72">
              <a:extLst>
                <a:ext uri="{FF2B5EF4-FFF2-40B4-BE49-F238E27FC236}">
                  <a16:creationId xmlns:a16="http://schemas.microsoft.com/office/drawing/2014/main" id="{13BDBC51-CBB2-044F-9F4D-7555F262C727}"/>
                </a:ext>
              </a:extLst>
            </p:cNvPr>
            <p:cNvSpPr>
              <a:spLocks/>
            </p:cNvSpPr>
            <p:nvPr>
              <p:custDataLst>
                <p:tags r:id="rId38"/>
              </p:custDataLst>
            </p:nvPr>
          </p:nvSpPr>
          <p:spPr bwMode="auto">
            <a:xfrm>
              <a:off x="6876970" y="2922723"/>
              <a:ext cx="418969" cy="227010"/>
            </a:xfrm>
            <a:custGeom>
              <a:avLst/>
              <a:gdLst>
                <a:gd name="T0" fmla="*/ 2147483647 w 674"/>
                <a:gd name="T1" fmla="*/ 2147483647 h 406"/>
                <a:gd name="T2" fmla="*/ 2147483647 w 674"/>
                <a:gd name="T3" fmla="*/ 2147483647 h 406"/>
                <a:gd name="T4" fmla="*/ 2147483647 w 674"/>
                <a:gd name="T5" fmla="*/ 2147483647 h 406"/>
                <a:gd name="T6" fmla="*/ 2147483647 w 674"/>
                <a:gd name="T7" fmla="*/ 2147483647 h 406"/>
                <a:gd name="T8" fmla="*/ 2147483647 w 674"/>
                <a:gd name="T9" fmla="*/ 2147483647 h 406"/>
                <a:gd name="T10" fmla="*/ 2147483647 w 674"/>
                <a:gd name="T11" fmla="*/ 2147483647 h 406"/>
                <a:gd name="T12" fmla="*/ 2147483647 w 674"/>
                <a:gd name="T13" fmla="*/ 2147483647 h 406"/>
                <a:gd name="T14" fmla="*/ 2147483647 w 674"/>
                <a:gd name="T15" fmla="*/ 2147483647 h 406"/>
                <a:gd name="T16" fmla="*/ 2147483647 w 674"/>
                <a:gd name="T17" fmla="*/ 2147483647 h 406"/>
                <a:gd name="T18" fmla="*/ 2147483647 w 674"/>
                <a:gd name="T19" fmla="*/ 2147483647 h 406"/>
                <a:gd name="T20" fmla="*/ 2147483647 w 674"/>
                <a:gd name="T21" fmla="*/ 2147483647 h 406"/>
                <a:gd name="T22" fmla="*/ 2147483647 w 674"/>
                <a:gd name="T23" fmla="*/ 2147483647 h 406"/>
                <a:gd name="T24" fmla="*/ 2147483647 w 674"/>
                <a:gd name="T25" fmla="*/ 2147483647 h 406"/>
                <a:gd name="T26" fmla="*/ 2147483647 w 674"/>
                <a:gd name="T27" fmla="*/ 2147483647 h 406"/>
                <a:gd name="T28" fmla="*/ 2147483647 w 674"/>
                <a:gd name="T29" fmla="*/ 2147483647 h 406"/>
                <a:gd name="T30" fmla="*/ 2147483647 w 674"/>
                <a:gd name="T31" fmla="*/ 2147483647 h 406"/>
                <a:gd name="T32" fmla="*/ 2147483647 w 674"/>
                <a:gd name="T33" fmla="*/ 2147483647 h 406"/>
                <a:gd name="T34" fmla="*/ 2147483647 w 674"/>
                <a:gd name="T35" fmla="*/ 2147483647 h 406"/>
                <a:gd name="T36" fmla="*/ 2147483647 w 674"/>
                <a:gd name="T37" fmla="*/ 2147483647 h 406"/>
                <a:gd name="T38" fmla="*/ 2147483647 w 674"/>
                <a:gd name="T39" fmla="*/ 2147483647 h 406"/>
                <a:gd name="T40" fmla="*/ 2147483647 w 674"/>
                <a:gd name="T41" fmla="*/ 2147483647 h 406"/>
                <a:gd name="T42" fmla="*/ 2147483647 w 674"/>
                <a:gd name="T43" fmla="*/ 2147483647 h 406"/>
                <a:gd name="T44" fmla="*/ 2147483647 w 674"/>
                <a:gd name="T45" fmla="*/ 2147483647 h 406"/>
                <a:gd name="T46" fmla="*/ 2147483647 w 674"/>
                <a:gd name="T47" fmla="*/ 2147483647 h 406"/>
                <a:gd name="T48" fmla="*/ 2147483647 w 674"/>
                <a:gd name="T49" fmla="*/ 2147483647 h 406"/>
                <a:gd name="T50" fmla="*/ 2147483647 w 674"/>
                <a:gd name="T51" fmla="*/ 2147483647 h 406"/>
                <a:gd name="T52" fmla="*/ 2147483647 w 674"/>
                <a:gd name="T53" fmla="*/ 2147483647 h 406"/>
                <a:gd name="T54" fmla="*/ 2147483647 w 674"/>
                <a:gd name="T55" fmla="*/ 2147483647 h 406"/>
                <a:gd name="T56" fmla="*/ 2147483647 w 674"/>
                <a:gd name="T57" fmla="*/ 2147483647 h 406"/>
                <a:gd name="T58" fmla="*/ 2147483647 w 674"/>
                <a:gd name="T59" fmla="*/ 2147483647 h 406"/>
                <a:gd name="T60" fmla="*/ 2147483647 w 674"/>
                <a:gd name="T61" fmla="*/ 2147483647 h 406"/>
                <a:gd name="T62" fmla="*/ 2147483647 w 674"/>
                <a:gd name="T63" fmla="*/ 2147483647 h 406"/>
                <a:gd name="T64" fmla="*/ 2147483647 w 674"/>
                <a:gd name="T65" fmla="*/ 2147483647 h 406"/>
                <a:gd name="T66" fmla="*/ 2147483647 w 674"/>
                <a:gd name="T67" fmla="*/ 2147483647 h 406"/>
                <a:gd name="T68" fmla="*/ 2147483647 w 674"/>
                <a:gd name="T69" fmla="*/ 2147483647 h 406"/>
                <a:gd name="T70" fmla="*/ 2147483647 w 674"/>
                <a:gd name="T71" fmla="*/ 2147483647 h 406"/>
                <a:gd name="T72" fmla="*/ 2147483647 w 674"/>
                <a:gd name="T73" fmla="*/ 2147483647 h 406"/>
                <a:gd name="T74" fmla="*/ 2147483647 w 674"/>
                <a:gd name="T75" fmla="*/ 2147483647 h 406"/>
                <a:gd name="T76" fmla="*/ 2147483647 w 674"/>
                <a:gd name="T77" fmla="*/ 2147483647 h 406"/>
                <a:gd name="T78" fmla="*/ 2147483647 w 674"/>
                <a:gd name="T79" fmla="*/ 2147483647 h 406"/>
                <a:gd name="T80" fmla="*/ 2147483647 w 674"/>
                <a:gd name="T81" fmla="*/ 2147483647 h 406"/>
                <a:gd name="T82" fmla="*/ 2147483647 w 674"/>
                <a:gd name="T83" fmla="*/ 2147483647 h 406"/>
                <a:gd name="T84" fmla="*/ 2147483647 w 674"/>
                <a:gd name="T85" fmla="*/ 2147483647 h 406"/>
                <a:gd name="T86" fmla="*/ 2147483647 w 674"/>
                <a:gd name="T87" fmla="*/ 2147483647 h 406"/>
                <a:gd name="T88" fmla="*/ 2147483647 w 674"/>
                <a:gd name="T89" fmla="*/ 2147483647 h 406"/>
                <a:gd name="T90" fmla="*/ 2147483647 w 674"/>
                <a:gd name="T91" fmla="*/ 2147483647 h 406"/>
                <a:gd name="T92" fmla="*/ 2147483647 w 674"/>
                <a:gd name="T93" fmla="*/ 2147483647 h 406"/>
                <a:gd name="T94" fmla="*/ 2147483647 w 674"/>
                <a:gd name="T95" fmla="*/ 2147483647 h 406"/>
                <a:gd name="T96" fmla="*/ 2147483647 w 674"/>
                <a:gd name="T97" fmla="*/ 2147483647 h 406"/>
                <a:gd name="T98" fmla="*/ 2147483647 w 674"/>
                <a:gd name="T99" fmla="*/ 2147483647 h 406"/>
                <a:gd name="T100" fmla="*/ 2147483647 w 674"/>
                <a:gd name="T101" fmla="*/ 2147483647 h 40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4"/>
                <a:gd name="T154" fmla="*/ 0 h 406"/>
                <a:gd name="T155" fmla="*/ 674 w 674"/>
                <a:gd name="T156" fmla="*/ 406 h 40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46" name="Freeform 73">
              <a:extLst>
                <a:ext uri="{FF2B5EF4-FFF2-40B4-BE49-F238E27FC236}">
                  <a16:creationId xmlns:a16="http://schemas.microsoft.com/office/drawing/2014/main" id="{6453E083-F322-7B48-B249-17CDAD0EC66F}"/>
                </a:ext>
              </a:extLst>
            </p:cNvPr>
            <p:cNvSpPr>
              <a:spLocks/>
            </p:cNvSpPr>
            <p:nvPr>
              <p:custDataLst>
                <p:tags r:id="rId39"/>
              </p:custDataLst>
            </p:nvPr>
          </p:nvSpPr>
          <p:spPr bwMode="auto">
            <a:xfrm>
              <a:off x="7139033" y="3051250"/>
              <a:ext cx="377237" cy="273746"/>
            </a:xfrm>
            <a:custGeom>
              <a:avLst/>
              <a:gdLst>
                <a:gd name="T0" fmla="*/ 2147483647 w 607"/>
                <a:gd name="T1" fmla="*/ 2147483647 h 492"/>
                <a:gd name="T2" fmla="*/ 2147483647 w 607"/>
                <a:gd name="T3" fmla="*/ 2147483647 h 492"/>
                <a:gd name="T4" fmla="*/ 2147483647 w 607"/>
                <a:gd name="T5" fmla="*/ 2147483647 h 492"/>
                <a:gd name="T6" fmla="*/ 2147483647 w 607"/>
                <a:gd name="T7" fmla="*/ 2147483647 h 492"/>
                <a:gd name="T8" fmla="*/ 2147483647 w 607"/>
                <a:gd name="T9" fmla="*/ 2147483647 h 492"/>
                <a:gd name="T10" fmla="*/ 2147483647 w 607"/>
                <a:gd name="T11" fmla="*/ 2147483647 h 492"/>
                <a:gd name="T12" fmla="*/ 2147483647 w 607"/>
                <a:gd name="T13" fmla="*/ 2147483647 h 492"/>
                <a:gd name="T14" fmla="*/ 2147483647 w 607"/>
                <a:gd name="T15" fmla="*/ 2147483647 h 492"/>
                <a:gd name="T16" fmla="*/ 2147483647 w 607"/>
                <a:gd name="T17" fmla="*/ 2147483647 h 492"/>
                <a:gd name="T18" fmla="*/ 2147483647 w 607"/>
                <a:gd name="T19" fmla="*/ 2147483647 h 492"/>
                <a:gd name="T20" fmla="*/ 2147483647 w 607"/>
                <a:gd name="T21" fmla="*/ 2147483647 h 492"/>
                <a:gd name="T22" fmla="*/ 2147483647 w 607"/>
                <a:gd name="T23" fmla="*/ 2147483647 h 492"/>
                <a:gd name="T24" fmla="*/ 2147483647 w 607"/>
                <a:gd name="T25" fmla="*/ 2147483647 h 492"/>
                <a:gd name="T26" fmla="*/ 2147483647 w 607"/>
                <a:gd name="T27" fmla="*/ 2147483647 h 492"/>
                <a:gd name="T28" fmla="*/ 2147483647 w 607"/>
                <a:gd name="T29" fmla="*/ 2147483647 h 492"/>
                <a:gd name="T30" fmla="*/ 2147483647 w 607"/>
                <a:gd name="T31" fmla="*/ 2147483647 h 492"/>
                <a:gd name="T32" fmla="*/ 2147483647 w 607"/>
                <a:gd name="T33" fmla="*/ 2147483647 h 492"/>
                <a:gd name="T34" fmla="*/ 2147483647 w 607"/>
                <a:gd name="T35" fmla="*/ 2147483647 h 492"/>
                <a:gd name="T36" fmla="*/ 2147483647 w 607"/>
                <a:gd name="T37" fmla="*/ 2147483647 h 492"/>
                <a:gd name="T38" fmla="*/ 2147483647 w 607"/>
                <a:gd name="T39" fmla="*/ 2147483647 h 492"/>
                <a:gd name="T40" fmla="*/ 2147483647 w 607"/>
                <a:gd name="T41" fmla="*/ 2147483647 h 492"/>
                <a:gd name="T42" fmla="*/ 2147483647 w 607"/>
                <a:gd name="T43" fmla="*/ 2147483647 h 492"/>
                <a:gd name="T44" fmla="*/ 2147483647 w 607"/>
                <a:gd name="T45" fmla="*/ 2147483647 h 492"/>
                <a:gd name="T46" fmla="*/ 2147483647 w 607"/>
                <a:gd name="T47" fmla="*/ 2147483647 h 492"/>
                <a:gd name="T48" fmla="*/ 2147483647 w 607"/>
                <a:gd name="T49" fmla="*/ 2147483647 h 492"/>
                <a:gd name="T50" fmla="*/ 2147483647 w 607"/>
                <a:gd name="T51" fmla="*/ 2147483647 h 492"/>
                <a:gd name="T52" fmla="*/ 2147483647 w 607"/>
                <a:gd name="T53" fmla="*/ 2147483647 h 492"/>
                <a:gd name="T54" fmla="*/ 2147483647 w 607"/>
                <a:gd name="T55" fmla="*/ 2147483647 h 492"/>
                <a:gd name="T56" fmla="*/ 2147483647 w 607"/>
                <a:gd name="T57" fmla="*/ 2147483647 h 492"/>
                <a:gd name="T58" fmla="*/ 2147483647 w 607"/>
                <a:gd name="T59" fmla="*/ 2147483647 h 492"/>
                <a:gd name="T60" fmla="*/ 2147483647 w 607"/>
                <a:gd name="T61" fmla="*/ 2147483647 h 492"/>
                <a:gd name="T62" fmla="*/ 2147483647 w 607"/>
                <a:gd name="T63" fmla="*/ 2147483647 h 492"/>
                <a:gd name="T64" fmla="*/ 2147483647 w 607"/>
                <a:gd name="T65" fmla="*/ 2147483647 h 492"/>
                <a:gd name="T66" fmla="*/ 2147483647 w 607"/>
                <a:gd name="T67" fmla="*/ 2147483647 h 492"/>
                <a:gd name="T68" fmla="*/ 2147483647 w 607"/>
                <a:gd name="T69" fmla="*/ 2147483647 h 492"/>
                <a:gd name="T70" fmla="*/ 2147483647 w 607"/>
                <a:gd name="T71" fmla="*/ 2147483647 h 492"/>
                <a:gd name="T72" fmla="*/ 2147483647 w 607"/>
                <a:gd name="T73" fmla="*/ 2147483647 h 492"/>
                <a:gd name="T74" fmla="*/ 2147483647 w 607"/>
                <a:gd name="T75" fmla="*/ 2147483647 h 492"/>
                <a:gd name="T76" fmla="*/ 2147483647 w 607"/>
                <a:gd name="T77" fmla="*/ 2147483647 h 492"/>
                <a:gd name="T78" fmla="*/ 2147483647 w 607"/>
                <a:gd name="T79" fmla="*/ 2147483647 h 492"/>
                <a:gd name="T80" fmla="*/ 2147483647 w 607"/>
                <a:gd name="T81" fmla="*/ 2147483647 h 492"/>
                <a:gd name="T82" fmla="*/ 2147483647 w 607"/>
                <a:gd name="T83" fmla="*/ 2147483647 h 492"/>
                <a:gd name="T84" fmla="*/ 2147483647 w 607"/>
                <a:gd name="T85" fmla="*/ 2147483647 h 492"/>
                <a:gd name="T86" fmla="*/ 2147483647 w 607"/>
                <a:gd name="T87" fmla="*/ 2147483647 h 492"/>
                <a:gd name="T88" fmla="*/ 2147483647 w 607"/>
                <a:gd name="T89" fmla="*/ 2147483647 h 492"/>
                <a:gd name="T90" fmla="*/ 2147483647 w 607"/>
                <a:gd name="T91" fmla="*/ 2147483647 h 492"/>
                <a:gd name="T92" fmla="*/ 2147483647 w 607"/>
                <a:gd name="T93" fmla="*/ 2147483647 h 492"/>
                <a:gd name="T94" fmla="*/ 2147483647 w 607"/>
                <a:gd name="T95" fmla="*/ 2147483647 h 492"/>
                <a:gd name="T96" fmla="*/ 2147483647 w 607"/>
                <a:gd name="T97" fmla="*/ 2147483647 h 492"/>
                <a:gd name="T98" fmla="*/ 2147483647 w 607"/>
                <a:gd name="T99" fmla="*/ 2147483647 h 492"/>
                <a:gd name="T100" fmla="*/ 2147483647 w 607"/>
                <a:gd name="T101" fmla="*/ 2147483647 h 492"/>
                <a:gd name="T102" fmla="*/ 2147483647 w 607"/>
                <a:gd name="T103" fmla="*/ 2147483647 h 4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07"/>
                <a:gd name="T157" fmla="*/ 0 h 492"/>
                <a:gd name="T158" fmla="*/ 607 w 607"/>
                <a:gd name="T159" fmla="*/ 492 h 4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47" name="Freeform 74">
              <a:extLst>
                <a:ext uri="{FF2B5EF4-FFF2-40B4-BE49-F238E27FC236}">
                  <a16:creationId xmlns:a16="http://schemas.microsoft.com/office/drawing/2014/main" id="{A85BD0C3-FD2D-4240-9896-408786236002}"/>
                </a:ext>
              </a:extLst>
            </p:cNvPr>
            <p:cNvSpPr>
              <a:spLocks/>
            </p:cNvSpPr>
            <p:nvPr>
              <p:custDataLst>
                <p:tags r:id="rId40"/>
              </p:custDataLst>
            </p:nvPr>
          </p:nvSpPr>
          <p:spPr bwMode="auto">
            <a:xfrm>
              <a:off x="6436303" y="3241538"/>
              <a:ext cx="615932" cy="475719"/>
            </a:xfrm>
            <a:custGeom>
              <a:avLst/>
              <a:gdLst>
                <a:gd name="T0" fmla="*/ 2147483647 w 998"/>
                <a:gd name="T1" fmla="*/ 2147483647 h 851"/>
                <a:gd name="T2" fmla="*/ 2147483647 w 998"/>
                <a:gd name="T3" fmla="*/ 2147483647 h 851"/>
                <a:gd name="T4" fmla="*/ 2147483647 w 998"/>
                <a:gd name="T5" fmla="*/ 2147483647 h 851"/>
                <a:gd name="T6" fmla="*/ 2147483647 w 998"/>
                <a:gd name="T7" fmla="*/ 2147483647 h 851"/>
                <a:gd name="T8" fmla="*/ 2147483647 w 998"/>
                <a:gd name="T9" fmla="*/ 2147483647 h 851"/>
                <a:gd name="T10" fmla="*/ 2147483647 w 998"/>
                <a:gd name="T11" fmla="*/ 2147483647 h 851"/>
                <a:gd name="T12" fmla="*/ 2147483647 w 998"/>
                <a:gd name="T13" fmla="*/ 2147483647 h 851"/>
                <a:gd name="T14" fmla="*/ 2147483647 w 998"/>
                <a:gd name="T15" fmla="*/ 2147483647 h 851"/>
                <a:gd name="T16" fmla="*/ 2147483647 w 998"/>
                <a:gd name="T17" fmla="*/ 2147483647 h 851"/>
                <a:gd name="T18" fmla="*/ 2147483647 w 998"/>
                <a:gd name="T19" fmla="*/ 2147483647 h 851"/>
                <a:gd name="T20" fmla="*/ 2147483647 w 998"/>
                <a:gd name="T21" fmla="*/ 2147483647 h 851"/>
                <a:gd name="T22" fmla="*/ 2147483647 w 998"/>
                <a:gd name="T23" fmla="*/ 2147483647 h 851"/>
                <a:gd name="T24" fmla="*/ 2147483647 w 998"/>
                <a:gd name="T25" fmla="*/ 0 h 851"/>
                <a:gd name="T26" fmla="*/ 2147483647 w 998"/>
                <a:gd name="T27" fmla="*/ 2147483647 h 851"/>
                <a:gd name="T28" fmla="*/ 2147483647 w 998"/>
                <a:gd name="T29" fmla="*/ 2147483647 h 851"/>
                <a:gd name="T30" fmla="*/ 2147483647 w 998"/>
                <a:gd name="T31" fmla="*/ 2147483647 h 851"/>
                <a:gd name="T32" fmla="*/ 2147483647 w 998"/>
                <a:gd name="T33" fmla="*/ 2147483647 h 851"/>
                <a:gd name="T34" fmla="*/ 2147483647 w 998"/>
                <a:gd name="T35" fmla="*/ 2147483647 h 851"/>
                <a:gd name="T36" fmla="*/ 2147483647 w 998"/>
                <a:gd name="T37" fmla="*/ 2147483647 h 851"/>
                <a:gd name="T38" fmla="*/ 2147483647 w 998"/>
                <a:gd name="T39" fmla="*/ 2147483647 h 851"/>
                <a:gd name="T40" fmla="*/ 2147483647 w 998"/>
                <a:gd name="T41" fmla="*/ 2147483647 h 851"/>
                <a:gd name="T42" fmla="*/ 2147483647 w 998"/>
                <a:gd name="T43" fmla="*/ 2147483647 h 851"/>
                <a:gd name="T44" fmla="*/ 2147483647 w 998"/>
                <a:gd name="T45" fmla="*/ 2147483647 h 851"/>
                <a:gd name="T46" fmla="*/ 2147483647 w 998"/>
                <a:gd name="T47" fmla="*/ 2147483647 h 851"/>
                <a:gd name="T48" fmla="*/ 2147483647 w 998"/>
                <a:gd name="T49" fmla="*/ 2147483647 h 851"/>
                <a:gd name="T50" fmla="*/ 2147483647 w 998"/>
                <a:gd name="T51" fmla="*/ 2147483647 h 851"/>
                <a:gd name="T52" fmla="*/ 2147483647 w 998"/>
                <a:gd name="T53" fmla="*/ 2147483647 h 851"/>
                <a:gd name="T54" fmla="*/ 2147483647 w 998"/>
                <a:gd name="T55" fmla="*/ 2147483647 h 851"/>
                <a:gd name="T56" fmla="*/ 2147483647 w 998"/>
                <a:gd name="T57" fmla="*/ 2147483647 h 851"/>
                <a:gd name="T58" fmla="*/ 2147483647 w 998"/>
                <a:gd name="T59" fmla="*/ 2147483647 h 851"/>
                <a:gd name="T60" fmla="*/ 2147483647 w 998"/>
                <a:gd name="T61" fmla="*/ 2147483647 h 851"/>
                <a:gd name="T62" fmla="*/ 2147483647 w 998"/>
                <a:gd name="T63" fmla="*/ 2147483647 h 851"/>
                <a:gd name="T64" fmla="*/ 2147483647 w 998"/>
                <a:gd name="T65" fmla="*/ 2147483647 h 851"/>
                <a:gd name="T66" fmla="*/ 2147483647 w 998"/>
                <a:gd name="T67" fmla="*/ 2147483647 h 8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98"/>
                <a:gd name="T103" fmla="*/ 0 h 851"/>
                <a:gd name="T104" fmla="*/ 998 w 998"/>
                <a:gd name="T105" fmla="*/ 851 h 8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48" name="Freeform 75">
              <a:extLst>
                <a:ext uri="{FF2B5EF4-FFF2-40B4-BE49-F238E27FC236}">
                  <a16:creationId xmlns:a16="http://schemas.microsoft.com/office/drawing/2014/main" id="{D3D68339-2391-DC4E-9487-91F9AC624C55}"/>
                </a:ext>
              </a:extLst>
            </p:cNvPr>
            <p:cNvSpPr>
              <a:spLocks/>
            </p:cNvSpPr>
            <p:nvPr>
              <p:custDataLst>
                <p:tags r:id="rId41"/>
              </p:custDataLst>
            </p:nvPr>
          </p:nvSpPr>
          <p:spPr bwMode="auto">
            <a:xfrm>
              <a:off x="6432964" y="3168094"/>
              <a:ext cx="46738" cy="58421"/>
            </a:xfrm>
            <a:custGeom>
              <a:avLst/>
              <a:gdLst>
                <a:gd name="T0" fmla="*/ 2147483647 w 76"/>
                <a:gd name="T1" fmla="*/ 2147483647 h 105"/>
                <a:gd name="T2" fmla="*/ 2147483647 w 76"/>
                <a:gd name="T3" fmla="*/ 2147483647 h 105"/>
                <a:gd name="T4" fmla="*/ 2147483647 w 76"/>
                <a:gd name="T5" fmla="*/ 2147483647 h 105"/>
                <a:gd name="T6" fmla="*/ 2147483647 w 76"/>
                <a:gd name="T7" fmla="*/ 2147483647 h 105"/>
                <a:gd name="T8" fmla="*/ 2147483647 w 76"/>
                <a:gd name="T9" fmla="*/ 0 h 105"/>
                <a:gd name="T10" fmla="*/ 2147483647 w 76"/>
                <a:gd name="T11" fmla="*/ 0 h 105"/>
                <a:gd name="T12" fmla="*/ 2147483647 w 76"/>
                <a:gd name="T13" fmla="*/ 0 h 105"/>
                <a:gd name="T14" fmla="*/ 2147483647 w 76"/>
                <a:gd name="T15" fmla="*/ 2147483647 h 105"/>
                <a:gd name="T16" fmla="*/ 2147483647 w 76"/>
                <a:gd name="T17" fmla="*/ 2147483647 h 105"/>
                <a:gd name="T18" fmla="*/ 2147483647 w 76"/>
                <a:gd name="T19" fmla="*/ 2147483647 h 105"/>
                <a:gd name="T20" fmla="*/ 0 w 76"/>
                <a:gd name="T21" fmla="*/ 2147483647 h 105"/>
                <a:gd name="T22" fmla="*/ 2147483647 w 76"/>
                <a:gd name="T23" fmla="*/ 2147483647 h 105"/>
                <a:gd name="T24" fmla="*/ 2147483647 w 76"/>
                <a:gd name="T25" fmla="*/ 2147483647 h 105"/>
                <a:gd name="T26" fmla="*/ 2147483647 w 76"/>
                <a:gd name="T27" fmla="*/ 2147483647 h 105"/>
                <a:gd name="T28" fmla="*/ 2147483647 w 76"/>
                <a:gd name="T29" fmla="*/ 2147483647 h 105"/>
                <a:gd name="T30" fmla="*/ 2147483647 w 76"/>
                <a:gd name="T31" fmla="*/ 2147483647 h 105"/>
                <a:gd name="T32" fmla="*/ 2147483647 w 76"/>
                <a:gd name="T33" fmla="*/ 2147483647 h 10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6"/>
                <a:gd name="T52" fmla="*/ 0 h 105"/>
                <a:gd name="T53" fmla="*/ 76 w 76"/>
                <a:gd name="T54" fmla="*/ 105 h 10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49" name="Freeform 76">
              <a:extLst>
                <a:ext uri="{FF2B5EF4-FFF2-40B4-BE49-F238E27FC236}">
                  <a16:creationId xmlns:a16="http://schemas.microsoft.com/office/drawing/2014/main" id="{69774BC9-16DB-194B-9059-BFAE372A0927}"/>
                </a:ext>
              </a:extLst>
            </p:cNvPr>
            <p:cNvSpPr>
              <a:spLocks/>
            </p:cNvSpPr>
            <p:nvPr>
              <p:custDataLst>
                <p:tags r:id="rId42"/>
              </p:custDataLst>
            </p:nvPr>
          </p:nvSpPr>
          <p:spPr bwMode="auto">
            <a:xfrm>
              <a:off x="6446317" y="3082966"/>
              <a:ext cx="181942" cy="155235"/>
            </a:xfrm>
            <a:custGeom>
              <a:avLst/>
              <a:gdLst>
                <a:gd name="T0" fmla="*/ 2147483647 w 297"/>
                <a:gd name="T1" fmla="*/ 2147483647 h 275"/>
                <a:gd name="T2" fmla="*/ 2147483647 w 297"/>
                <a:gd name="T3" fmla="*/ 2147483647 h 275"/>
                <a:gd name="T4" fmla="*/ 2147483647 w 297"/>
                <a:gd name="T5" fmla="*/ 2147483647 h 275"/>
                <a:gd name="T6" fmla="*/ 2147483647 w 297"/>
                <a:gd name="T7" fmla="*/ 2147483647 h 275"/>
                <a:gd name="T8" fmla="*/ 2147483647 w 297"/>
                <a:gd name="T9" fmla="*/ 2147483647 h 275"/>
                <a:gd name="T10" fmla="*/ 2147483647 w 297"/>
                <a:gd name="T11" fmla="*/ 2147483647 h 275"/>
                <a:gd name="T12" fmla="*/ 2147483647 w 297"/>
                <a:gd name="T13" fmla="*/ 2147483647 h 275"/>
                <a:gd name="T14" fmla="*/ 2147483647 w 297"/>
                <a:gd name="T15" fmla="*/ 2147483647 h 275"/>
                <a:gd name="T16" fmla="*/ 2147483647 w 297"/>
                <a:gd name="T17" fmla="*/ 2147483647 h 275"/>
                <a:gd name="T18" fmla="*/ 2147483647 w 297"/>
                <a:gd name="T19" fmla="*/ 2147483647 h 275"/>
                <a:gd name="T20" fmla="*/ 2147483647 w 297"/>
                <a:gd name="T21" fmla="*/ 2147483647 h 275"/>
                <a:gd name="T22" fmla="*/ 2147483647 w 297"/>
                <a:gd name="T23" fmla="*/ 2147483647 h 275"/>
                <a:gd name="T24" fmla="*/ 2147483647 w 297"/>
                <a:gd name="T25" fmla="*/ 2147483647 h 275"/>
                <a:gd name="T26" fmla="*/ 2147483647 w 297"/>
                <a:gd name="T27" fmla="*/ 2147483647 h 275"/>
                <a:gd name="T28" fmla="*/ 2147483647 w 297"/>
                <a:gd name="T29" fmla="*/ 2147483647 h 275"/>
                <a:gd name="T30" fmla="*/ 2147483647 w 297"/>
                <a:gd name="T31" fmla="*/ 2147483647 h 275"/>
                <a:gd name="T32" fmla="*/ 2147483647 w 297"/>
                <a:gd name="T33" fmla="*/ 2147483647 h 275"/>
                <a:gd name="T34" fmla="*/ 2147483647 w 297"/>
                <a:gd name="T35" fmla="*/ 2147483647 h 275"/>
                <a:gd name="T36" fmla="*/ 2147483647 w 297"/>
                <a:gd name="T37" fmla="*/ 2147483647 h 275"/>
                <a:gd name="T38" fmla="*/ 2147483647 w 297"/>
                <a:gd name="T39" fmla="*/ 2147483647 h 275"/>
                <a:gd name="T40" fmla="*/ 2147483647 w 297"/>
                <a:gd name="T41" fmla="*/ 2147483647 h 275"/>
                <a:gd name="T42" fmla="*/ 2147483647 w 297"/>
                <a:gd name="T43" fmla="*/ 2147483647 h 275"/>
                <a:gd name="T44" fmla="*/ 2147483647 w 297"/>
                <a:gd name="T45" fmla="*/ 2147483647 h 275"/>
                <a:gd name="T46" fmla="*/ 2147483647 w 297"/>
                <a:gd name="T47" fmla="*/ 2147483647 h 275"/>
                <a:gd name="T48" fmla="*/ 0 w 297"/>
                <a:gd name="T49" fmla="*/ 2147483647 h 275"/>
                <a:gd name="T50" fmla="*/ 2147483647 w 297"/>
                <a:gd name="T51" fmla="*/ 2147483647 h 275"/>
                <a:gd name="T52" fmla="*/ 2147483647 w 297"/>
                <a:gd name="T53" fmla="*/ 2147483647 h 275"/>
                <a:gd name="T54" fmla="*/ 2147483647 w 297"/>
                <a:gd name="T55" fmla="*/ 2147483647 h 275"/>
                <a:gd name="T56" fmla="*/ 2147483647 w 297"/>
                <a:gd name="T57" fmla="*/ 2147483647 h 275"/>
                <a:gd name="T58" fmla="*/ 2147483647 w 297"/>
                <a:gd name="T59" fmla="*/ 2147483647 h 275"/>
                <a:gd name="T60" fmla="*/ 2147483647 w 297"/>
                <a:gd name="T61" fmla="*/ 2147483647 h 275"/>
                <a:gd name="T62" fmla="*/ 2147483647 w 297"/>
                <a:gd name="T63" fmla="*/ 2147483647 h 275"/>
                <a:gd name="T64" fmla="*/ 2147483647 w 297"/>
                <a:gd name="T65" fmla="*/ 2147483647 h 275"/>
                <a:gd name="T66" fmla="*/ 2147483647 w 297"/>
                <a:gd name="T67" fmla="*/ 2147483647 h 275"/>
                <a:gd name="T68" fmla="*/ 2147483647 w 297"/>
                <a:gd name="T69" fmla="*/ 2147483647 h 275"/>
                <a:gd name="T70" fmla="*/ 2147483647 w 297"/>
                <a:gd name="T71" fmla="*/ 2147483647 h 275"/>
                <a:gd name="T72" fmla="*/ 2147483647 w 297"/>
                <a:gd name="T73" fmla="*/ 2147483647 h 275"/>
                <a:gd name="T74" fmla="*/ 2147483647 w 297"/>
                <a:gd name="T75" fmla="*/ 2147483647 h 275"/>
                <a:gd name="T76" fmla="*/ 2147483647 w 297"/>
                <a:gd name="T77" fmla="*/ 2147483647 h 275"/>
                <a:gd name="T78" fmla="*/ 2147483647 w 297"/>
                <a:gd name="T79" fmla="*/ 2147483647 h 275"/>
                <a:gd name="T80" fmla="*/ 2147483647 w 297"/>
                <a:gd name="T81" fmla="*/ 2147483647 h 275"/>
                <a:gd name="T82" fmla="*/ 2147483647 w 297"/>
                <a:gd name="T83" fmla="*/ 2147483647 h 275"/>
                <a:gd name="T84" fmla="*/ 2147483647 w 297"/>
                <a:gd name="T85" fmla="*/ 2147483647 h 275"/>
                <a:gd name="T86" fmla="*/ 2147483647 w 297"/>
                <a:gd name="T87" fmla="*/ 2147483647 h 275"/>
                <a:gd name="T88" fmla="*/ 2147483647 w 297"/>
                <a:gd name="T89" fmla="*/ 2147483647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275"/>
                <a:gd name="T137" fmla="*/ 297 w 297"/>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50" name="Freeform 77">
              <a:extLst>
                <a:ext uri="{FF2B5EF4-FFF2-40B4-BE49-F238E27FC236}">
                  <a16:creationId xmlns:a16="http://schemas.microsoft.com/office/drawing/2014/main" id="{F964331B-CCBF-064A-8EBF-7EA055D3E0F5}"/>
                </a:ext>
              </a:extLst>
            </p:cNvPr>
            <p:cNvSpPr>
              <a:spLocks/>
            </p:cNvSpPr>
            <p:nvPr>
              <p:custDataLst>
                <p:tags r:id="rId43"/>
              </p:custDataLst>
            </p:nvPr>
          </p:nvSpPr>
          <p:spPr bwMode="auto">
            <a:xfrm>
              <a:off x="6638275" y="2966123"/>
              <a:ext cx="95143" cy="78452"/>
            </a:xfrm>
            <a:custGeom>
              <a:avLst/>
              <a:gdLst>
                <a:gd name="T0" fmla="*/ 2147483647 w 152"/>
                <a:gd name="T1" fmla="*/ 2147483647 h 140"/>
                <a:gd name="T2" fmla="*/ 2147483647 w 152"/>
                <a:gd name="T3" fmla="*/ 2147483647 h 140"/>
                <a:gd name="T4" fmla="*/ 2147483647 w 152"/>
                <a:gd name="T5" fmla="*/ 2147483647 h 140"/>
                <a:gd name="T6" fmla="*/ 2147483647 w 152"/>
                <a:gd name="T7" fmla="*/ 2147483647 h 140"/>
                <a:gd name="T8" fmla="*/ 2147483647 w 152"/>
                <a:gd name="T9" fmla="*/ 2147483647 h 140"/>
                <a:gd name="T10" fmla="*/ 2147483647 w 152"/>
                <a:gd name="T11" fmla="*/ 2147483647 h 140"/>
                <a:gd name="T12" fmla="*/ 2147483647 w 152"/>
                <a:gd name="T13" fmla="*/ 2147483647 h 140"/>
                <a:gd name="T14" fmla="*/ 2147483647 w 152"/>
                <a:gd name="T15" fmla="*/ 2147483647 h 140"/>
                <a:gd name="T16" fmla="*/ 2147483647 w 152"/>
                <a:gd name="T17" fmla="*/ 2147483647 h 140"/>
                <a:gd name="T18" fmla="*/ 2147483647 w 152"/>
                <a:gd name="T19" fmla="*/ 2147483647 h 140"/>
                <a:gd name="T20" fmla="*/ 2147483647 w 152"/>
                <a:gd name="T21" fmla="*/ 2147483647 h 140"/>
                <a:gd name="T22" fmla="*/ 2147483647 w 152"/>
                <a:gd name="T23" fmla="*/ 0 h 140"/>
                <a:gd name="T24" fmla="*/ 2147483647 w 152"/>
                <a:gd name="T25" fmla="*/ 2147483647 h 140"/>
                <a:gd name="T26" fmla="*/ 2147483647 w 152"/>
                <a:gd name="T27" fmla="*/ 2147483647 h 140"/>
                <a:gd name="T28" fmla="*/ 2147483647 w 152"/>
                <a:gd name="T29" fmla="*/ 2147483647 h 140"/>
                <a:gd name="T30" fmla="*/ 0 w 152"/>
                <a:gd name="T31" fmla="*/ 2147483647 h 140"/>
                <a:gd name="T32" fmla="*/ 2147483647 w 152"/>
                <a:gd name="T33" fmla="*/ 2147483647 h 140"/>
                <a:gd name="T34" fmla="*/ 2147483647 w 152"/>
                <a:gd name="T35" fmla="*/ 2147483647 h 140"/>
                <a:gd name="T36" fmla="*/ 2147483647 w 152"/>
                <a:gd name="T37" fmla="*/ 2147483647 h 140"/>
                <a:gd name="T38" fmla="*/ 2147483647 w 152"/>
                <a:gd name="T39" fmla="*/ 2147483647 h 140"/>
                <a:gd name="T40" fmla="*/ 2147483647 w 152"/>
                <a:gd name="T41" fmla="*/ 2147483647 h 140"/>
                <a:gd name="T42" fmla="*/ 2147483647 w 152"/>
                <a:gd name="T43" fmla="*/ 2147483647 h 140"/>
                <a:gd name="T44" fmla="*/ 2147483647 w 152"/>
                <a:gd name="T45" fmla="*/ 2147483647 h 140"/>
                <a:gd name="T46" fmla="*/ 2147483647 w 152"/>
                <a:gd name="T47" fmla="*/ 2147483647 h 140"/>
                <a:gd name="T48" fmla="*/ 2147483647 w 152"/>
                <a:gd name="T49" fmla="*/ 2147483647 h 140"/>
                <a:gd name="T50" fmla="*/ 2147483647 w 152"/>
                <a:gd name="T51" fmla="*/ 2147483647 h 140"/>
                <a:gd name="T52" fmla="*/ 2147483647 w 152"/>
                <a:gd name="T53" fmla="*/ 2147483647 h 140"/>
                <a:gd name="T54" fmla="*/ 2147483647 w 152"/>
                <a:gd name="T55" fmla="*/ 2147483647 h 140"/>
                <a:gd name="T56" fmla="*/ 2147483647 w 152"/>
                <a:gd name="T57" fmla="*/ 2147483647 h 140"/>
                <a:gd name="T58" fmla="*/ 2147483647 w 152"/>
                <a:gd name="T59" fmla="*/ 2147483647 h 14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0"/>
                <a:gd name="T92" fmla="*/ 152 w 152"/>
                <a:gd name="T93" fmla="*/ 140 h 14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51" name="Freeform 78">
              <a:extLst>
                <a:ext uri="{FF2B5EF4-FFF2-40B4-BE49-F238E27FC236}">
                  <a16:creationId xmlns:a16="http://schemas.microsoft.com/office/drawing/2014/main" id="{1B2A188C-DE24-914F-B56C-99C7E9BFED8A}"/>
                </a:ext>
              </a:extLst>
            </p:cNvPr>
            <p:cNvSpPr>
              <a:spLocks noEditPoints="1"/>
            </p:cNvSpPr>
            <p:nvPr>
              <p:custDataLst>
                <p:tags r:id="rId44"/>
              </p:custDataLst>
            </p:nvPr>
          </p:nvSpPr>
          <p:spPr bwMode="auto">
            <a:xfrm>
              <a:off x="6147533" y="2939415"/>
              <a:ext cx="547494" cy="190288"/>
            </a:xfrm>
            <a:custGeom>
              <a:avLst/>
              <a:gdLst>
                <a:gd name="T0" fmla="*/ 2147483647 w 888"/>
                <a:gd name="T1" fmla="*/ 2147483647 h 340"/>
                <a:gd name="T2" fmla="*/ 2147483647 w 888"/>
                <a:gd name="T3" fmla="*/ 2147483647 h 340"/>
                <a:gd name="T4" fmla="*/ 2147483647 w 888"/>
                <a:gd name="T5" fmla="*/ 2147483647 h 340"/>
                <a:gd name="T6" fmla="*/ 2147483647 w 888"/>
                <a:gd name="T7" fmla="*/ 2147483647 h 340"/>
                <a:gd name="T8" fmla="*/ 2147483647 w 888"/>
                <a:gd name="T9" fmla="*/ 2147483647 h 340"/>
                <a:gd name="T10" fmla="*/ 2147483647 w 888"/>
                <a:gd name="T11" fmla="*/ 2147483647 h 340"/>
                <a:gd name="T12" fmla="*/ 2147483647 w 888"/>
                <a:gd name="T13" fmla="*/ 2147483647 h 340"/>
                <a:gd name="T14" fmla="*/ 2147483647 w 888"/>
                <a:gd name="T15" fmla="*/ 2147483647 h 340"/>
                <a:gd name="T16" fmla="*/ 2147483647 w 888"/>
                <a:gd name="T17" fmla="*/ 2147483647 h 340"/>
                <a:gd name="T18" fmla="*/ 2147483647 w 888"/>
                <a:gd name="T19" fmla="*/ 2147483647 h 340"/>
                <a:gd name="T20" fmla="*/ 2147483647 w 888"/>
                <a:gd name="T21" fmla="*/ 2147483647 h 340"/>
                <a:gd name="T22" fmla="*/ 2147483647 w 888"/>
                <a:gd name="T23" fmla="*/ 2147483647 h 340"/>
                <a:gd name="T24" fmla="*/ 2147483647 w 888"/>
                <a:gd name="T25" fmla="*/ 2147483647 h 340"/>
                <a:gd name="T26" fmla="*/ 2147483647 w 888"/>
                <a:gd name="T27" fmla="*/ 2147483647 h 340"/>
                <a:gd name="T28" fmla="*/ 2147483647 w 888"/>
                <a:gd name="T29" fmla="*/ 2147483647 h 340"/>
                <a:gd name="T30" fmla="*/ 2147483647 w 888"/>
                <a:gd name="T31" fmla="*/ 2147483647 h 340"/>
                <a:gd name="T32" fmla="*/ 2147483647 w 888"/>
                <a:gd name="T33" fmla="*/ 2147483647 h 340"/>
                <a:gd name="T34" fmla="*/ 2147483647 w 888"/>
                <a:gd name="T35" fmla="*/ 2147483647 h 340"/>
                <a:gd name="T36" fmla="*/ 2147483647 w 888"/>
                <a:gd name="T37" fmla="*/ 2147483647 h 340"/>
                <a:gd name="T38" fmla="*/ 2147483647 w 888"/>
                <a:gd name="T39" fmla="*/ 2147483647 h 340"/>
                <a:gd name="T40" fmla="*/ 2147483647 w 888"/>
                <a:gd name="T41" fmla="*/ 2147483647 h 340"/>
                <a:gd name="T42" fmla="*/ 2147483647 w 888"/>
                <a:gd name="T43" fmla="*/ 2147483647 h 340"/>
                <a:gd name="T44" fmla="*/ 2147483647 w 888"/>
                <a:gd name="T45" fmla="*/ 2147483647 h 340"/>
                <a:gd name="T46" fmla="*/ 2147483647 w 888"/>
                <a:gd name="T47" fmla="*/ 2147483647 h 340"/>
                <a:gd name="T48" fmla="*/ 2147483647 w 888"/>
                <a:gd name="T49" fmla="*/ 2147483647 h 340"/>
                <a:gd name="T50" fmla="*/ 2147483647 w 888"/>
                <a:gd name="T51" fmla="*/ 2147483647 h 340"/>
                <a:gd name="T52" fmla="*/ 2147483647 w 888"/>
                <a:gd name="T53" fmla="*/ 2147483647 h 340"/>
                <a:gd name="T54" fmla="*/ 2147483647 w 888"/>
                <a:gd name="T55" fmla="*/ 2147483647 h 340"/>
                <a:gd name="T56" fmla="*/ 2147483647 w 888"/>
                <a:gd name="T57" fmla="*/ 2147483647 h 340"/>
                <a:gd name="T58" fmla="*/ 2147483647 w 888"/>
                <a:gd name="T59" fmla="*/ 2147483647 h 340"/>
                <a:gd name="T60" fmla="*/ 2147483647 w 888"/>
                <a:gd name="T61" fmla="*/ 2147483647 h 340"/>
                <a:gd name="T62" fmla="*/ 2147483647 w 888"/>
                <a:gd name="T63" fmla="*/ 2147483647 h 340"/>
                <a:gd name="T64" fmla="*/ 2147483647 w 888"/>
                <a:gd name="T65" fmla="*/ 2147483647 h 340"/>
                <a:gd name="T66" fmla="*/ 2147483647 w 888"/>
                <a:gd name="T67" fmla="*/ 2147483647 h 340"/>
                <a:gd name="T68" fmla="*/ 2147483647 w 888"/>
                <a:gd name="T69" fmla="*/ 2147483647 h 340"/>
                <a:gd name="T70" fmla="*/ 2147483647 w 888"/>
                <a:gd name="T71" fmla="*/ 2147483647 h 340"/>
                <a:gd name="T72" fmla="*/ 2147483647 w 888"/>
                <a:gd name="T73" fmla="*/ 2147483647 h 340"/>
                <a:gd name="T74" fmla="*/ 2147483647 w 888"/>
                <a:gd name="T75" fmla="*/ 2147483647 h 340"/>
                <a:gd name="T76" fmla="*/ 2147483647 w 888"/>
                <a:gd name="T77" fmla="*/ 2147483647 h 340"/>
                <a:gd name="T78" fmla="*/ 2147483647 w 888"/>
                <a:gd name="T79" fmla="*/ 2147483647 h 340"/>
                <a:gd name="T80" fmla="*/ 2147483647 w 888"/>
                <a:gd name="T81" fmla="*/ 2147483647 h 340"/>
                <a:gd name="T82" fmla="*/ 2147483647 w 888"/>
                <a:gd name="T83" fmla="*/ 2147483647 h 340"/>
                <a:gd name="T84" fmla="*/ 2147483647 w 888"/>
                <a:gd name="T85" fmla="*/ 2147483647 h 3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8"/>
                <a:gd name="T130" fmla="*/ 0 h 340"/>
                <a:gd name="T131" fmla="*/ 888 w 888"/>
                <a:gd name="T132" fmla="*/ 340 h 3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52" name="Freeform 79">
              <a:extLst>
                <a:ext uri="{FF2B5EF4-FFF2-40B4-BE49-F238E27FC236}">
                  <a16:creationId xmlns:a16="http://schemas.microsoft.com/office/drawing/2014/main" id="{C8FC6285-5274-5940-99F2-E7AC36FC8A80}"/>
                </a:ext>
              </a:extLst>
            </p:cNvPr>
            <p:cNvSpPr>
              <a:spLocks/>
            </p:cNvSpPr>
            <p:nvPr>
              <p:custDataLst>
                <p:tags r:id="rId45"/>
              </p:custDataLst>
            </p:nvPr>
          </p:nvSpPr>
          <p:spPr bwMode="auto">
            <a:xfrm>
              <a:off x="6065742" y="2880994"/>
              <a:ext cx="168589" cy="88466"/>
            </a:xfrm>
            <a:custGeom>
              <a:avLst/>
              <a:gdLst>
                <a:gd name="T0" fmla="*/ 2147483647 w 267"/>
                <a:gd name="T1" fmla="*/ 2147483647 h 155"/>
                <a:gd name="T2" fmla="*/ 2147483647 w 267"/>
                <a:gd name="T3" fmla="*/ 2147483647 h 155"/>
                <a:gd name="T4" fmla="*/ 2147483647 w 267"/>
                <a:gd name="T5" fmla="*/ 2147483647 h 155"/>
                <a:gd name="T6" fmla="*/ 2147483647 w 267"/>
                <a:gd name="T7" fmla="*/ 2147483647 h 155"/>
                <a:gd name="T8" fmla="*/ 2147483647 w 267"/>
                <a:gd name="T9" fmla="*/ 2147483647 h 155"/>
                <a:gd name="T10" fmla="*/ 2147483647 w 267"/>
                <a:gd name="T11" fmla="*/ 2147483647 h 155"/>
                <a:gd name="T12" fmla="*/ 2147483647 w 267"/>
                <a:gd name="T13" fmla="*/ 2147483647 h 155"/>
                <a:gd name="T14" fmla="*/ 2147483647 w 267"/>
                <a:gd name="T15" fmla="*/ 2147483647 h 155"/>
                <a:gd name="T16" fmla="*/ 2147483647 w 267"/>
                <a:gd name="T17" fmla="*/ 2147483647 h 155"/>
                <a:gd name="T18" fmla="*/ 2147483647 w 267"/>
                <a:gd name="T19" fmla="*/ 2147483647 h 155"/>
                <a:gd name="T20" fmla="*/ 2147483647 w 267"/>
                <a:gd name="T21" fmla="*/ 2147483647 h 155"/>
                <a:gd name="T22" fmla="*/ 2147483647 w 267"/>
                <a:gd name="T23" fmla="*/ 2147483647 h 155"/>
                <a:gd name="T24" fmla="*/ 2147483647 w 267"/>
                <a:gd name="T25" fmla="*/ 0 h 155"/>
                <a:gd name="T26" fmla="*/ 0 w 267"/>
                <a:gd name="T27" fmla="*/ 2147483647 h 155"/>
                <a:gd name="T28" fmla="*/ 2147483647 w 267"/>
                <a:gd name="T29" fmla="*/ 2147483647 h 155"/>
                <a:gd name="T30" fmla="*/ 2147483647 w 267"/>
                <a:gd name="T31" fmla="*/ 2147483647 h 155"/>
                <a:gd name="T32" fmla="*/ 2147483647 w 267"/>
                <a:gd name="T33" fmla="*/ 2147483647 h 155"/>
                <a:gd name="T34" fmla="*/ 2147483647 w 267"/>
                <a:gd name="T35" fmla="*/ 2147483647 h 155"/>
                <a:gd name="T36" fmla="*/ 2147483647 w 267"/>
                <a:gd name="T37" fmla="*/ 2147483647 h 155"/>
                <a:gd name="T38" fmla="*/ 2147483647 w 267"/>
                <a:gd name="T39" fmla="*/ 2147483647 h 155"/>
                <a:gd name="T40" fmla="*/ 2147483647 w 267"/>
                <a:gd name="T41" fmla="*/ 2147483647 h 155"/>
                <a:gd name="T42" fmla="*/ 2147483647 w 267"/>
                <a:gd name="T43" fmla="*/ 2147483647 h 155"/>
                <a:gd name="T44" fmla="*/ 2147483647 w 267"/>
                <a:gd name="T45" fmla="*/ 2147483647 h 155"/>
                <a:gd name="T46" fmla="*/ 2147483647 w 267"/>
                <a:gd name="T47" fmla="*/ 2147483647 h 155"/>
                <a:gd name="T48" fmla="*/ 2147483647 w 267"/>
                <a:gd name="T49" fmla="*/ 2147483647 h 155"/>
                <a:gd name="T50" fmla="*/ 2147483647 w 267"/>
                <a:gd name="T51" fmla="*/ 2147483647 h 155"/>
                <a:gd name="T52" fmla="*/ 2147483647 w 267"/>
                <a:gd name="T53" fmla="*/ 2147483647 h 155"/>
                <a:gd name="T54" fmla="*/ 2147483647 w 267"/>
                <a:gd name="T55" fmla="*/ 2147483647 h 155"/>
                <a:gd name="T56" fmla="*/ 2147483647 w 267"/>
                <a:gd name="T57" fmla="*/ 2147483647 h 155"/>
                <a:gd name="T58" fmla="*/ 2147483647 w 267"/>
                <a:gd name="T59" fmla="*/ 2147483647 h 155"/>
                <a:gd name="T60" fmla="*/ 2147483647 w 267"/>
                <a:gd name="T61" fmla="*/ 2147483647 h 155"/>
                <a:gd name="T62" fmla="*/ 2147483647 w 267"/>
                <a:gd name="T63" fmla="*/ 2147483647 h 1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7"/>
                <a:gd name="T97" fmla="*/ 0 h 155"/>
                <a:gd name="T98" fmla="*/ 267 w 267"/>
                <a:gd name="T99" fmla="*/ 155 h 1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53" name="Freeform 80">
              <a:extLst>
                <a:ext uri="{FF2B5EF4-FFF2-40B4-BE49-F238E27FC236}">
                  <a16:creationId xmlns:a16="http://schemas.microsoft.com/office/drawing/2014/main" id="{B9F36754-7D97-CF4E-94C1-AFD2A2789DB4}"/>
                </a:ext>
              </a:extLst>
            </p:cNvPr>
            <p:cNvSpPr>
              <a:spLocks/>
            </p:cNvSpPr>
            <p:nvPr>
              <p:custDataLst>
                <p:tags r:id="rId46"/>
              </p:custDataLst>
            </p:nvPr>
          </p:nvSpPr>
          <p:spPr bwMode="auto">
            <a:xfrm>
              <a:off x="6020674" y="2934407"/>
              <a:ext cx="68435" cy="48406"/>
            </a:xfrm>
            <a:custGeom>
              <a:avLst/>
              <a:gdLst>
                <a:gd name="T0" fmla="*/ 2147483647 w 111"/>
                <a:gd name="T1" fmla="*/ 2147483647 h 87"/>
                <a:gd name="T2" fmla="*/ 2147483647 w 111"/>
                <a:gd name="T3" fmla="*/ 2147483647 h 87"/>
                <a:gd name="T4" fmla="*/ 2147483647 w 111"/>
                <a:gd name="T5" fmla="*/ 2147483647 h 87"/>
                <a:gd name="T6" fmla="*/ 2147483647 w 111"/>
                <a:gd name="T7" fmla="*/ 2147483647 h 87"/>
                <a:gd name="T8" fmla="*/ 2147483647 w 111"/>
                <a:gd name="T9" fmla="*/ 0 h 87"/>
                <a:gd name="T10" fmla="*/ 2147483647 w 111"/>
                <a:gd name="T11" fmla="*/ 0 h 87"/>
                <a:gd name="T12" fmla="*/ 2147483647 w 111"/>
                <a:gd name="T13" fmla="*/ 2147483647 h 87"/>
                <a:gd name="T14" fmla="*/ 2147483647 w 111"/>
                <a:gd name="T15" fmla="*/ 2147483647 h 87"/>
                <a:gd name="T16" fmla="*/ 2147483647 w 111"/>
                <a:gd name="T17" fmla="*/ 2147483647 h 87"/>
                <a:gd name="T18" fmla="*/ 2147483647 w 111"/>
                <a:gd name="T19" fmla="*/ 2147483647 h 87"/>
                <a:gd name="T20" fmla="*/ 2147483647 w 111"/>
                <a:gd name="T21" fmla="*/ 2147483647 h 87"/>
                <a:gd name="T22" fmla="*/ 2147483647 w 111"/>
                <a:gd name="T23" fmla="*/ 2147483647 h 87"/>
                <a:gd name="T24" fmla="*/ 2147483647 w 111"/>
                <a:gd name="T25" fmla="*/ 2147483647 h 87"/>
                <a:gd name="T26" fmla="*/ 0 w 111"/>
                <a:gd name="T27" fmla="*/ 2147483647 h 87"/>
                <a:gd name="T28" fmla="*/ 2147483647 w 111"/>
                <a:gd name="T29" fmla="*/ 2147483647 h 87"/>
                <a:gd name="T30" fmla="*/ 2147483647 w 111"/>
                <a:gd name="T31" fmla="*/ 2147483647 h 87"/>
                <a:gd name="T32" fmla="*/ 2147483647 w 111"/>
                <a:gd name="T33" fmla="*/ 2147483647 h 87"/>
                <a:gd name="T34" fmla="*/ 2147483647 w 111"/>
                <a:gd name="T35" fmla="*/ 2147483647 h 87"/>
                <a:gd name="T36" fmla="*/ 2147483647 w 111"/>
                <a:gd name="T37" fmla="*/ 2147483647 h 87"/>
                <a:gd name="T38" fmla="*/ 2147483647 w 111"/>
                <a:gd name="T39" fmla="*/ 2147483647 h 87"/>
                <a:gd name="T40" fmla="*/ 2147483647 w 111"/>
                <a:gd name="T41" fmla="*/ 2147483647 h 87"/>
                <a:gd name="T42" fmla="*/ 2147483647 w 111"/>
                <a:gd name="T43" fmla="*/ 2147483647 h 87"/>
                <a:gd name="T44" fmla="*/ 2147483647 w 111"/>
                <a:gd name="T45" fmla="*/ 2147483647 h 87"/>
                <a:gd name="T46" fmla="*/ 2147483647 w 111"/>
                <a:gd name="T47" fmla="*/ 2147483647 h 87"/>
                <a:gd name="T48" fmla="*/ 2147483647 w 111"/>
                <a:gd name="T49" fmla="*/ 2147483647 h 87"/>
                <a:gd name="T50" fmla="*/ 2147483647 w 111"/>
                <a:gd name="T51" fmla="*/ 2147483647 h 8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1"/>
                <a:gd name="T79" fmla="*/ 0 h 87"/>
                <a:gd name="T80" fmla="*/ 111 w 111"/>
                <a:gd name="T81" fmla="*/ 87 h 8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54" name="Freeform 81">
              <a:extLst>
                <a:ext uri="{FF2B5EF4-FFF2-40B4-BE49-F238E27FC236}">
                  <a16:creationId xmlns:a16="http://schemas.microsoft.com/office/drawing/2014/main" id="{5073F7D1-F81E-BB47-AC37-97160ED3C17D}"/>
                </a:ext>
              </a:extLst>
            </p:cNvPr>
            <p:cNvSpPr>
              <a:spLocks/>
            </p:cNvSpPr>
            <p:nvPr>
              <p:custDataLst>
                <p:tags r:id="rId47"/>
              </p:custDataLst>
            </p:nvPr>
          </p:nvSpPr>
          <p:spPr bwMode="auto">
            <a:xfrm>
              <a:off x="6170902" y="2754135"/>
              <a:ext cx="88466" cy="88466"/>
            </a:xfrm>
            <a:custGeom>
              <a:avLst/>
              <a:gdLst>
                <a:gd name="T0" fmla="*/ 0 w 143"/>
                <a:gd name="T1" fmla="*/ 2147483647 h 158"/>
                <a:gd name="T2" fmla="*/ 2147483647 w 143"/>
                <a:gd name="T3" fmla="*/ 2147483647 h 158"/>
                <a:gd name="T4" fmla="*/ 2147483647 w 143"/>
                <a:gd name="T5" fmla="*/ 2147483647 h 158"/>
                <a:gd name="T6" fmla="*/ 2147483647 w 143"/>
                <a:gd name="T7" fmla="*/ 2147483647 h 158"/>
                <a:gd name="T8" fmla="*/ 2147483647 w 143"/>
                <a:gd name="T9" fmla="*/ 2147483647 h 158"/>
                <a:gd name="T10" fmla="*/ 2147483647 w 143"/>
                <a:gd name="T11" fmla="*/ 2147483647 h 158"/>
                <a:gd name="T12" fmla="*/ 2147483647 w 143"/>
                <a:gd name="T13" fmla="*/ 2147483647 h 158"/>
                <a:gd name="T14" fmla="*/ 2147483647 w 143"/>
                <a:gd name="T15" fmla="*/ 2147483647 h 158"/>
                <a:gd name="T16" fmla="*/ 2147483647 w 143"/>
                <a:gd name="T17" fmla="*/ 2147483647 h 158"/>
                <a:gd name="T18" fmla="*/ 2147483647 w 143"/>
                <a:gd name="T19" fmla="*/ 2147483647 h 158"/>
                <a:gd name="T20" fmla="*/ 2147483647 w 143"/>
                <a:gd name="T21" fmla="*/ 2147483647 h 158"/>
                <a:gd name="T22" fmla="*/ 2147483647 w 143"/>
                <a:gd name="T23" fmla="*/ 2147483647 h 158"/>
                <a:gd name="T24" fmla="*/ 2147483647 w 143"/>
                <a:gd name="T25" fmla="*/ 2147483647 h 158"/>
                <a:gd name="T26" fmla="*/ 2147483647 w 143"/>
                <a:gd name="T27" fmla="*/ 2147483647 h 158"/>
                <a:gd name="T28" fmla="*/ 2147483647 w 143"/>
                <a:gd name="T29" fmla="*/ 2147483647 h 158"/>
                <a:gd name="T30" fmla="*/ 2147483647 w 143"/>
                <a:gd name="T31" fmla="*/ 2147483647 h 158"/>
                <a:gd name="T32" fmla="*/ 2147483647 w 143"/>
                <a:gd name="T33" fmla="*/ 2147483647 h 158"/>
                <a:gd name="T34" fmla="*/ 2147483647 w 143"/>
                <a:gd name="T35" fmla="*/ 2147483647 h 158"/>
                <a:gd name="T36" fmla="*/ 2147483647 w 143"/>
                <a:gd name="T37" fmla="*/ 2147483647 h 158"/>
                <a:gd name="T38" fmla="*/ 2147483647 w 143"/>
                <a:gd name="T39" fmla="*/ 2147483647 h 158"/>
                <a:gd name="T40" fmla="*/ 2147483647 w 143"/>
                <a:gd name="T41" fmla="*/ 2147483647 h 158"/>
                <a:gd name="T42" fmla="*/ 2147483647 w 143"/>
                <a:gd name="T43" fmla="*/ 2147483647 h 158"/>
                <a:gd name="T44" fmla="*/ 2147483647 w 143"/>
                <a:gd name="T45" fmla="*/ 2147483647 h 158"/>
                <a:gd name="T46" fmla="*/ 2147483647 w 143"/>
                <a:gd name="T47" fmla="*/ 2147483647 h 158"/>
                <a:gd name="T48" fmla="*/ 2147483647 w 143"/>
                <a:gd name="T49" fmla="*/ 2147483647 h 158"/>
                <a:gd name="T50" fmla="*/ 2147483647 w 143"/>
                <a:gd name="T51" fmla="*/ 2147483647 h 158"/>
                <a:gd name="T52" fmla="*/ 2147483647 w 143"/>
                <a:gd name="T53" fmla="*/ 2147483647 h 158"/>
                <a:gd name="T54" fmla="*/ 2147483647 w 143"/>
                <a:gd name="T55" fmla="*/ 2147483647 h 158"/>
                <a:gd name="T56" fmla="*/ 2147483647 w 143"/>
                <a:gd name="T57" fmla="*/ 2147483647 h 158"/>
                <a:gd name="T58" fmla="*/ 2147483647 w 143"/>
                <a:gd name="T59" fmla="*/ 2147483647 h 158"/>
                <a:gd name="T60" fmla="*/ 2147483647 w 143"/>
                <a:gd name="T61" fmla="*/ 2147483647 h 158"/>
                <a:gd name="T62" fmla="*/ 2147483647 w 143"/>
                <a:gd name="T63" fmla="*/ 2147483647 h 158"/>
                <a:gd name="T64" fmla="*/ 2147483647 w 143"/>
                <a:gd name="T65" fmla="*/ 2147483647 h 158"/>
                <a:gd name="T66" fmla="*/ 2147483647 w 143"/>
                <a:gd name="T67" fmla="*/ 2147483647 h 158"/>
                <a:gd name="T68" fmla="*/ 2147483647 w 143"/>
                <a:gd name="T69" fmla="*/ 2147483647 h 158"/>
                <a:gd name="T70" fmla="*/ 2147483647 w 143"/>
                <a:gd name="T71" fmla="*/ 2147483647 h 158"/>
                <a:gd name="T72" fmla="*/ 0 w 143"/>
                <a:gd name="T73" fmla="*/ 2147483647 h 158"/>
                <a:gd name="T74" fmla="*/ 0 w 143"/>
                <a:gd name="T75" fmla="*/ 2147483647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
                <a:gd name="T115" fmla="*/ 0 h 158"/>
                <a:gd name="T116" fmla="*/ 143 w 143"/>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55" name="Freeform 82">
              <a:extLst>
                <a:ext uri="{FF2B5EF4-FFF2-40B4-BE49-F238E27FC236}">
                  <a16:creationId xmlns:a16="http://schemas.microsoft.com/office/drawing/2014/main" id="{5C90182F-8FBF-194C-A15B-F44F08149B04}"/>
                </a:ext>
              </a:extLst>
            </p:cNvPr>
            <p:cNvSpPr>
              <a:spLocks/>
            </p:cNvSpPr>
            <p:nvPr>
              <p:custDataLst>
                <p:tags r:id="rId48"/>
              </p:custDataLst>
            </p:nvPr>
          </p:nvSpPr>
          <p:spPr bwMode="auto">
            <a:xfrm>
              <a:off x="5721889" y="2789187"/>
              <a:ext cx="8346" cy="8346"/>
            </a:xfrm>
            <a:custGeom>
              <a:avLst/>
              <a:gdLst>
                <a:gd name="T0" fmla="*/ 2147483647 w 15"/>
                <a:gd name="T1" fmla="*/ 2147483647 h 16"/>
                <a:gd name="T2" fmla="*/ 2147483647 w 15"/>
                <a:gd name="T3" fmla="*/ 2147483647 h 16"/>
                <a:gd name="T4" fmla="*/ 2147483647 w 15"/>
                <a:gd name="T5" fmla="*/ 2147483647 h 16"/>
                <a:gd name="T6" fmla="*/ 2147483647 w 15"/>
                <a:gd name="T7" fmla="*/ 2147483647 h 16"/>
                <a:gd name="T8" fmla="*/ 2147483647 w 15"/>
                <a:gd name="T9" fmla="*/ 2147483647 h 16"/>
                <a:gd name="T10" fmla="*/ 2147483647 w 15"/>
                <a:gd name="T11" fmla="*/ 0 h 16"/>
                <a:gd name="T12" fmla="*/ 2147483647 w 15"/>
                <a:gd name="T13" fmla="*/ 2147483647 h 16"/>
                <a:gd name="T14" fmla="*/ 0 60000 65536"/>
                <a:gd name="T15" fmla="*/ 0 60000 65536"/>
                <a:gd name="T16" fmla="*/ 0 60000 65536"/>
                <a:gd name="T17" fmla="*/ 0 60000 65536"/>
                <a:gd name="T18" fmla="*/ 0 60000 65536"/>
                <a:gd name="T19" fmla="*/ 0 60000 65536"/>
                <a:gd name="T20" fmla="*/ 0 60000 65536"/>
                <a:gd name="T21" fmla="*/ 0 w 15"/>
                <a:gd name="T22" fmla="*/ 0 h 16"/>
                <a:gd name="T23" fmla="*/ 15 w 15"/>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56" name="Freeform 83">
              <a:extLst>
                <a:ext uri="{FF2B5EF4-FFF2-40B4-BE49-F238E27FC236}">
                  <a16:creationId xmlns:a16="http://schemas.microsoft.com/office/drawing/2014/main" id="{46115208-ADE2-AF4F-B253-FEE3447DF666}"/>
                </a:ext>
              </a:extLst>
            </p:cNvPr>
            <p:cNvSpPr>
              <a:spLocks/>
            </p:cNvSpPr>
            <p:nvPr>
              <p:custDataLst>
                <p:tags r:id="rId49"/>
              </p:custDataLst>
            </p:nvPr>
          </p:nvSpPr>
          <p:spPr bwMode="auto">
            <a:xfrm>
              <a:off x="6005651" y="2759142"/>
              <a:ext cx="257055" cy="140213"/>
            </a:xfrm>
            <a:custGeom>
              <a:avLst/>
              <a:gdLst>
                <a:gd name="T0" fmla="*/ 2147483647 w 411"/>
                <a:gd name="T1" fmla="*/ 2147483647 h 248"/>
                <a:gd name="T2" fmla="*/ 2147483647 w 411"/>
                <a:gd name="T3" fmla="*/ 2147483647 h 248"/>
                <a:gd name="T4" fmla="*/ 2147483647 w 411"/>
                <a:gd name="T5" fmla="*/ 2147483647 h 248"/>
                <a:gd name="T6" fmla="*/ 2147483647 w 411"/>
                <a:gd name="T7" fmla="*/ 2147483647 h 248"/>
                <a:gd name="T8" fmla="*/ 2147483647 w 411"/>
                <a:gd name="T9" fmla="*/ 2147483647 h 248"/>
                <a:gd name="T10" fmla="*/ 2147483647 w 411"/>
                <a:gd name="T11" fmla="*/ 2147483647 h 248"/>
                <a:gd name="T12" fmla="*/ 2147483647 w 411"/>
                <a:gd name="T13" fmla="*/ 2147483647 h 248"/>
                <a:gd name="T14" fmla="*/ 2147483647 w 411"/>
                <a:gd name="T15" fmla="*/ 2147483647 h 248"/>
                <a:gd name="T16" fmla="*/ 2147483647 w 411"/>
                <a:gd name="T17" fmla="*/ 2147483647 h 248"/>
                <a:gd name="T18" fmla="*/ 2147483647 w 411"/>
                <a:gd name="T19" fmla="*/ 2147483647 h 248"/>
                <a:gd name="T20" fmla="*/ 2147483647 w 411"/>
                <a:gd name="T21" fmla="*/ 2147483647 h 248"/>
                <a:gd name="T22" fmla="*/ 2147483647 w 411"/>
                <a:gd name="T23" fmla="*/ 2147483647 h 248"/>
                <a:gd name="T24" fmla="*/ 2147483647 w 411"/>
                <a:gd name="T25" fmla="*/ 2147483647 h 248"/>
                <a:gd name="T26" fmla="*/ 2147483647 w 411"/>
                <a:gd name="T27" fmla="*/ 2147483647 h 248"/>
                <a:gd name="T28" fmla="*/ 2147483647 w 411"/>
                <a:gd name="T29" fmla="*/ 2147483647 h 248"/>
                <a:gd name="T30" fmla="*/ 2147483647 w 411"/>
                <a:gd name="T31" fmla="*/ 2147483647 h 248"/>
                <a:gd name="T32" fmla="*/ 2147483647 w 411"/>
                <a:gd name="T33" fmla="*/ 2147483647 h 248"/>
                <a:gd name="T34" fmla="*/ 2147483647 w 411"/>
                <a:gd name="T35" fmla="*/ 2147483647 h 248"/>
                <a:gd name="T36" fmla="*/ 2147483647 w 411"/>
                <a:gd name="T37" fmla="*/ 2147483647 h 248"/>
                <a:gd name="T38" fmla="*/ 2147483647 w 411"/>
                <a:gd name="T39" fmla="*/ 2147483647 h 248"/>
                <a:gd name="T40" fmla="*/ 2147483647 w 411"/>
                <a:gd name="T41" fmla="*/ 2147483647 h 248"/>
                <a:gd name="T42" fmla="*/ 2147483647 w 411"/>
                <a:gd name="T43" fmla="*/ 2147483647 h 248"/>
                <a:gd name="T44" fmla="*/ 2147483647 w 411"/>
                <a:gd name="T45" fmla="*/ 2147483647 h 248"/>
                <a:gd name="T46" fmla="*/ 2147483647 w 411"/>
                <a:gd name="T47" fmla="*/ 2147483647 h 248"/>
                <a:gd name="T48" fmla="*/ 2147483647 w 411"/>
                <a:gd name="T49" fmla="*/ 2147483647 h 248"/>
                <a:gd name="T50" fmla="*/ 2147483647 w 411"/>
                <a:gd name="T51" fmla="*/ 2147483647 h 248"/>
                <a:gd name="T52" fmla="*/ 2147483647 w 411"/>
                <a:gd name="T53" fmla="*/ 2147483647 h 248"/>
                <a:gd name="T54" fmla="*/ 2147483647 w 411"/>
                <a:gd name="T55" fmla="*/ 2147483647 h 248"/>
                <a:gd name="T56" fmla="*/ 2147483647 w 411"/>
                <a:gd name="T57" fmla="*/ 2147483647 h 248"/>
                <a:gd name="T58" fmla="*/ 2147483647 w 411"/>
                <a:gd name="T59" fmla="*/ 2147483647 h 248"/>
                <a:gd name="T60" fmla="*/ 2147483647 w 411"/>
                <a:gd name="T61" fmla="*/ 2147483647 h 248"/>
                <a:gd name="T62" fmla="*/ 2147483647 w 411"/>
                <a:gd name="T63" fmla="*/ 2147483647 h 248"/>
                <a:gd name="T64" fmla="*/ 2147483647 w 411"/>
                <a:gd name="T65" fmla="*/ 2147483647 h 248"/>
                <a:gd name="T66" fmla="*/ 2147483647 w 411"/>
                <a:gd name="T67" fmla="*/ 2147483647 h 248"/>
                <a:gd name="T68" fmla="*/ 2147483647 w 411"/>
                <a:gd name="T69" fmla="*/ 2147483647 h 248"/>
                <a:gd name="T70" fmla="*/ 2147483647 w 411"/>
                <a:gd name="T71" fmla="*/ 2147483647 h 248"/>
                <a:gd name="T72" fmla="*/ 2147483647 w 411"/>
                <a:gd name="T73" fmla="*/ 2147483647 h 248"/>
                <a:gd name="T74" fmla="*/ 2147483647 w 411"/>
                <a:gd name="T75" fmla="*/ 2147483647 h 24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11"/>
                <a:gd name="T115" fmla="*/ 0 h 248"/>
                <a:gd name="T116" fmla="*/ 411 w 411"/>
                <a:gd name="T117" fmla="*/ 248 h 24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57" name="Freeform 84">
              <a:extLst>
                <a:ext uri="{FF2B5EF4-FFF2-40B4-BE49-F238E27FC236}">
                  <a16:creationId xmlns:a16="http://schemas.microsoft.com/office/drawing/2014/main" id="{78A2B908-975E-754D-A946-85A381282CC9}"/>
                </a:ext>
              </a:extLst>
            </p:cNvPr>
            <p:cNvSpPr>
              <a:spLocks/>
            </p:cNvSpPr>
            <p:nvPr>
              <p:custDataLst>
                <p:tags r:id="rId50"/>
              </p:custDataLst>
            </p:nvPr>
          </p:nvSpPr>
          <p:spPr bwMode="auto">
            <a:xfrm>
              <a:off x="5885469" y="2850948"/>
              <a:ext cx="108499" cy="83460"/>
            </a:xfrm>
            <a:custGeom>
              <a:avLst/>
              <a:gdLst>
                <a:gd name="T0" fmla="*/ 2147483647 w 173"/>
                <a:gd name="T1" fmla="*/ 2147483647 h 153"/>
                <a:gd name="T2" fmla="*/ 2147483647 w 173"/>
                <a:gd name="T3" fmla="*/ 2147483647 h 153"/>
                <a:gd name="T4" fmla="*/ 2147483647 w 173"/>
                <a:gd name="T5" fmla="*/ 2147483647 h 153"/>
                <a:gd name="T6" fmla="*/ 2147483647 w 173"/>
                <a:gd name="T7" fmla="*/ 2147483647 h 153"/>
                <a:gd name="T8" fmla="*/ 2147483647 w 173"/>
                <a:gd name="T9" fmla="*/ 2147483647 h 153"/>
                <a:gd name="T10" fmla="*/ 2147483647 w 173"/>
                <a:gd name="T11" fmla="*/ 2147483647 h 153"/>
                <a:gd name="T12" fmla="*/ 2147483647 w 173"/>
                <a:gd name="T13" fmla="*/ 2147483647 h 153"/>
                <a:gd name="T14" fmla="*/ 2147483647 w 173"/>
                <a:gd name="T15" fmla="*/ 2147483647 h 153"/>
                <a:gd name="T16" fmla="*/ 2147483647 w 173"/>
                <a:gd name="T17" fmla="*/ 2147483647 h 153"/>
                <a:gd name="T18" fmla="*/ 2147483647 w 173"/>
                <a:gd name="T19" fmla="*/ 2147483647 h 153"/>
                <a:gd name="T20" fmla="*/ 2147483647 w 173"/>
                <a:gd name="T21" fmla="*/ 2147483647 h 153"/>
                <a:gd name="T22" fmla="*/ 2147483647 w 173"/>
                <a:gd name="T23" fmla="*/ 2147483647 h 153"/>
                <a:gd name="T24" fmla="*/ 2147483647 w 173"/>
                <a:gd name="T25" fmla="*/ 2147483647 h 153"/>
                <a:gd name="T26" fmla="*/ 2147483647 w 173"/>
                <a:gd name="T27" fmla="*/ 2147483647 h 153"/>
                <a:gd name="T28" fmla="*/ 2147483647 w 173"/>
                <a:gd name="T29" fmla="*/ 2147483647 h 153"/>
                <a:gd name="T30" fmla="*/ 2147483647 w 173"/>
                <a:gd name="T31" fmla="*/ 2147483647 h 153"/>
                <a:gd name="T32" fmla="*/ 2147483647 w 173"/>
                <a:gd name="T33" fmla="*/ 2147483647 h 153"/>
                <a:gd name="T34" fmla="*/ 0 w 173"/>
                <a:gd name="T35" fmla="*/ 2147483647 h 153"/>
                <a:gd name="T36" fmla="*/ 2147483647 w 173"/>
                <a:gd name="T37" fmla="*/ 2147483647 h 153"/>
                <a:gd name="T38" fmla="*/ 2147483647 w 173"/>
                <a:gd name="T39" fmla="*/ 2147483647 h 153"/>
                <a:gd name="T40" fmla="*/ 2147483647 w 173"/>
                <a:gd name="T41" fmla="*/ 2147483647 h 153"/>
                <a:gd name="T42" fmla="*/ 2147483647 w 173"/>
                <a:gd name="T43" fmla="*/ 2147483647 h 153"/>
                <a:gd name="T44" fmla="*/ 2147483647 w 173"/>
                <a:gd name="T45" fmla="*/ 2147483647 h 153"/>
                <a:gd name="T46" fmla="*/ 2147483647 w 173"/>
                <a:gd name="T47" fmla="*/ 2147483647 h 153"/>
                <a:gd name="T48" fmla="*/ 2147483647 w 173"/>
                <a:gd name="T49" fmla="*/ 2147483647 h 153"/>
                <a:gd name="T50" fmla="*/ 2147483647 w 173"/>
                <a:gd name="T51" fmla="*/ 2147483647 h 153"/>
                <a:gd name="T52" fmla="*/ 2147483647 w 173"/>
                <a:gd name="T53" fmla="*/ 2147483647 h 153"/>
                <a:gd name="T54" fmla="*/ 2147483647 w 173"/>
                <a:gd name="T55" fmla="*/ 2147483647 h 153"/>
                <a:gd name="T56" fmla="*/ 2147483647 w 173"/>
                <a:gd name="T57" fmla="*/ 2147483647 h 153"/>
                <a:gd name="T58" fmla="*/ 2147483647 w 173"/>
                <a:gd name="T59" fmla="*/ 2147483647 h 153"/>
                <a:gd name="T60" fmla="*/ 2147483647 w 173"/>
                <a:gd name="T61" fmla="*/ 2147483647 h 153"/>
                <a:gd name="T62" fmla="*/ 2147483647 w 173"/>
                <a:gd name="T63" fmla="*/ 2147483647 h 153"/>
                <a:gd name="T64" fmla="*/ 2147483647 w 173"/>
                <a:gd name="T65" fmla="*/ 2147483647 h 153"/>
                <a:gd name="T66" fmla="*/ 2147483647 w 173"/>
                <a:gd name="T67" fmla="*/ 2147483647 h 153"/>
                <a:gd name="T68" fmla="*/ 2147483647 w 173"/>
                <a:gd name="T69" fmla="*/ 2147483647 h 153"/>
                <a:gd name="T70" fmla="*/ 2147483647 w 173"/>
                <a:gd name="T71" fmla="*/ 2147483647 h 153"/>
                <a:gd name="T72" fmla="*/ 2147483647 w 173"/>
                <a:gd name="T73" fmla="*/ 2147483647 h 153"/>
                <a:gd name="T74" fmla="*/ 2147483647 w 173"/>
                <a:gd name="T75" fmla="*/ 2147483647 h 153"/>
                <a:gd name="T76" fmla="*/ 2147483647 w 173"/>
                <a:gd name="T77" fmla="*/ 2147483647 h 153"/>
                <a:gd name="T78" fmla="*/ 2147483647 w 173"/>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73"/>
                <a:gd name="T121" fmla="*/ 0 h 153"/>
                <a:gd name="T122" fmla="*/ 173 w 173"/>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58" name="Freeform 85">
              <a:extLst>
                <a:ext uri="{FF2B5EF4-FFF2-40B4-BE49-F238E27FC236}">
                  <a16:creationId xmlns:a16="http://schemas.microsoft.com/office/drawing/2014/main" id="{3F2424EB-88A7-8540-A750-BFBAB7470641}"/>
                </a:ext>
              </a:extLst>
            </p:cNvPr>
            <p:cNvSpPr>
              <a:spLocks/>
            </p:cNvSpPr>
            <p:nvPr>
              <p:custDataLst>
                <p:tags r:id="rId51"/>
              </p:custDataLst>
            </p:nvPr>
          </p:nvSpPr>
          <p:spPr bwMode="auto">
            <a:xfrm>
              <a:off x="5833725" y="2812557"/>
              <a:ext cx="153566" cy="103490"/>
            </a:xfrm>
            <a:custGeom>
              <a:avLst/>
              <a:gdLst>
                <a:gd name="T0" fmla="*/ 2147483647 w 246"/>
                <a:gd name="T1" fmla="*/ 2147483647 h 186"/>
                <a:gd name="T2" fmla="*/ 2147483647 w 246"/>
                <a:gd name="T3" fmla="*/ 2147483647 h 186"/>
                <a:gd name="T4" fmla="*/ 2147483647 w 246"/>
                <a:gd name="T5" fmla="*/ 2147483647 h 186"/>
                <a:gd name="T6" fmla="*/ 2147483647 w 246"/>
                <a:gd name="T7" fmla="*/ 2147483647 h 186"/>
                <a:gd name="T8" fmla="*/ 2147483647 w 246"/>
                <a:gd name="T9" fmla="*/ 2147483647 h 186"/>
                <a:gd name="T10" fmla="*/ 2147483647 w 246"/>
                <a:gd name="T11" fmla="*/ 2147483647 h 186"/>
                <a:gd name="T12" fmla="*/ 2147483647 w 246"/>
                <a:gd name="T13" fmla="*/ 2147483647 h 186"/>
                <a:gd name="T14" fmla="*/ 2147483647 w 246"/>
                <a:gd name="T15" fmla="*/ 2147483647 h 186"/>
                <a:gd name="T16" fmla="*/ 2147483647 w 246"/>
                <a:gd name="T17" fmla="*/ 2147483647 h 186"/>
                <a:gd name="T18" fmla="*/ 2147483647 w 246"/>
                <a:gd name="T19" fmla="*/ 2147483647 h 186"/>
                <a:gd name="T20" fmla="*/ 2147483647 w 246"/>
                <a:gd name="T21" fmla="*/ 2147483647 h 186"/>
                <a:gd name="T22" fmla="*/ 2147483647 w 246"/>
                <a:gd name="T23" fmla="*/ 2147483647 h 186"/>
                <a:gd name="T24" fmla="*/ 2147483647 w 246"/>
                <a:gd name="T25" fmla="*/ 2147483647 h 186"/>
                <a:gd name="T26" fmla="*/ 2147483647 w 246"/>
                <a:gd name="T27" fmla="*/ 2147483647 h 186"/>
                <a:gd name="T28" fmla="*/ 2147483647 w 246"/>
                <a:gd name="T29" fmla="*/ 2147483647 h 186"/>
                <a:gd name="T30" fmla="*/ 2147483647 w 246"/>
                <a:gd name="T31" fmla="*/ 2147483647 h 186"/>
                <a:gd name="T32" fmla="*/ 2147483647 w 246"/>
                <a:gd name="T33" fmla="*/ 2147483647 h 186"/>
                <a:gd name="T34" fmla="*/ 2147483647 w 246"/>
                <a:gd name="T35" fmla="*/ 2147483647 h 186"/>
                <a:gd name="T36" fmla="*/ 2147483647 w 246"/>
                <a:gd name="T37" fmla="*/ 2147483647 h 186"/>
                <a:gd name="T38" fmla="*/ 2147483647 w 246"/>
                <a:gd name="T39" fmla="*/ 2147483647 h 186"/>
                <a:gd name="T40" fmla="*/ 2147483647 w 246"/>
                <a:gd name="T41" fmla="*/ 2147483647 h 186"/>
                <a:gd name="T42" fmla="*/ 2147483647 w 246"/>
                <a:gd name="T43" fmla="*/ 2147483647 h 186"/>
                <a:gd name="T44" fmla="*/ 2147483647 w 246"/>
                <a:gd name="T45" fmla="*/ 2147483647 h 186"/>
                <a:gd name="T46" fmla="*/ 2147483647 w 246"/>
                <a:gd name="T47" fmla="*/ 2147483647 h 186"/>
                <a:gd name="T48" fmla="*/ 2147483647 w 246"/>
                <a:gd name="T49" fmla="*/ 2147483647 h 186"/>
                <a:gd name="T50" fmla="*/ 2147483647 w 246"/>
                <a:gd name="T51" fmla="*/ 2147483647 h 186"/>
                <a:gd name="T52" fmla="*/ 2147483647 w 246"/>
                <a:gd name="T53" fmla="*/ 2147483647 h 186"/>
                <a:gd name="T54" fmla="*/ 2147483647 w 246"/>
                <a:gd name="T55" fmla="*/ 2147483647 h 186"/>
                <a:gd name="T56" fmla="*/ 2147483647 w 246"/>
                <a:gd name="T57" fmla="*/ 2147483647 h 186"/>
                <a:gd name="T58" fmla="*/ 2147483647 w 246"/>
                <a:gd name="T59" fmla="*/ 2147483647 h 186"/>
                <a:gd name="T60" fmla="*/ 2147483647 w 246"/>
                <a:gd name="T61" fmla="*/ 2147483647 h 186"/>
                <a:gd name="T62" fmla="*/ 2147483647 w 246"/>
                <a:gd name="T63" fmla="*/ 2147483647 h 1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6"/>
                <a:gd name="T97" fmla="*/ 0 h 186"/>
                <a:gd name="T98" fmla="*/ 246 w 246"/>
                <a:gd name="T99" fmla="*/ 186 h 1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59" name="Freeform 86">
              <a:extLst>
                <a:ext uri="{FF2B5EF4-FFF2-40B4-BE49-F238E27FC236}">
                  <a16:creationId xmlns:a16="http://schemas.microsoft.com/office/drawing/2014/main" id="{1BAB4602-31E6-FE41-A75A-A2387943AB00}"/>
                </a:ext>
              </a:extLst>
            </p:cNvPr>
            <p:cNvSpPr>
              <a:spLocks/>
            </p:cNvSpPr>
            <p:nvPr>
              <p:custDataLst>
                <p:tags r:id="rId52"/>
              </p:custDataLst>
            </p:nvPr>
          </p:nvSpPr>
          <p:spPr bwMode="auto">
            <a:xfrm>
              <a:off x="5827048" y="2800872"/>
              <a:ext cx="85128" cy="43399"/>
            </a:xfrm>
            <a:custGeom>
              <a:avLst/>
              <a:gdLst>
                <a:gd name="T0" fmla="*/ 2147483647 w 138"/>
                <a:gd name="T1" fmla="*/ 2147483647 h 80"/>
                <a:gd name="T2" fmla="*/ 2147483647 w 138"/>
                <a:gd name="T3" fmla="*/ 2147483647 h 80"/>
                <a:gd name="T4" fmla="*/ 2147483647 w 138"/>
                <a:gd name="T5" fmla="*/ 2147483647 h 80"/>
                <a:gd name="T6" fmla="*/ 2147483647 w 138"/>
                <a:gd name="T7" fmla="*/ 2147483647 h 80"/>
                <a:gd name="T8" fmla="*/ 2147483647 w 138"/>
                <a:gd name="T9" fmla="*/ 2147483647 h 80"/>
                <a:gd name="T10" fmla="*/ 2147483647 w 138"/>
                <a:gd name="T11" fmla="*/ 2147483647 h 80"/>
                <a:gd name="T12" fmla="*/ 2147483647 w 138"/>
                <a:gd name="T13" fmla="*/ 2147483647 h 80"/>
                <a:gd name="T14" fmla="*/ 2147483647 w 138"/>
                <a:gd name="T15" fmla="*/ 2147483647 h 80"/>
                <a:gd name="T16" fmla="*/ 2147483647 w 138"/>
                <a:gd name="T17" fmla="*/ 2147483647 h 80"/>
                <a:gd name="T18" fmla="*/ 2147483647 w 138"/>
                <a:gd name="T19" fmla="*/ 2147483647 h 80"/>
                <a:gd name="T20" fmla="*/ 2147483647 w 138"/>
                <a:gd name="T21" fmla="*/ 2147483647 h 80"/>
                <a:gd name="T22" fmla="*/ 2147483647 w 138"/>
                <a:gd name="T23" fmla="*/ 2147483647 h 80"/>
                <a:gd name="T24" fmla="*/ 2147483647 w 138"/>
                <a:gd name="T25" fmla="*/ 2147483647 h 80"/>
                <a:gd name="T26" fmla="*/ 2147483647 w 138"/>
                <a:gd name="T27" fmla="*/ 2147483647 h 80"/>
                <a:gd name="T28" fmla="*/ 2147483647 w 138"/>
                <a:gd name="T29" fmla="*/ 2147483647 h 80"/>
                <a:gd name="T30" fmla="*/ 2147483647 w 138"/>
                <a:gd name="T31" fmla="*/ 2147483647 h 80"/>
                <a:gd name="T32" fmla="*/ 2147483647 w 138"/>
                <a:gd name="T33" fmla="*/ 2147483647 h 80"/>
                <a:gd name="T34" fmla="*/ 2147483647 w 138"/>
                <a:gd name="T35" fmla="*/ 2147483647 h 80"/>
                <a:gd name="T36" fmla="*/ 2147483647 w 138"/>
                <a:gd name="T37" fmla="*/ 2147483647 h 80"/>
                <a:gd name="T38" fmla="*/ 2147483647 w 138"/>
                <a:gd name="T39" fmla="*/ 0 h 80"/>
                <a:gd name="T40" fmla="*/ 2147483647 w 138"/>
                <a:gd name="T41" fmla="*/ 2147483647 h 80"/>
                <a:gd name="T42" fmla="*/ 2147483647 w 138"/>
                <a:gd name="T43" fmla="*/ 2147483647 h 80"/>
                <a:gd name="T44" fmla="*/ 2147483647 w 138"/>
                <a:gd name="T45" fmla="*/ 2147483647 h 80"/>
                <a:gd name="T46" fmla="*/ 2147483647 w 138"/>
                <a:gd name="T47" fmla="*/ 2147483647 h 80"/>
                <a:gd name="T48" fmla="*/ 2147483647 w 138"/>
                <a:gd name="T49" fmla="*/ 2147483647 h 80"/>
                <a:gd name="T50" fmla="*/ 2147483647 w 138"/>
                <a:gd name="T51" fmla="*/ 2147483647 h 80"/>
                <a:gd name="T52" fmla="*/ 2147483647 w 138"/>
                <a:gd name="T53" fmla="*/ 2147483647 h 80"/>
                <a:gd name="T54" fmla="*/ 2147483647 w 138"/>
                <a:gd name="T55" fmla="*/ 2147483647 h 80"/>
                <a:gd name="T56" fmla="*/ 2147483647 w 138"/>
                <a:gd name="T57" fmla="*/ 2147483647 h 80"/>
                <a:gd name="T58" fmla="*/ 2147483647 w 138"/>
                <a:gd name="T59" fmla="*/ 2147483647 h 80"/>
                <a:gd name="T60" fmla="*/ 0 w 138"/>
                <a:gd name="T61" fmla="*/ 2147483647 h 80"/>
                <a:gd name="T62" fmla="*/ 2147483647 w 138"/>
                <a:gd name="T63" fmla="*/ 2147483647 h 80"/>
                <a:gd name="T64" fmla="*/ 2147483647 w 138"/>
                <a:gd name="T65" fmla="*/ 2147483647 h 80"/>
                <a:gd name="T66" fmla="*/ 2147483647 w 138"/>
                <a:gd name="T67" fmla="*/ 2147483647 h 80"/>
                <a:gd name="T68" fmla="*/ 2147483647 w 138"/>
                <a:gd name="T69" fmla="*/ 2147483647 h 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8"/>
                <a:gd name="T106" fmla="*/ 0 h 80"/>
                <a:gd name="T107" fmla="*/ 138 w 138"/>
                <a:gd name="T108" fmla="*/ 80 h 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60" name="Freeform 87">
              <a:extLst>
                <a:ext uri="{FF2B5EF4-FFF2-40B4-BE49-F238E27FC236}">
                  <a16:creationId xmlns:a16="http://schemas.microsoft.com/office/drawing/2014/main" id="{008F7E6D-4A0D-A24D-BEE7-D535891F7F7B}"/>
                </a:ext>
              </a:extLst>
            </p:cNvPr>
            <p:cNvSpPr>
              <a:spLocks/>
            </p:cNvSpPr>
            <p:nvPr>
              <p:custDataLst>
                <p:tags r:id="rId53"/>
              </p:custDataLst>
            </p:nvPr>
          </p:nvSpPr>
          <p:spPr bwMode="auto">
            <a:xfrm>
              <a:off x="5915514" y="2722420"/>
              <a:ext cx="145220" cy="56752"/>
            </a:xfrm>
            <a:custGeom>
              <a:avLst/>
              <a:gdLst>
                <a:gd name="T0" fmla="*/ 2147483647 w 239"/>
                <a:gd name="T1" fmla="*/ 2147483647 h 98"/>
                <a:gd name="T2" fmla="*/ 2147483647 w 239"/>
                <a:gd name="T3" fmla="*/ 2147483647 h 98"/>
                <a:gd name="T4" fmla="*/ 2147483647 w 239"/>
                <a:gd name="T5" fmla="*/ 2147483647 h 98"/>
                <a:gd name="T6" fmla="*/ 2147483647 w 239"/>
                <a:gd name="T7" fmla="*/ 2147483647 h 98"/>
                <a:gd name="T8" fmla="*/ 2147483647 w 239"/>
                <a:gd name="T9" fmla="*/ 2147483647 h 98"/>
                <a:gd name="T10" fmla="*/ 2147483647 w 239"/>
                <a:gd name="T11" fmla="*/ 2147483647 h 98"/>
                <a:gd name="T12" fmla="*/ 2147483647 w 239"/>
                <a:gd name="T13" fmla="*/ 2147483647 h 98"/>
                <a:gd name="T14" fmla="*/ 2147483647 w 239"/>
                <a:gd name="T15" fmla="*/ 2147483647 h 98"/>
                <a:gd name="T16" fmla="*/ 2147483647 w 239"/>
                <a:gd name="T17" fmla="*/ 2147483647 h 98"/>
                <a:gd name="T18" fmla="*/ 2147483647 w 239"/>
                <a:gd name="T19" fmla="*/ 2147483647 h 98"/>
                <a:gd name="T20" fmla="*/ 2147483647 w 239"/>
                <a:gd name="T21" fmla="*/ 2147483647 h 98"/>
                <a:gd name="T22" fmla="*/ 2147483647 w 239"/>
                <a:gd name="T23" fmla="*/ 2147483647 h 98"/>
                <a:gd name="T24" fmla="*/ 2147483647 w 239"/>
                <a:gd name="T25" fmla="*/ 2147483647 h 98"/>
                <a:gd name="T26" fmla="*/ 2147483647 w 239"/>
                <a:gd name="T27" fmla="*/ 2147483647 h 98"/>
                <a:gd name="T28" fmla="*/ 2147483647 w 239"/>
                <a:gd name="T29" fmla="*/ 2147483647 h 98"/>
                <a:gd name="T30" fmla="*/ 2147483647 w 239"/>
                <a:gd name="T31" fmla="*/ 2147483647 h 98"/>
                <a:gd name="T32" fmla="*/ 2147483647 w 239"/>
                <a:gd name="T33" fmla="*/ 2147483647 h 98"/>
                <a:gd name="T34" fmla="*/ 2147483647 w 239"/>
                <a:gd name="T35" fmla="*/ 2147483647 h 98"/>
                <a:gd name="T36" fmla="*/ 2147483647 w 239"/>
                <a:gd name="T37" fmla="*/ 2147483647 h 98"/>
                <a:gd name="T38" fmla="*/ 2147483647 w 239"/>
                <a:gd name="T39" fmla="*/ 2147483647 h 98"/>
                <a:gd name="T40" fmla="*/ 0 w 239"/>
                <a:gd name="T41" fmla="*/ 2147483647 h 98"/>
                <a:gd name="T42" fmla="*/ 2147483647 w 239"/>
                <a:gd name="T43" fmla="*/ 2147483647 h 98"/>
                <a:gd name="T44" fmla="*/ 2147483647 w 239"/>
                <a:gd name="T45" fmla="*/ 2147483647 h 98"/>
                <a:gd name="T46" fmla="*/ 2147483647 w 239"/>
                <a:gd name="T47" fmla="*/ 2147483647 h 98"/>
                <a:gd name="T48" fmla="*/ 2147483647 w 239"/>
                <a:gd name="T49" fmla="*/ 2147483647 h 98"/>
                <a:gd name="T50" fmla="*/ 2147483647 w 239"/>
                <a:gd name="T51" fmla="*/ 2147483647 h 98"/>
                <a:gd name="T52" fmla="*/ 2147483647 w 239"/>
                <a:gd name="T53" fmla="*/ 2147483647 h 98"/>
                <a:gd name="T54" fmla="*/ 2147483647 w 239"/>
                <a:gd name="T55" fmla="*/ 2147483647 h 98"/>
                <a:gd name="T56" fmla="*/ 2147483647 w 239"/>
                <a:gd name="T57" fmla="*/ 2147483647 h 98"/>
                <a:gd name="T58" fmla="*/ 2147483647 w 239"/>
                <a:gd name="T59" fmla="*/ 2147483647 h 98"/>
                <a:gd name="T60" fmla="*/ 2147483647 w 239"/>
                <a:gd name="T61" fmla="*/ 2147483647 h 98"/>
                <a:gd name="T62" fmla="*/ 2147483647 w 239"/>
                <a:gd name="T63" fmla="*/ 2147483647 h 98"/>
                <a:gd name="T64" fmla="*/ 2147483647 w 239"/>
                <a:gd name="T65" fmla="*/ 2147483647 h 98"/>
                <a:gd name="T66" fmla="*/ 2147483647 w 239"/>
                <a:gd name="T67" fmla="*/ 2147483647 h 98"/>
                <a:gd name="T68" fmla="*/ 2147483647 w 239"/>
                <a:gd name="T69" fmla="*/ 2147483647 h 98"/>
                <a:gd name="T70" fmla="*/ 2147483647 w 239"/>
                <a:gd name="T71" fmla="*/ 2147483647 h 98"/>
                <a:gd name="T72" fmla="*/ 2147483647 w 239"/>
                <a:gd name="T73" fmla="*/ 2147483647 h 98"/>
                <a:gd name="T74" fmla="*/ 2147483647 w 239"/>
                <a:gd name="T75" fmla="*/ 2147483647 h 98"/>
                <a:gd name="T76" fmla="*/ 2147483647 w 239"/>
                <a:gd name="T77" fmla="*/ 2147483647 h 98"/>
                <a:gd name="T78" fmla="*/ 2147483647 w 239"/>
                <a:gd name="T79" fmla="*/ 2147483647 h 98"/>
                <a:gd name="T80" fmla="*/ 2147483647 w 239"/>
                <a:gd name="T81" fmla="*/ 2147483647 h 98"/>
                <a:gd name="T82" fmla="*/ 2147483647 w 239"/>
                <a:gd name="T83" fmla="*/ 2147483647 h 98"/>
                <a:gd name="T84" fmla="*/ 2147483647 w 239"/>
                <a:gd name="T85" fmla="*/ 2147483647 h 98"/>
                <a:gd name="T86" fmla="*/ 2147483647 w 239"/>
                <a:gd name="T87" fmla="*/ 2147483647 h 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9"/>
                <a:gd name="T133" fmla="*/ 0 h 98"/>
                <a:gd name="T134" fmla="*/ 239 w 239"/>
                <a:gd name="T135" fmla="*/ 98 h 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61" name="Freeform 88">
              <a:extLst>
                <a:ext uri="{FF2B5EF4-FFF2-40B4-BE49-F238E27FC236}">
                  <a16:creationId xmlns:a16="http://schemas.microsoft.com/office/drawing/2014/main" id="{793C8937-FCE7-5943-AE8A-CA9C0350BD01}"/>
                </a:ext>
              </a:extLst>
            </p:cNvPr>
            <p:cNvSpPr>
              <a:spLocks/>
            </p:cNvSpPr>
            <p:nvPr>
              <p:custDataLst>
                <p:tags r:id="rId54"/>
              </p:custDataLst>
            </p:nvPr>
          </p:nvSpPr>
          <p:spPr bwMode="auto">
            <a:xfrm>
              <a:off x="5898823" y="2752465"/>
              <a:ext cx="176934" cy="83460"/>
            </a:xfrm>
            <a:custGeom>
              <a:avLst/>
              <a:gdLst>
                <a:gd name="T0" fmla="*/ 2147483647 w 286"/>
                <a:gd name="T1" fmla="*/ 2147483647 h 148"/>
                <a:gd name="T2" fmla="*/ 2147483647 w 286"/>
                <a:gd name="T3" fmla="*/ 2147483647 h 148"/>
                <a:gd name="T4" fmla="*/ 2147483647 w 286"/>
                <a:gd name="T5" fmla="*/ 2147483647 h 148"/>
                <a:gd name="T6" fmla="*/ 2147483647 w 286"/>
                <a:gd name="T7" fmla="*/ 2147483647 h 148"/>
                <a:gd name="T8" fmla="*/ 2147483647 w 286"/>
                <a:gd name="T9" fmla="*/ 2147483647 h 148"/>
                <a:gd name="T10" fmla="*/ 2147483647 w 286"/>
                <a:gd name="T11" fmla="*/ 2147483647 h 148"/>
                <a:gd name="T12" fmla="*/ 2147483647 w 286"/>
                <a:gd name="T13" fmla="*/ 2147483647 h 148"/>
                <a:gd name="T14" fmla="*/ 0 w 286"/>
                <a:gd name="T15" fmla="*/ 2147483647 h 148"/>
                <a:gd name="T16" fmla="*/ 2147483647 w 286"/>
                <a:gd name="T17" fmla="*/ 2147483647 h 148"/>
                <a:gd name="T18" fmla="*/ 2147483647 w 286"/>
                <a:gd name="T19" fmla="*/ 2147483647 h 148"/>
                <a:gd name="T20" fmla="*/ 2147483647 w 286"/>
                <a:gd name="T21" fmla="*/ 2147483647 h 148"/>
                <a:gd name="T22" fmla="*/ 2147483647 w 286"/>
                <a:gd name="T23" fmla="*/ 2147483647 h 148"/>
                <a:gd name="T24" fmla="*/ 2147483647 w 286"/>
                <a:gd name="T25" fmla="*/ 2147483647 h 148"/>
                <a:gd name="T26" fmla="*/ 2147483647 w 286"/>
                <a:gd name="T27" fmla="*/ 2147483647 h 148"/>
                <a:gd name="T28" fmla="*/ 2147483647 w 286"/>
                <a:gd name="T29" fmla="*/ 2147483647 h 148"/>
                <a:gd name="T30" fmla="*/ 2147483647 w 286"/>
                <a:gd name="T31" fmla="*/ 2147483647 h 148"/>
                <a:gd name="T32" fmla="*/ 2147483647 w 286"/>
                <a:gd name="T33" fmla="*/ 2147483647 h 148"/>
                <a:gd name="T34" fmla="*/ 2147483647 w 286"/>
                <a:gd name="T35" fmla="*/ 2147483647 h 148"/>
                <a:gd name="T36" fmla="*/ 2147483647 w 286"/>
                <a:gd name="T37" fmla="*/ 2147483647 h 148"/>
                <a:gd name="T38" fmla="*/ 2147483647 w 286"/>
                <a:gd name="T39" fmla="*/ 2147483647 h 148"/>
                <a:gd name="T40" fmla="*/ 2147483647 w 286"/>
                <a:gd name="T41" fmla="*/ 2147483647 h 148"/>
                <a:gd name="T42" fmla="*/ 2147483647 w 286"/>
                <a:gd name="T43" fmla="*/ 2147483647 h 148"/>
                <a:gd name="T44" fmla="*/ 2147483647 w 286"/>
                <a:gd name="T45" fmla="*/ 2147483647 h 148"/>
                <a:gd name="T46" fmla="*/ 2147483647 w 286"/>
                <a:gd name="T47" fmla="*/ 2147483647 h 148"/>
                <a:gd name="T48" fmla="*/ 2147483647 w 286"/>
                <a:gd name="T49" fmla="*/ 2147483647 h 148"/>
                <a:gd name="T50" fmla="*/ 2147483647 w 286"/>
                <a:gd name="T51" fmla="*/ 2147483647 h 148"/>
                <a:gd name="T52" fmla="*/ 2147483647 w 286"/>
                <a:gd name="T53" fmla="*/ 2147483647 h 148"/>
                <a:gd name="T54" fmla="*/ 2147483647 w 286"/>
                <a:gd name="T55" fmla="*/ 2147483647 h 148"/>
                <a:gd name="T56" fmla="*/ 2147483647 w 286"/>
                <a:gd name="T57" fmla="*/ 2147483647 h 148"/>
                <a:gd name="T58" fmla="*/ 2147483647 w 286"/>
                <a:gd name="T59" fmla="*/ 2147483647 h 148"/>
                <a:gd name="T60" fmla="*/ 2147483647 w 286"/>
                <a:gd name="T61" fmla="*/ 2147483647 h 148"/>
                <a:gd name="T62" fmla="*/ 2147483647 w 286"/>
                <a:gd name="T63" fmla="*/ 2147483647 h 148"/>
                <a:gd name="T64" fmla="*/ 2147483647 w 286"/>
                <a:gd name="T65" fmla="*/ 2147483647 h 148"/>
                <a:gd name="T66" fmla="*/ 2147483647 w 286"/>
                <a:gd name="T67" fmla="*/ 2147483647 h 148"/>
                <a:gd name="T68" fmla="*/ 2147483647 w 286"/>
                <a:gd name="T69" fmla="*/ 2147483647 h 148"/>
                <a:gd name="T70" fmla="*/ 2147483647 w 286"/>
                <a:gd name="T71" fmla="*/ 2147483647 h 148"/>
                <a:gd name="T72" fmla="*/ 2147483647 w 286"/>
                <a:gd name="T73" fmla="*/ 2147483647 h 148"/>
                <a:gd name="T74" fmla="*/ 2147483647 w 286"/>
                <a:gd name="T75" fmla="*/ 0 h 148"/>
                <a:gd name="T76" fmla="*/ 2147483647 w 286"/>
                <a:gd name="T77" fmla="*/ 2147483647 h 148"/>
                <a:gd name="T78" fmla="*/ 2147483647 w 286"/>
                <a:gd name="T79" fmla="*/ 2147483647 h 148"/>
                <a:gd name="T80" fmla="*/ 2147483647 w 286"/>
                <a:gd name="T81" fmla="*/ 0 h 148"/>
                <a:gd name="T82" fmla="*/ 2147483647 w 286"/>
                <a:gd name="T83" fmla="*/ 0 h 148"/>
                <a:gd name="T84" fmla="*/ 2147483647 w 286"/>
                <a:gd name="T85" fmla="*/ 2147483647 h 148"/>
                <a:gd name="T86" fmla="*/ 2147483647 w 286"/>
                <a:gd name="T87" fmla="*/ 2147483647 h 148"/>
                <a:gd name="T88" fmla="*/ 2147483647 w 286"/>
                <a:gd name="T89" fmla="*/ 2147483647 h 148"/>
                <a:gd name="T90" fmla="*/ 2147483647 w 286"/>
                <a:gd name="T91" fmla="*/ 2147483647 h 148"/>
                <a:gd name="T92" fmla="*/ 2147483647 w 286"/>
                <a:gd name="T93" fmla="*/ 2147483647 h 148"/>
                <a:gd name="T94" fmla="*/ 2147483647 w 286"/>
                <a:gd name="T95" fmla="*/ 2147483647 h 148"/>
                <a:gd name="T96" fmla="*/ 2147483647 w 286"/>
                <a:gd name="T97" fmla="*/ 2147483647 h 148"/>
                <a:gd name="T98" fmla="*/ 2147483647 w 286"/>
                <a:gd name="T99" fmla="*/ 2147483647 h 148"/>
                <a:gd name="T100" fmla="*/ 2147483647 w 286"/>
                <a:gd name="T101" fmla="*/ 2147483647 h 148"/>
                <a:gd name="T102" fmla="*/ 2147483647 w 286"/>
                <a:gd name="T103" fmla="*/ 2147483647 h 1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86"/>
                <a:gd name="T157" fmla="*/ 0 h 148"/>
                <a:gd name="T158" fmla="*/ 286 w 286"/>
                <a:gd name="T159" fmla="*/ 148 h 1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62" name="Freeform 89">
              <a:extLst>
                <a:ext uri="{FF2B5EF4-FFF2-40B4-BE49-F238E27FC236}">
                  <a16:creationId xmlns:a16="http://schemas.microsoft.com/office/drawing/2014/main" id="{8E0177E3-EF75-1A48-A1EF-C4794EFD16C2}"/>
                </a:ext>
              </a:extLst>
            </p:cNvPr>
            <p:cNvSpPr>
              <a:spLocks/>
            </p:cNvSpPr>
            <p:nvPr>
              <p:custDataLst>
                <p:tags r:id="rId55"/>
              </p:custDataLst>
            </p:nvPr>
          </p:nvSpPr>
          <p:spPr bwMode="auto">
            <a:xfrm>
              <a:off x="6005651" y="2522117"/>
              <a:ext cx="146889" cy="76783"/>
            </a:xfrm>
            <a:custGeom>
              <a:avLst/>
              <a:gdLst>
                <a:gd name="T0" fmla="*/ 2147483647 w 230"/>
                <a:gd name="T1" fmla="*/ 2147483647 h 132"/>
                <a:gd name="T2" fmla="*/ 2147483647 w 230"/>
                <a:gd name="T3" fmla="*/ 2147483647 h 132"/>
                <a:gd name="T4" fmla="*/ 2147483647 w 230"/>
                <a:gd name="T5" fmla="*/ 2147483647 h 132"/>
                <a:gd name="T6" fmla="*/ 2147483647 w 230"/>
                <a:gd name="T7" fmla="*/ 2147483647 h 132"/>
                <a:gd name="T8" fmla="*/ 2147483647 w 230"/>
                <a:gd name="T9" fmla="*/ 2147483647 h 132"/>
                <a:gd name="T10" fmla="*/ 2147483647 w 230"/>
                <a:gd name="T11" fmla="*/ 2147483647 h 132"/>
                <a:gd name="T12" fmla="*/ 2147483647 w 230"/>
                <a:gd name="T13" fmla="*/ 2147483647 h 132"/>
                <a:gd name="T14" fmla="*/ 2147483647 w 230"/>
                <a:gd name="T15" fmla="*/ 2147483647 h 132"/>
                <a:gd name="T16" fmla="*/ 2147483647 w 230"/>
                <a:gd name="T17" fmla="*/ 2147483647 h 132"/>
                <a:gd name="T18" fmla="*/ 2147483647 w 230"/>
                <a:gd name="T19" fmla="*/ 2147483647 h 132"/>
                <a:gd name="T20" fmla="*/ 2147483647 w 230"/>
                <a:gd name="T21" fmla="*/ 2147483647 h 132"/>
                <a:gd name="T22" fmla="*/ 2147483647 w 230"/>
                <a:gd name="T23" fmla="*/ 2147483647 h 132"/>
                <a:gd name="T24" fmla="*/ 2147483647 w 230"/>
                <a:gd name="T25" fmla="*/ 2147483647 h 132"/>
                <a:gd name="T26" fmla="*/ 2147483647 w 230"/>
                <a:gd name="T27" fmla="*/ 2147483647 h 132"/>
                <a:gd name="T28" fmla="*/ 0 w 230"/>
                <a:gd name="T29" fmla="*/ 2147483647 h 132"/>
                <a:gd name="T30" fmla="*/ 2147483647 w 230"/>
                <a:gd name="T31" fmla="*/ 2147483647 h 132"/>
                <a:gd name="T32" fmla="*/ 2147483647 w 230"/>
                <a:gd name="T33" fmla="*/ 2147483647 h 132"/>
                <a:gd name="T34" fmla="*/ 2147483647 w 230"/>
                <a:gd name="T35" fmla="*/ 2147483647 h 132"/>
                <a:gd name="T36" fmla="*/ 2147483647 w 230"/>
                <a:gd name="T37" fmla="*/ 2147483647 h 132"/>
                <a:gd name="T38" fmla="*/ 2147483647 w 230"/>
                <a:gd name="T39" fmla="*/ 2147483647 h 132"/>
                <a:gd name="T40" fmla="*/ 2147483647 w 230"/>
                <a:gd name="T41" fmla="*/ 2147483647 h 132"/>
                <a:gd name="T42" fmla="*/ 2147483647 w 230"/>
                <a:gd name="T43" fmla="*/ 2147483647 h 132"/>
                <a:gd name="T44" fmla="*/ 2147483647 w 230"/>
                <a:gd name="T45" fmla="*/ 2147483647 h 132"/>
                <a:gd name="T46" fmla="*/ 2147483647 w 230"/>
                <a:gd name="T47" fmla="*/ 2147483647 h 132"/>
                <a:gd name="T48" fmla="*/ 2147483647 w 230"/>
                <a:gd name="T49" fmla="*/ 2147483647 h 132"/>
                <a:gd name="T50" fmla="*/ 2147483647 w 230"/>
                <a:gd name="T51" fmla="*/ 2147483647 h 132"/>
                <a:gd name="T52" fmla="*/ 2147483647 w 230"/>
                <a:gd name="T53" fmla="*/ 2147483647 h 132"/>
                <a:gd name="T54" fmla="*/ 2147483647 w 230"/>
                <a:gd name="T55" fmla="*/ 2147483647 h 132"/>
                <a:gd name="T56" fmla="*/ 2147483647 w 230"/>
                <a:gd name="T57" fmla="*/ 2147483647 h 132"/>
                <a:gd name="T58" fmla="*/ 2147483647 w 230"/>
                <a:gd name="T59" fmla="*/ 2147483647 h 132"/>
                <a:gd name="T60" fmla="*/ 2147483647 w 230"/>
                <a:gd name="T61" fmla="*/ 2147483647 h 132"/>
                <a:gd name="T62" fmla="*/ 2147483647 w 230"/>
                <a:gd name="T63" fmla="*/ 2147483647 h 132"/>
                <a:gd name="T64" fmla="*/ 2147483647 w 230"/>
                <a:gd name="T65" fmla="*/ 2147483647 h 132"/>
                <a:gd name="T66" fmla="*/ 2147483647 w 230"/>
                <a:gd name="T67" fmla="*/ 2147483647 h 132"/>
                <a:gd name="T68" fmla="*/ 2147483647 w 230"/>
                <a:gd name="T69" fmla="*/ 2147483647 h 132"/>
                <a:gd name="T70" fmla="*/ 2147483647 w 230"/>
                <a:gd name="T71" fmla="*/ 2147483647 h 132"/>
                <a:gd name="T72" fmla="*/ 2147483647 w 230"/>
                <a:gd name="T73" fmla="*/ 2147483647 h 132"/>
                <a:gd name="T74" fmla="*/ 2147483647 w 230"/>
                <a:gd name="T75" fmla="*/ 2147483647 h 132"/>
                <a:gd name="T76" fmla="*/ 2147483647 w 230"/>
                <a:gd name="T77" fmla="*/ 2147483647 h 132"/>
                <a:gd name="T78" fmla="*/ 2147483647 w 230"/>
                <a:gd name="T79" fmla="*/ 2147483647 h 132"/>
                <a:gd name="T80" fmla="*/ 2147483647 w 230"/>
                <a:gd name="T81" fmla="*/ 2147483647 h 132"/>
                <a:gd name="T82" fmla="*/ 2147483647 w 230"/>
                <a:gd name="T83" fmla="*/ 2147483647 h 132"/>
                <a:gd name="T84" fmla="*/ 2147483647 w 230"/>
                <a:gd name="T85" fmla="*/ 2147483647 h 132"/>
                <a:gd name="T86" fmla="*/ 2147483647 w 230"/>
                <a:gd name="T87" fmla="*/ 2147483647 h 132"/>
                <a:gd name="T88" fmla="*/ 2147483647 w 230"/>
                <a:gd name="T89" fmla="*/ 2147483647 h 132"/>
                <a:gd name="T90" fmla="*/ 2147483647 w 230"/>
                <a:gd name="T91" fmla="*/ 2147483647 h 1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0"/>
                <a:gd name="T139" fmla="*/ 0 h 132"/>
                <a:gd name="T140" fmla="*/ 230 w 230"/>
                <a:gd name="T141" fmla="*/ 132 h 13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63" name="Freeform 90">
              <a:extLst>
                <a:ext uri="{FF2B5EF4-FFF2-40B4-BE49-F238E27FC236}">
                  <a16:creationId xmlns:a16="http://schemas.microsoft.com/office/drawing/2014/main" id="{130A5D82-AEC1-C349-AD01-8C64402843B2}"/>
                </a:ext>
              </a:extLst>
            </p:cNvPr>
            <p:cNvSpPr>
              <a:spLocks/>
            </p:cNvSpPr>
            <p:nvPr>
              <p:custDataLst>
                <p:tags r:id="rId56"/>
              </p:custDataLst>
            </p:nvPr>
          </p:nvSpPr>
          <p:spPr bwMode="auto">
            <a:xfrm>
              <a:off x="5631752" y="2772495"/>
              <a:ext cx="123521" cy="61761"/>
            </a:xfrm>
            <a:custGeom>
              <a:avLst/>
              <a:gdLst>
                <a:gd name="T0" fmla="*/ 2147483647 w 196"/>
                <a:gd name="T1" fmla="*/ 2147483647 h 109"/>
                <a:gd name="T2" fmla="*/ 2147483647 w 196"/>
                <a:gd name="T3" fmla="*/ 2147483647 h 109"/>
                <a:gd name="T4" fmla="*/ 2147483647 w 196"/>
                <a:gd name="T5" fmla="*/ 2147483647 h 109"/>
                <a:gd name="T6" fmla="*/ 2147483647 w 196"/>
                <a:gd name="T7" fmla="*/ 2147483647 h 109"/>
                <a:gd name="T8" fmla="*/ 2147483647 w 196"/>
                <a:gd name="T9" fmla="*/ 2147483647 h 109"/>
                <a:gd name="T10" fmla="*/ 2147483647 w 196"/>
                <a:gd name="T11" fmla="*/ 2147483647 h 109"/>
                <a:gd name="T12" fmla="*/ 2147483647 w 196"/>
                <a:gd name="T13" fmla="*/ 2147483647 h 109"/>
                <a:gd name="T14" fmla="*/ 2147483647 w 196"/>
                <a:gd name="T15" fmla="*/ 2147483647 h 109"/>
                <a:gd name="T16" fmla="*/ 2147483647 w 196"/>
                <a:gd name="T17" fmla="*/ 2147483647 h 109"/>
                <a:gd name="T18" fmla="*/ 2147483647 w 196"/>
                <a:gd name="T19" fmla="*/ 2147483647 h 109"/>
                <a:gd name="T20" fmla="*/ 2147483647 w 196"/>
                <a:gd name="T21" fmla="*/ 2147483647 h 109"/>
                <a:gd name="T22" fmla="*/ 2147483647 w 196"/>
                <a:gd name="T23" fmla="*/ 2147483647 h 109"/>
                <a:gd name="T24" fmla="*/ 2147483647 w 196"/>
                <a:gd name="T25" fmla="*/ 2147483647 h 109"/>
                <a:gd name="T26" fmla="*/ 2147483647 w 196"/>
                <a:gd name="T27" fmla="*/ 2147483647 h 109"/>
                <a:gd name="T28" fmla="*/ 2147483647 w 196"/>
                <a:gd name="T29" fmla="*/ 2147483647 h 109"/>
                <a:gd name="T30" fmla="*/ 2147483647 w 196"/>
                <a:gd name="T31" fmla="*/ 2147483647 h 109"/>
                <a:gd name="T32" fmla="*/ 2147483647 w 196"/>
                <a:gd name="T33" fmla="*/ 2147483647 h 109"/>
                <a:gd name="T34" fmla="*/ 2147483647 w 196"/>
                <a:gd name="T35" fmla="*/ 2147483647 h 109"/>
                <a:gd name="T36" fmla="*/ 2147483647 w 196"/>
                <a:gd name="T37" fmla="*/ 2147483647 h 109"/>
                <a:gd name="T38" fmla="*/ 2147483647 w 196"/>
                <a:gd name="T39" fmla="*/ 2147483647 h 109"/>
                <a:gd name="T40" fmla="*/ 2147483647 w 196"/>
                <a:gd name="T41" fmla="*/ 2147483647 h 109"/>
                <a:gd name="T42" fmla="*/ 2147483647 w 196"/>
                <a:gd name="T43" fmla="*/ 2147483647 h 109"/>
                <a:gd name="T44" fmla="*/ 2147483647 w 196"/>
                <a:gd name="T45" fmla="*/ 2147483647 h 109"/>
                <a:gd name="T46" fmla="*/ 2147483647 w 196"/>
                <a:gd name="T47" fmla="*/ 2147483647 h 109"/>
                <a:gd name="T48" fmla="*/ 2147483647 w 196"/>
                <a:gd name="T49" fmla="*/ 2147483647 h 109"/>
                <a:gd name="T50" fmla="*/ 2147483647 w 196"/>
                <a:gd name="T51" fmla="*/ 2147483647 h 109"/>
                <a:gd name="T52" fmla="*/ 2147483647 w 196"/>
                <a:gd name="T53" fmla="*/ 2147483647 h 109"/>
                <a:gd name="T54" fmla="*/ 2147483647 w 196"/>
                <a:gd name="T55" fmla="*/ 2147483647 h 109"/>
                <a:gd name="T56" fmla="*/ 2147483647 w 196"/>
                <a:gd name="T57" fmla="*/ 2147483647 h 109"/>
                <a:gd name="T58" fmla="*/ 2147483647 w 196"/>
                <a:gd name="T59" fmla="*/ 2147483647 h 109"/>
                <a:gd name="T60" fmla="*/ 2147483647 w 196"/>
                <a:gd name="T61" fmla="*/ 2147483647 h 109"/>
                <a:gd name="T62" fmla="*/ 2147483647 w 196"/>
                <a:gd name="T63" fmla="*/ 2147483647 h 109"/>
                <a:gd name="T64" fmla="*/ 2147483647 w 196"/>
                <a:gd name="T65" fmla="*/ 2147483647 h 109"/>
                <a:gd name="T66" fmla="*/ 2147483647 w 196"/>
                <a:gd name="T67" fmla="*/ 2147483647 h 109"/>
                <a:gd name="T68" fmla="*/ 2147483647 w 196"/>
                <a:gd name="T69" fmla="*/ 2147483647 h 109"/>
                <a:gd name="T70" fmla="*/ 2147483647 w 196"/>
                <a:gd name="T71" fmla="*/ 2147483647 h 109"/>
                <a:gd name="T72" fmla="*/ 2147483647 w 196"/>
                <a:gd name="T73" fmla="*/ 2147483647 h 109"/>
                <a:gd name="T74" fmla="*/ 2147483647 w 196"/>
                <a:gd name="T75" fmla="*/ 2147483647 h 109"/>
                <a:gd name="T76" fmla="*/ 2147483647 w 196"/>
                <a:gd name="T77" fmla="*/ 2147483647 h 109"/>
                <a:gd name="T78" fmla="*/ 2147483647 w 196"/>
                <a:gd name="T79" fmla="*/ 2147483647 h 109"/>
                <a:gd name="T80" fmla="*/ 2147483647 w 196"/>
                <a:gd name="T81" fmla="*/ 2147483647 h 109"/>
                <a:gd name="T82" fmla="*/ 2147483647 w 196"/>
                <a:gd name="T83" fmla="*/ 2147483647 h 109"/>
                <a:gd name="T84" fmla="*/ 2147483647 w 196"/>
                <a:gd name="T85" fmla="*/ 2147483647 h 109"/>
                <a:gd name="T86" fmla="*/ 2147483647 w 196"/>
                <a:gd name="T87" fmla="*/ 2147483647 h 109"/>
                <a:gd name="T88" fmla="*/ 2147483647 w 196"/>
                <a:gd name="T89" fmla="*/ 2147483647 h 109"/>
                <a:gd name="T90" fmla="*/ 2147483647 w 196"/>
                <a:gd name="T91" fmla="*/ 2147483647 h 109"/>
                <a:gd name="T92" fmla="*/ 2147483647 w 196"/>
                <a:gd name="T93" fmla="*/ 2147483647 h 109"/>
                <a:gd name="T94" fmla="*/ 2147483647 w 196"/>
                <a:gd name="T95" fmla="*/ 2147483647 h 109"/>
                <a:gd name="T96" fmla="*/ 2147483647 w 196"/>
                <a:gd name="T97" fmla="*/ 2147483647 h 109"/>
                <a:gd name="T98" fmla="*/ 2147483647 w 196"/>
                <a:gd name="T99" fmla="*/ 2147483647 h 109"/>
                <a:gd name="T100" fmla="*/ 2147483647 w 196"/>
                <a:gd name="T101" fmla="*/ 2147483647 h 10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96"/>
                <a:gd name="T154" fmla="*/ 0 h 109"/>
                <a:gd name="T155" fmla="*/ 196 w 196"/>
                <a:gd name="T156" fmla="*/ 109 h 10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64" name="Freeform 91">
              <a:extLst>
                <a:ext uri="{FF2B5EF4-FFF2-40B4-BE49-F238E27FC236}">
                  <a16:creationId xmlns:a16="http://schemas.microsoft.com/office/drawing/2014/main" id="{A20E433F-E7F2-1E4F-9BBB-46BCC8739A39}"/>
                </a:ext>
              </a:extLst>
            </p:cNvPr>
            <p:cNvSpPr>
              <a:spLocks/>
            </p:cNvSpPr>
            <p:nvPr>
              <p:custDataLst>
                <p:tags r:id="rId57"/>
              </p:custDataLst>
            </p:nvPr>
          </p:nvSpPr>
          <p:spPr bwMode="auto">
            <a:xfrm>
              <a:off x="5793664" y="2679021"/>
              <a:ext cx="171926" cy="73444"/>
            </a:xfrm>
            <a:custGeom>
              <a:avLst/>
              <a:gdLst>
                <a:gd name="T0" fmla="*/ 2147483647 w 280"/>
                <a:gd name="T1" fmla="*/ 2147483647 h 132"/>
                <a:gd name="T2" fmla="*/ 2147483647 w 280"/>
                <a:gd name="T3" fmla="*/ 2147483647 h 132"/>
                <a:gd name="T4" fmla="*/ 2147483647 w 280"/>
                <a:gd name="T5" fmla="*/ 2147483647 h 132"/>
                <a:gd name="T6" fmla="*/ 2147483647 w 280"/>
                <a:gd name="T7" fmla="*/ 2147483647 h 132"/>
                <a:gd name="T8" fmla="*/ 2147483647 w 280"/>
                <a:gd name="T9" fmla="*/ 2147483647 h 132"/>
                <a:gd name="T10" fmla="*/ 2147483647 w 280"/>
                <a:gd name="T11" fmla="*/ 2147483647 h 132"/>
                <a:gd name="T12" fmla="*/ 2147483647 w 280"/>
                <a:gd name="T13" fmla="*/ 2147483647 h 132"/>
                <a:gd name="T14" fmla="*/ 2147483647 w 280"/>
                <a:gd name="T15" fmla="*/ 2147483647 h 132"/>
                <a:gd name="T16" fmla="*/ 2147483647 w 280"/>
                <a:gd name="T17" fmla="*/ 2147483647 h 132"/>
                <a:gd name="T18" fmla="*/ 2147483647 w 280"/>
                <a:gd name="T19" fmla="*/ 2147483647 h 132"/>
                <a:gd name="T20" fmla="*/ 2147483647 w 280"/>
                <a:gd name="T21" fmla="*/ 2147483647 h 132"/>
                <a:gd name="T22" fmla="*/ 2147483647 w 280"/>
                <a:gd name="T23" fmla="*/ 2147483647 h 132"/>
                <a:gd name="T24" fmla="*/ 2147483647 w 280"/>
                <a:gd name="T25" fmla="*/ 2147483647 h 132"/>
                <a:gd name="T26" fmla="*/ 2147483647 w 280"/>
                <a:gd name="T27" fmla="*/ 2147483647 h 132"/>
                <a:gd name="T28" fmla="*/ 2147483647 w 280"/>
                <a:gd name="T29" fmla="*/ 2147483647 h 132"/>
                <a:gd name="T30" fmla="*/ 2147483647 w 280"/>
                <a:gd name="T31" fmla="*/ 2147483647 h 132"/>
                <a:gd name="T32" fmla="*/ 2147483647 w 280"/>
                <a:gd name="T33" fmla="*/ 2147483647 h 132"/>
                <a:gd name="T34" fmla="*/ 2147483647 w 280"/>
                <a:gd name="T35" fmla="*/ 2147483647 h 132"/>
                <a:gd name="T36" fmla="*/ 2147483647 w 280"/>
                <a:gd name="T37" fmla="*/ 2147483647 h 132"/>
                <a:gd name="T38" fmla="*/ 2147483647 w 280"/>
                <a:gd name="T39" fmla="*/ 2147483647 h 132"/>
                <a:gd name="T40" fmla="*/ 2147483647 w 280"/>
                <a:gd name="T41" fmla="*/ 2147483647 h 132"/>
                <a:gd name="T42" fmla="*/ 2147483647 w 280"/>
                <a:gd name="T43" fmla="*/ 2147483647 h 132"/>
                <a:gd name="T44" fmla="*/ 2147483647 w 280"/>
                <a:gd name="T45" fmla="*/ 2147483647 h 132"/>
                <a:gd name="T46" fmla="*/ 2147483647 w 280"/>
                <a:gd name="T47" fmla="*/ 2147483647 h 132"/>
                <a:gd name="T48" fmla="*/ 2147483647 w 280"/>
                <a:gd name="T49" fmla="*/ 2147483647 h 132"/>
                <a:gd name="T50" fmla="*/ 2147483647 w 280"/>
                <a:gd name="T51" fmla="*/ 2147483647 h 132"/>
                <a:gd name="T52" fmla="*/ 2147483647 w 280"/>
                <a:gd name="T53" fmla="*/ 2147483647 h 132"/>
                <a:gd name="T54" fmla="*/ 2147483647 w 280"/>
                <a:gd name="T55" fmla="*/ 2147483647 h 132"/>
                <a:gd name="T56" fmla="*/ 2147483647 w 280"/>
                <a:gd name="T57" fmla="*/ 2147483647 h 132"/>
                <a:gd name="T58" fmla="*/ 2147483647 w 280"/>
                <a:gd name="T59" fmla="*/ 2147483647 h 132"/>
                <a:gd name="T60" fmla="*/ 2147483647 w 280"/>
                <a:gd name="T61" fmla="*/ 2147483647 h 132"/>
                <a:gd name="T62" fmla="*/ 2147483647 w 280"/>
                <a:gd name="T63" fmla="*/ 2147483647 h 132"/>
                <a:gd name="T64" fmla="*/ 2147483647 w 280"/>
                <a:gd name="T65" fmla="*/ 2147483647 h 132"/>
                <a:gd name="T66" fmla="*/ 2147483647 w 280"/>
                <a:gd name="T67" fmla="*/ 2147483647 h 132"/>
                <a:gd name="T68" fmla="*/ 2147483647 w 280"/>
                <a:gd name="T69" fmla="*/ 2147483647 h 1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80"/>
                <a:gd name="T106" fmla="*/ 0 h 132"/>
                <a:gd name="T107" fmla="*/ 280 w 280"/>
                <a:gd name="T108" fmla="*/ 132 h 1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65" name="Freeform 92">
              <a:extLst>
                <a:ext uri="{FF2B5EF4-FFF2-40B4-BE49-F238E27FC236}">
                  <a16:creationId xmlns:a16="http://schemas.microsoft.com/office/drawing/2014/main" id="{ED80032F-EE9D-044C-AA6B-2D1A0375D124}"/>
                </a:ext>
              </a:extLst>
            </p:cNvPr>
            <p:cNvSpPr>
              <a:spLocks/>
            </p:cNvSpPr>
            <p:nvPr>
              <p:custDataLst>
                <p:tags r:id="rId58"/>
              </p:custDataLst>
            </p:nvPr>
          </p:nvSpPr>
          <p:spPr bwMode="auto">
            <a:xfrm>
              <a:off x="5630084" y="2705729"/>
              <a:ext cx="21699" cy="18362"/>
            </a:xfrm>
            <a:custGeom>
              <a:avLst/>
              <a:gdLst>
                <a:gd name="T0" fmla="*/ 2147483647 w 36"/>
                <a:gd name="T1" fmla="*/ 2147483647 h 32"/>
                <a:gd name="T2" fmla="*/ 2147483647 w 36"/>
                <a:gd name="T3" fmla="*/ 2147483647 h 32"/>
                <a:gd name="T4" fmla="*/ 2147483647 w 36"/>
                <a:gd name="T5" fmla="*/ 2147483647 h 32"/>
                <a:gd name="T6" fmla="*/ 2147483647 w 36"/>
                <a:gd name="T7" fmla="*/ 2147483647 h 32"/>
                <a:gd name="T8" fmla="*/ 2147483647 w 36"/>
                <a:gd name="T9" fmla="*/ 2147483647 h 32"/>
                <a:gd name="T10" fmla="*/ 2147483647 w 36"/>
                <a:gd name="T11" fmla="*/ 0 h 32"/>
                <a:gd name="T12" fmla="*/ 2147483647 w 36"/>
                <a:gd name="T13" fmla="*/ 2147483647 h 32"/>
                <a:gd name="T14" fmla="*/ 2147483647 w 36"/>
                <a:gd name="T15" fmla="*/ 2147483647 h 32"/>
                <a:gd name="T16" fmla="*/ 2147483647 w 36"/>
                <a:gd name="T17" fmla="*/ 2147483647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
                <a:gd name="T28" fmla="*/ 0 h 32"/>
                <a:gd name="T29" fmla="*/ 36 w 36"/>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66" name="Freeform 93">
              <a:extLst>
                <a:ext uri="{FF2B5EF4-FFF2-40B4-BE49-F238E27FC236}">
                  <a16:creationId xmlns:a16="http://schemas.microsoft.com/office/drawing/2014/main" id="{A5507285-632E-C449-887F-EDD7E8E0F6C9}"/>
                </a:ext>
              </a:extLst>
            </p:cNvPr>
            <p:cNvSpPr>
              <a:spLocks/>
            </p:cNvSpPr>
            <p:nvPr>
              <p:custDataLst>
                <p:tags r:id="rId59"/>
              </p:custDataLst>
            </p:nvPr>
          </p:nvSpPr>
          <p:spPr bwMode="auto">
            <a:xfrm>
              <a:off x="5728565" y="2739113"/>
              <a:ext cx="191957" cy="76783"/>
            </a:xfrm>
            <a:custGeom>
              <a:avLst/>
              <a:gdLst>
                <a:gd name="T0" fmla="*/ 2147483647 w 308"/>
                <a:gd name="T1" fmla="*/ 2147483647 h 138"/>
                <a:gd name="T2" fmla="*/ 2147483647 w 308"/>
                <a:gd name="T3" fmla="*/ 2147483647 h 138"/>
                <a:gd name="T4" fmla="*/ 2147483647 w 308"/>
                <a:gd name="T5" fmla="*/ 2147483647 h 138"/>
                <a:gd name="T6" fmla="*/ 2147483647 w 308"/>
                <a:gd name="T7" fmla="*/ 2147483647 h 138"/>
                <a:gd name="T8" fmla="*/ 2147483647 w 308"/>
                <a:gd name="T9" fmla="*/ 2147483647 h 138"/>
                <a:gd name="T10" fmla="*/ 2147483647 w 308"/>
                <a:gd name="T11" fmla="*/ 2147483647 h 138"/>
                <a:gd name="T12" fmla="*/ 2147483647 w 308"/>
                <a:gd name="T13" fmla="*/ 2147483647 h 138"/>
                <a:gd name="T14" fmla="*/ 2147483647 w 308"/>
                <a:gd name="T15" fmla="*/ 2147483647 h 138"/>
                <a:gd name="T16" fmla="*/ 2147483647 w 308"/>
                <a:gd name="T17" fmla="*/ 2147483647 h 138"/>
                <a:gd name="T18" fmla="*/ 2147483647 w 308"/>
                <a:gd name="T19" fmla="*/ 2147483647 h 138"/>
                <a:gd name="T20" fmla="*/ 2147483647 w 308"/>
                <a:gd name="T21" fmla="*/ 2147483647 h 138"/>
                <a:gd name="T22" fmla="*/ 2147483647 w 308"/>
                <a:gd name="T23" fmla="*/ 2147483647 h 138"/>
                <a:gd name="T24" fmla="*/ 2147483647 w 308"/>
                <a:gd name="T25" fmla="*/ 2147483647 h 138"/>
                <a:gd name="T26" fmla="*/ 2147483647 w 308"/>
                <a:gd name="T27" fmla="*/ 2147483647 h 138"/>
                <a:gd name="T28" fmla="*/ 2147483647 w 308"/>
                <a:gd name="T29" fmla="*/ 2147483647 h 138"/>
                <a:gd name="T30" fmla="*/ 2147483647 w 308"/>
                <a:gd name="T31" fmla="*/ 2147483647 h 138"/>
                <a:gd name="T32" fmla="*/ 2147483647 w 308"/>
                <a:gd name="T33" fmla="*/ 2147483647 h 138"/>
                <a:gd name="T34" fmla="*/ 2147483647 w 308"/>
                <a:gd name="T35" fmla="*/ 2147483647 h 138"/>
                <a:gd name="T36" fmla="*/ 2147483647 w 308"/>
                <a:gd name="T37" fmla="*/ 2147483647 h 138"/>
                <a:gd name="T38" fmla="*/ 0 w 308"/>
                <a:gd name="T39" fmla="*/ 2147483647 h 138"/>
                <a:gd name="T40" fmla="*/ 2147483647 w 308"/>
                <a:gd name="T41" fmla="*/ 2147483647 h 138"/>
                <a:gd name="T42" fmla="*/ 2147483647 w 308"/>
                <a:gd name="T43" fmla="*/ 2147483647 h 138"/>
                <a:gd name="T44" fmla="*/ 2147483647 w 308"/>
                <a:gd name="T45" fmla="*/ 2147483647 h 138"/>
                <a:gd name="T46" fmla="*/ 2147483647 w 308"/>
                <a:gd name="T47" fmla="*/ 2147483647 h 138"/>
                <a:gd name="T48" fmla="*/ 2147483647 w 308"/>
                <a:gd name="T49" fmla="*/ 2147483647 h 138"/>
                <a:gd name="T50" fmla="*/ 2147483647 w 308"/>
                <a:gd name="T51" fmla="*/ 2147483647 h 138"/>
                <a:gd name="T52" fmla="*/ 2147483647 w 308"/>
                <a:gd name="T53" fmla="*/ 2147483647 h 138"/>
                <a:gd name="T54" fmla="*/ 2147483647 w 308"/>
                <a:gd name="T55" fmla="*/ 2147483647 h 138"/>
                <a:gd name="T56" fmla="*/ 2147483647 w 308"/>
                <a:gd name="T57" fmla="*/ 2147483647 h 138"/>
                <a:gd name="T58" fmla="*/ 2147483647 w 308"/>
                <a:gd name="T59" fmla="*/ 2147483647 h 138"/>
                <a:gd name="T60" fmla="*/ 2147483647 w 308"/>
                <a:gd name="T61" fmla="*/ 2147483647 h 138"/>
                <a:gd name="T62" fmla="*/ 2147483647 w 308"/>
                <a:gd name="T63" fmla="*/ 2147483647 h 138"/>
                <a:gd name="T64" fmla="*/ 2147483647 w 308"/>
                <a:gd name="T65" fmla="*/ 2147483647 h 138"/>
                <a:gd name="T66" fmla="*/ 2147483647 w 308"/>
                <a:gd name="T67" fmla="*/ 2147483647 h 138"/>
                <a:gd name="T68" fmla="*/ 2147483647 w 308"/>
                <a:gd name="T69" fmla="*/ 2147483647 h 138"/>
                <a:gd name="T70" fmla="*/ 2147483647 w 308"/>
                <a:gd name="T71" fmla="*/ 2147483647 h 138"/>
                <a:gd name="T72" fmla="*/ 2147483647 w 308"/>
                <a:gd name="T73" fmla="*/ 2147483647 h 1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8"/>
                <a:gd name="T112" fmla="*/ 0 h 138"/>
                <a:gd name="T113" fmla="*/ 308 w 308"/>
                <a:gd name="T114" fmla="*/ 138 h 1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67" name="Freeform 94">
              <a:extLst>
                <a:ext uri="{FF2B5EF4-FFF2-40B4-BE49-F238E27FC236}">
                  <a16:creationId xmlns:a16="http://schemas.microsoft.com/office/drawing/2014/main" id="{FAD53CEF-3B61-2249-A246-B6749DE41AC7}"/>
                </a:ext>
              </a:extLst>
            </p:cNvPr>
            <p:cNvSpPr>
              <a:spLocks/>
            </p:cNvSpPr>
            <p:nvPr>
              <p:custDataLst>
                <p:tags r:id="rId60"/>
              </p:custDataLst>
            </p:nvPr>
          </p:nvSpPr>
          <p:spPr bwMode="auto">
            <a:xfrm>
              <a:off x="5559978" y="2610584"/>
              <a:ext cx="113505" cy="81789"/>
            </a:xfrm>
            <a:custGeom>
              <a:avLst/>
              <a:gdLst>
                <a:gd name="T0" fmla="*/ 2147483647 w 182"/>
                <a:gd name="T1" fmla="*/ 2147483647 h 145"/>
                <a:gd name="T2" fmla="*/ 0 w 182"/>
                <a:gd name="T3" fmla="*/ 2147483647 h 145"/>
                <a:gd name="T4" fmla="*/ 0 w 182"/>
                <a:gd name="T5" fmla="*/ 2147483647 h 145"/>
                <a:gd name="T6" fmla="*/ 2147483647 w 182"/>
                <a:gd name="T7" fmla="*/ 2147483647 h 145"/>
                <a:gd name="T8" fmla="*/ 2147483647 w 182"/>
                <a:gd name="T9" fmla="*/ 2147483647 h 145"/>
                <a:gd name="T10" fmla="*/ 2147483647 w 182"/>
                <a:gd name="T11" fmla="*/ 2147483647 h 145"/>
                <a:gd name="T12" fmla="*/ 2147483647 w 182"/>
                <a:gd name="T13" fmla="*/ 2147483647 h 145"/>
                <a:gd name="T14" fmla="*/ 2147483647 w 182"/>
                <a:gd name="T15" fmla="*/ 2147483647 h 145"/>
                <a:gd name="T16" fmla="*/ 2147483647 w 182"/>
                <a:gd name="T17" fmla="*/ 2147483647 h 145"/>
                <a:gd name="T18" fmla="*/ 2147483647 w 182"/>
                <a:gd name="T19" fmla="*/ 2147483647 h 145"/>
                <a:gd name="T20" fmla="*/ 2147483647 w 182"/>
                <a:gd name="T21" fmla="*/ 2147483647 h 145"/>
                <a:gd name="T22" fmla="*/ 2147483647 w 182"/>
                <a:gd name="T23" fmla="*/ 2147483647 h 145"/>
                <a:gd name="T24" fmla="*/ 2147483647 w 182"/>
                <a:gd name="T25" fmla="*/ 2147483647 h 145"/>
                <a:gd name="T26" fmla="*/ 2147483647 w 182"/>
                <a:gd name="T27" fmla="*/ 2147483647 h 145"/>
                <a:gd name="T28" fmla="*/ 2147483647 w 182"/>
                <a:gd name="T29" fmla="*/ 2147483647 h 145"/>
                <a:gd name="T30" fmla="*/ 2147483647 w 182"/>
                <a:gd name="T31" fmla="*/ 2147483647 h 145"/>
                <a:gd name="T32" fmla="*/ 2147483647 w 182"/>
                <a:gd name="T33" fmla="*/ 2147483647 h 145"/>
                <a:gd name="T34" fmla="*/ 2147483647 w 182"/>
                <a:gd name="T35" fmla="*/ 2147483647 h 145"/>
                <a:gd name="T36" fmla="*/ 2147483647 w 182"/>
                <a:gd name="T37" fmla="*/ 2147483647 h 145"/>
                <a:gd name="T38" fmla="*/ 2147483647 w 182"/>
                <a:gd name="T39" fmla="*/ 2147483647 h 145"/>
                <a:gd name="T40" fmla="*/ 2147483647 w 182"/>
                <a:gd name="T41" fmla="*/ 2147483647 h 145"/>
                <a:gd name="T42" fmla="*/ 2147483647 w 182"/>
                <a:gd name="T43" fmla="*/ 2147483647 h 145"/>
                <a:gd name="T44" fmla="*/ 2147483647 w 182"/>
                <a:gd name="T45" fmla="*/ 2147483647 h 145"/>
                <a:gd name="T46" fmla="*/ 2147483647 w 182"/>
                <a:gd name="T47" fmla="*/ 2147483647 h 145"/>
                <a:gd name="T48" fmla="*/ 2147483647 w 182"/>
                <a:gd name="T49" fmla="*/ 2147483647 h 145"/>
                <a:gd name="T50" fmla="*/ 2147483647 w 182"/>
                <a:gd name="T51" fmla="*/ 2147483647 h 145"/>
                <a:gd name="T52" fmla="*/ 2147483647 w 182"/>
                <a:gd name="T53" fmla="*/ 2147483647 h 145"/>
                <a:gd name="T54" fmla="*/ 2147483647 w 182"/>
                <a:gd name="T55" fmla="*/ 2147483647 h 145"/>
                <a:gd name="T56" fmla="*/ 2147483647 w 182"/>
                <a:gd name="T57" fmla="*/ 2147483647 h 145"/>
                <a:gd name="T58" fmla="*/ 2147483647 w 182"/>
                <a:gd name="T59" fmla="*/ 2147483647 h 145"/>
                <a:gd name="T60" fmla="*/ 2147483647 w 182"/>
                <a:gd name="T61" fmla="*/ 2147483647 h 145"/>
                <a:gd name="T62" fmla="*/ 2147483647 w 182"/>
                <a:gd name="T63" fmla="*/ 2147483647 h 145"/>
                <a:gd name="T64" fmla="*/ 2147483647 w 182"/>
                <a:gd name="T65" fmla="*/ 2147483647 h 145"/>
                <a:gd name="T66" fmla="*/ 2147483647 w 182"/>
                <a:gd name="T67" fmla="*/ 2147483647 h 145"/>
                <a:gd name="T68" fmla="*/ 2147483647 w 182"/>
                <a:gd name="T69" fmla="*/ 2147483647 h 145"/>
                <a:gd name="T70" fmla="*/ 2147483647 w 182"/>
                <a:gd name="T71" fmla="*/ 2147483647 h 145"/>
                <a:gd name="T72" fmla="*/ 2147483647 w 182"/>
                <a:gd name="T73" fmla="*/ 2147483647 h 145"/>
                <a:gd name="T74" fmla="*/ 2147483647 w 182"/>
                <a:gd name="T75" fmla="*/ 2147483647 h 145"/>
                <a:gd name="T76" fmla="*/ 2147483647 w 182"/>
                <a:gd name="T77" fmla="*/ 2147483647 h 145"/>
                <a:gd name="T78" fmla="*/ 2147483647 w 182"/>
                <a:gd name="T79" fmla="*/ 2147483647 h 145"/>
                <a:gd name="T80" fmla="*/ 2147483647 w 182"/>
                <a:gd name="T81" fmla="*/ 0 h 145"/>
                <a:gd name="T82" fmla="*/ 2147483647 w 182"/>
                <a:gd name="T83" fmla="*/ 2147483647 h 145"/>
                <a:gd name="T84" fmla="*/ 2147483647 w 182"/>
                <a:gd name="T85" fmla="*/ 2147483647 h 145"/>
                <a:gd name="T86" fmla="*/ 2147483647 w 182"/>
                <a:gd name="T87" fmla="*/ 2147483647 h 145"/>
                <a:gd name="T88" fmla="*/ 2147483647 w 182"/>
                <a:gd name="T89" fmla="*/ 2147483647 h 145"/>
                <a:gd name="T90" fmla="*/ 2147483647 w 182"/>
                <a:gd name="T91" fmla="*/ 2147483647 h 145"/>
                <a:gd name="T92" fmla="*/ 2147483647 w 182"/>
                <a:gd name="T93" fmla="*/ 2147483647 h 145"/>
                <a:gd name="T94" fmla="*/ 2147483647 w 182"/>
                <a:gd name="T95" fmla="*/ 2147483647 h 145"/>
                <a:gd name="T96" fmla="*/ 2147483647 w 182"/>
                <a:gd name="T97" fmla="*/ 2147483647 h 145"/>
                <a:gd name="T98" fmla="*/ 2147483647 w 182"/>
                <a:gd name="T99" fmla="*/ 2147483647 h 145"/>
                <a:gd name="T100" fmla="*/ 2147483647 w 182"/>
                <a:gd name="T101" fmla="*/ 2147483647 h 145"/>
                <a:gd name="T102" fmla="*/ 2147483647 w 182"/>
                <a:gd name="T103" fmla="*/ 2147483647 h 145"/>
                <a:gd name="T104" fmla="*/ 2147483647 w 182"/>
                <a:gd name="T105" fmla="*/ 2147483647 h 145"/>
                <a:gd name="T106" fmla="*/ 2147483647 w 182"/>
                <a:gd name="T107" fmla="*/ 2147483647 h 145"/>
                <a:gd name="T108" fmla="*/ 2147483647 w 182"/>
                <a:gd name="T109" fmla="*/ 2147483647 h 145"/>
                <a:gd name="T110" fmla="*/ 2147483647 w 182"/>
                <a:gd name="T111" fmla="*/ 2147483647 h 145"/>
                <a:gd name="T112" fmla="*/ 2147483647 w 182"/>
                <a:gd name="T113" fmla="*/ 2147483647 h 145"/>
                <a:gd name="T114" fmla="*/ 2147483647 w 182"/>
                <a:gd name="T115" fmla="*/ 2147483647 h 1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2"/>
                <a:gd name="T175" fmla="*/ 0 h 145"/>
                <a:gd name="T176" fmla="*/ 182 w 182"/>
                <a:gd name="T177" fmla="*/ 145 h 1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68" name="Freeform 95">
              <a:extLst>
                <a:ext uri="{FF2B5EF4-FFF2-40B4-BE49-F238E27FC236}">
                  <a16:creationId xmlns:a16="http://schemas.microsoft.com/office/drawing/2014/main" id="{8DC6E80E-FAB0-8146-9417-0FBA15FB4FEE}"/>
                </a:ext>
              </a:extLst>
            </p:cNvPr>
            <p:cNvSpPr>
              <a:spLocks/>
            </p:cNvSpPr>
            <p:nvPr>
              <p:custDataLst>
                <p:tags r:id="rId61"/>
              </p:custDataLst>
            </p:nvPr>
          </p:nvSpPr>
          <p:spPr bwMode="auto">
            <a:xfrm>
              <a:off x="5556639" y="2669007"/>
              <a:ext cx="91805" cy="55084"/>
            </a:xfrm>
            <a:custGeom>
              <a:avLst/>
              <a:gdLst>
                <a:gd name="T0" fmla="*/ 0 w 149"/>
                <a:gd name="T1" fmla="*/ 2147483647 h 102"/>
                <a:gd name="T2" fmla="*/ 2147483647 w 149"/>
                <a:gd name="T3" fmla="*/ 2147483647 h 102"/>
                <a:gd name="T4" fmla="*/ 2147483647 w 149"/>
                <a:gd name="T5" fmla="*/ 2147483647 h 102"/>
                <a:gd name="T6" fmla="*/ 2147483647 w 149"/>
                <a:gd name="T7" fmla="*/ 2147483647 h 102"/>
                <a:gd name="T8" fmla="*/ 2147483647 w 149"/>
                <a:gd name="T9" fmla="*/ 2147483647 h 102"/>
                <a:gd name="T10" fmla="*/ 2147483647 w 149"/>
                <a:gd name="T11" fmla="*/ 2147483647 h 102"/>
                <a:gd name="T12" fmla="*/ 2147483647 w 149"/>
                <a:gd name="T13" fmla="*/ 2147483647 h 102"/>
                <a:gd name="T14" fmla="*/ 2147483647 w 149"/>
                <a:gd name="T15" fmla="*/ 2147483647 h 102"/>
                <a:gd name="T16" fmla="*/ 2147483647 w 149"/>
                <a:gd name="T17" fmla="*/ 2147483647 h 102"/>
                <a:gd name="T18" fmla="*/ 2147483647 w 149"/>
                <a:gd name="T19" fmla="*/ 2147483647 h 102"/>
                <a:gd name="T20" fmla="*/ 2147483647 w 149"/>
                <a:gd name="T21" fmla="*/ 2147483647 h 102"/>
                <a:gd name="T22" fmla="*/ 2147483647 w 149"/>
                <a:gd name="T23" fmla="*/ 2147483647 h 102"/>
                <a:gd name="T24" fmla="*/ 2147483647 w 149"/>
                <a:gd name="T25" fmla="*/ 2147483647 h 102"/>
                <a:gd name="T26" fmla="*/ 2147483647 w 149"/>
                <a:gd name="T27" fmla="*/ 2147483647 h 102"/>
                <a:gd name="T28" fmla="*/ 2147483647 w 149"/>
                <a:gd name="T29" fmla="*/ 2147483647 h 102"/>
                <a:gd name="T30" fmla="*/ 2147483647 w 149"/>
                <a:gd name="T31" fmla="*/ 2147483647 h 102"/>
                <a:gd name="T32" fmla="*/ 2147483647 w 149"/>
                <a:gd name="T33" fmla="*/ 2147483647 h 102"/>
                <a:gd name="T34" fmla="*/ 2147483647 w 149"/>
                <a:gd name="T35" fmla="*/ 2147483647 h 102"/>
                <a:gd name="T36" fmla="*/ 2147483647 w 149"/>
                <a:gd name="T37" fmla="*/ 2147483647 h 102"/>
                <a:gd name="T38" fmla="*/ 2147483647 w 149"/>
                <a:gd name="T39" fmla="*/ 2147483647 h 102"/>
                <a:gd name="T40" fmla="*/ 2147483647 w 149"/>
                <a:gd name="T41" fmla="*/ 2147483647 h 102"/>
                <a:gd name="T42" fmla="*/ 2147483647 w 149"/>
                <a:gd name="T43" fmla="*/ 2147483647 h 102"/>
                <a:gd name="T44" fmla="*/ 2147483647 w 149"/>
                <a:gd name="T45" fmla="*/ 2147483647 h 102"/>
                <a:gd name="T46" fmla="*/ 2147483647 w 149"/>
                <a:gd name="T47" fmla="*/ 2147483647 h 102"/>
                <a:gd name="T48" fmla="*/ 2147483647 w 149"/>
                <a:gd name="T49" fmla="*/ 2147483647 h 102"/>
                <a:gd name="T50" fmla="*/ 2147483647 w 149"/>
                <a:gd name="T51" fmla="*/ 2147483647 h 102"/>
                <a:gd name="T52" fmla="*/ 2147483647 w 149"/>
                <a:gd name="T53" fmla="*/ 2147483647 h 102"/>
                <a:gd name="T54" fmla="*/ 2147483647 w 149"/>
                <a:gd name="T55" fmla="*/ 2147483647 h 102"/>
                <a:gd name="T56" fmla="*/ 2147483647 w 149"/>
                <a:gd name="T57" fmla="*/ 2147483647 h 102"/>
                <a:gd name="T58" fmla="*/ 2147483647 w 149"/>
                <a:gd name="T59" fmla="*/ 2147483647 h 102"/>
                <a:gd name="T60" fmla="*/ 2147483647 w 149"/>
                <a:gd name="T61" fmla="*/ 2147483647 h 102"/>
                <a:gd name="T62" fmla="*/ 2147483647 w 149"/>
                <a:gd name="T63" fmla="*/ 2147483647 h 102"/>
                <a:gd name="T64" fmla="*/ 2147483647 w 149"/>
                <a:gd name="T65" fmla="*/ 2147483647 h 102"/>
                <a:gd name="T66" fmla="*/ 2147483647 w 149"/>
                <a:gd name="T67" fmla="*/ 2147483647 h 102"/>
                <a:gd name="T68" fmla="*/ 2147483647 w 149"/>
                <a:gd name="T69" fmla="*/ 2147483647 h 102"/>
                <a:gd name="T70" fmla="*/ 2147483647 w 149"/>
                <a:gd name="T71" fmla="*/ 2147483647 h 102"/>
                <a:gd name="T72" fmla="*/ 2147483647 w 149"/>
                <a:gd name="T73" fmla="*/ 2147483647 h 102"/>
                <a:gd name="T74" fmla="*/ 2147483647 w 149"/>
                <a:gd name="T75" fmla="*/ 2147483647 h 102"/>
                <a:gd name="T76" fmla="*/ 2147483647 w 149"/>
                <a:gd name="T77" fmla="*/ 2147483647 h 102"/>
                <a:gd name="T78" fmla="*/ 2147483647 w 149"/>
                <a:gd name="T79" fmla="*/ 2147483647 h 102"/>
                <a:gd name="T80" fmla="*/ 2147483647 w 149"/>
                <a:gd name="T81" fmla="*/ 2147483647 h 102"/>
                <a:gd name="T82" fmla="*/ 0 w 149"/>
                <a:gd name="T83" fmla="*/ 2147483647 h 1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9"/>
                <a:gd name="T127" fmla="*/ 0 h 102"/>
                <a:gd name="T128" fmla="*/ 149 w 149"/>
                <a:gd name="T129" fmla="*/ 102 h 1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69" name="Freeform 96">
              <a:extLst>
                <a:ext uri="{FF2B5EF4-FFF2-40B4-BE49-F238E27FC236}">
                  <a16:creationId xmlns:a16="http://schemas.microsoft.com/office/drawing/2014/main" id="{E819AEC7-3240-7E4D-8DC1-C5EF2CD95949}"/>
                </a:ext>
              </a:extLst>
            </p:cNvPr>
            <p:cNvSpPr>
              <a:spLocks/>
            </p:cNvSpPr>
            <p:nvPr>
              <p:custDataLst>
                <p:tags r:id="rId62"/>
              </p:custDataLst>
            </p:nvPr>
          </p:nvSpPr>
          <p:spPr bwMode="auto">
            <a:xfrm>
              <a:off x="5635091" y="2577202"/>
              <a:ext cx="232019" cy="216995"/>
            </a:xfrm>
            <a:custGeom>
              <a:avLst/>
              <a:gdLst>
                <a:gd name="T0" fmla="*/ 2147483647 w 373"/>
                <a:gd name="T1" fmla="*/ 2147483647 h 393"/>
                <a:gd name="T2" fmla="*/ 2147483647 w 373"/>
                <a:gd name="T3" fmla="*/ 2147483647 h 393"/>
                <a:gd name="T4" fmla="*/ 2147483647 w 373"/>
                <a:gd name="T5" fmla="*/ 2147483647 h 393"/>
                <a:gd name="T6" fmla="*/ 2147483647 w 373"/>
                <a:gd name="T7" fmla="*/ 2147483647 h 393"/>
                <a:gd name="T8" fmla="*/ 2147483647 w 373"/>
                <a:gd name="T9" fmla="*/ 2147483647 h 393"/>
                <a:gd name="T10" fmla="*/ 2147483647 w 373"/>
                <a:gd name="T11" fmla="*/ 2147483647 h 393"/>
                <a:gd name="T12" fmla="*/ 2147483647 w 373"/>
                <a:gd name="T13" fmla="*/ 2147483647 h 393"/>
                <a:gd name="T14" fmla="*/ 2147483647 w 373"/>
                <a:gd name="T15" fmla="*/ 2147483647 h 393"/>
                <a:gd name="T16" fmla="*/ 2147483647 w 373"/>
                <a:gd name="T17" fmla="*/ 2147483647 h 393"/>
                <a:gd name="T18" fmla="*/ 2147483647 w 373"/>
                <a:gd name="T19" fmla="*/ 2147483647 h 393"/>
                <a:gd name="T20" fmla="*/ 2147483647 w 373"/>
                <a:gd name="T21" fmla="*/ 2147483647 h 393"/>
                <a:gd name="T22" fmla="*/ 2147483647 w 373"/>
                <a:gd name="T23" fmla="*/ 2147483647 h 393"/>
                <a:gd name="T24" fmla="*/ 2147483647 w 373"/>
                <a:gd name="T25" fmla="*/ 2147483647 h 393"/>
                <a:gd name="T26" fmla="*/ 2147483647 w 373"/>
                <a:gd name="T27" fmla="*/ 2147483647 h 393"/>
                <a:gd name="T28" fmla="*/ 2147483647 w 373"/>
                <a:gd name="T29" fmla="*/ 2147483647 h 393"/>
                <a:gd name="T30" fmla="*/ 2147483647 w 373"/>
                <a:gd name="T31" fmla="*/ 2147483647 h 393"/>
                <a:gd name="T32" fmla="*/ 2147483647 w 373"/>
                <a:gd name="T33" fmla="*/ 2147483647 h 393"/>
                <a:gd name="T34" fmla="*/ 2147483647 w 373"/>
                <a:gd name="T35" fmla="*/ 2147483647 h 393"/>
                <a:gd name="T36" fmla="*/ 2147483647 w 373"/>
                <a:gd name="T37" fmla="*/ 2147483647 h 393"/>
                <a:gd name="T38" fmla="*/ 2147483647 w 373"/>
                <a:gd name="T39" fmla="*/ 2147483647 h 393"/>
                <a:gd name="T40" fmla="*/ 2147483647 w 373"/>
                <a:gd name="T41" fmla="*/ 2147483647 h 393"/>
                <a:gd name="T42" fmla="*/ 2147483647 w 373"/>
                <a:gd name="T43" fmla="*/ 2147483647 h 393"/>
                <a:gd name="T44" fmla="*/ 2147483647 w 373"/>
                <a:gd name="T45" fmla="*/ 2147483647 h 393"/>
                <a:gd name="T46" fmla="*/ 2147483647 w 373"/>
                <a:gd name="T47" fmla="*/ 2147483647 h 393"/>
                <a:gd name="T48" fmla="*/ 2147483647 w 373"/>
                <a:gd name="T49" fmla="*/ 2147483647 h 393"/>
                <a:gd name="T50" fmla="*/ 2147483647 w 373"/>
                <a:gd name="T51" fmla="*/ 2147483647 h 393"/>
                <a:gd name="T52" fmla="*/ 2147483647 w 373"/>
                <a:gd name="T53" fmla="*/ 2147483647 h 393"/>
                <a:gd name="T54" fmla="*/ 2147483647 w 373"/>
                <a:gd name="T55" fmla="*/ 2147483647 h 393"/>
                <a:gd name="T56" fmla="*/ 2147483647 w 373"/>
                <a:gd name="T57" fmla="*/ 2147483647 h 393"/>
                <a:gd name="T58" fmla="*/ 2147483647 w 373"/>
                <a:gd name="T59" fmla="*/ 2147483647 h 393"/>
                <a:gd name="T60" fmla="*/ 2147483647 w 373"/>
                <a:gd name="T61" fmla="*/ 2147483647 h 393"/>
                <a:gd name="T62" fmla="*/ 2147483647 w 373"/>
                <a:gd name="T63" fmla="*/ 2147483647 h 393"/>
                <a:gd name="T64" fmla="*/ 2147483647 w 373"/>
                <a:gd name="T65" fmla="*/ 2147483647 h 393"/>
                <a:gd name="T66" fmla="*/ 2147483647 w 373"/>
                <a:gd name="T67" fmla="*/ 2147483647 h 393"/>
                <a:gd name="T68" fmla="*/ 2147483647 w 373"/>
                <a:gd name="T69" fmla="*/ 2147483647 h 393"/>
                <a:gd name="T70" fmla="*/ 2147483647 w 373"/>
                <a:gd name="T71" fmla="*/ 2147483647 h 393"/>
                <a:gd name="T72" fmla="*/ 2147483647 w 373"/>
                <a:gd name="T73" fmla="*/ 2147483647 h 393"/>
                <a:gd name="T74" fmla="*/ 2147483647 w 373"/>
                <a:gd name="T75" fmla="*/ 0 h 393"/>
                <a:gd name="T76" fmla="*/ 2147483647 w 373"/>
                <a:gd name="T77" fmla="*/ 2147483647 h 393"/>
                <a:gd name="T78" fmla="*/ 2147483647 w 373"/>
                <a:gd name="T79" fmla="*/ 2147483647 h 393"/>
                <a:gd name="T80" fmla="*/ 2147483647 w 373"/>
                <a:gd name="T81" fmla="*/ 2147483647 h 393"/>
                <a:gd name="T82" fmla="*/ 2147483647 w 373"/>
                <a:gd name="T83" fmla="*/ 2147483647 h 393"/>
                <a:gd name="T84" fmla="*/ 2147483647 w 373"/>
                <a:gd name="T85" fmla="*/ 2147483647 h 393"/>
                <a:gd name="T86" fmla="*/ 2147483647 w 373"/>
                <a:gd name="T87" fmla="*/ 2147483647 h 393"/>
                <a:gd name="T88" fmla="*/ 2147483647 w 373"/>
                <a:gd name="T89" fmla="*/ 2147483647 h 393"/>
                <a:gd name="T90" fmla="*/ 2147483647 w 373"/>
                <a:gd name="T91" fmla="*/ 2147483647 h 393"/>
                <a:gd name="T92" fmla="*/ 0 w 373"/>
                <a:gd name="T93" fmla="*/ 2147483647 h 393"/>
                <a:gd name="T94" fmla="*/ 2147483647 w 373"/>
                <a:gd name="T95" fmla="*/ 2147483647 h 393"/>
                <a:gd name="T96" fmla="*/ 2147483647 w 373"/>
                <a:gd name="T97" fmla="*/ 2147483647 h 393"/>
                <a:gd name="T98" fmla="*/ 2147483647 w 373"/>
                <a:gd name="T99" fmla="*/ 2147483647 h 39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3"/>
                <a:gd name="T151" fmla="*/ 0 h 393"/>
                <a:gd name="T152" fmla="*/ 373 w 373"/>
                <a:gd name="T153" fmla="*/ 393 h 39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70" name="Freeform 97">
              <a:extLst>
                <a:ext uri="{FF2B5EF4-FFF2-40B4-BE49-F238E27FC236}">
                  <a16:creationId xmlns:a16="http://schemas.microsoft.com/office/drawing/2014/main" id="{50482DC6-6147-6642-A125-1D9F6974B645}"/>
                </a:ext>
              </a:extLst>
            </p:cNvPr>
            <p:cNvSpPr>
              <a:spLocks/>
            </p:cNvSpPr>
            <p:nvPr>
              <p:custDataLst>
                <p:tags r:id="rId63"/>
              </p:custDataLst>
            </p:nvPr>
          </p:nvSpPr>
          <p:spPr bwMode="auto">
            <a:xfrm>
              <a:off x="5511570" y="2927731"/>
              <a:ext cx="10015" cy="5007"/>
            </a:xfrm>
            <a:custGeom>
              <a:avLst/>
              <a:gdLst>
                <a:gd name="T0" fmla="*/ 2147483647 w 20"/>
                <a:gd name="T1" fmla="*/ 2147483647 h 13"/>
                <a:gd name="T2" fmla="*/ 2147483647 w 20"/>
                <a:gd name="T3" fmla="*/ 2147483647 h 13"/>
                <a:gd name="T4" fmla="*/ 2147483647 w 20"/>
                <a:gd name="T5" fmla="*/ 2147483647 h 13"/>
                <a:gd name="T6" fmla="*/ 2147483647 w 20"/>
                <a:gd name="T7" fmla="*/ 2147483647 h 13"/>
                <a:gd name="T8" fmla="*/ 2147483647 w 20"/>
                <a:gd name="T9" fmla="*/ 2147483647 h 13"/>
                <a:gd name="T10" fmla="*/ 0 w 20"/>
                <a:gd name="T11" fmla="*/ 2147483647 h 13"/>
                <a:gd name="T12" fmla="*/ 2147483647 w 20"/>
                <a:gd name="T13" fmla="*/ 2147483647 h 13"/>
                <a:gd name="T14" fmla="*/ 0 60000 65536"/>
                <a:gd name="T15" fmla="*/ 0 60000 65536"/>
                <a:gd name="T16" fmla="*/ 0 60000 65536"/>
                <a:gd name="T17" fmla="*/ 0 60000 65536"/>
                <a:gd name="T18" fmla="*/ 0 60000 65536"/>
                <a:gd name="T19" fmla="*/ 0 60000 65536"/>
                <a:gd name="T20" fmla="*/ 0 60000 65536"/>
                <a:gd name="T21" fmla="*/ 0 w 20"/>
                <a:gd name="T22" fmla="*/ 0 h 13"/>
                <a:gd name="T23" fmla="*/ 20 w 20"/>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71" name="Freeform 98">
              <a:extLst>
                <a:ext uri="{FF2B5EF4-FFF2-40B4-BE49-F238E27FC236}">
                  <a16:creationId xmlns:a16="http://schemas.microsoft.com/office/drawing/2014/main" id="{4CE76E1B-2549-1F4C-AF53-748918429185}"/>
                </a:ext>
              </a:extLst>
            </p:cNvPr>
            <p:cNvSpPr>
              <a:spLocks/>
            </p:cNvSpPr>
            <p:nvPr>
              <p:custDataLst>
                <p:tags r:id="rId64"/>
              </p:custDataLst>
            </p:nvPr>
          </p:nvSpPr>
          <p:spPr bwMode="auto">
            <a:xfrm>
              <a:off x="7736603" y="2648976"/>
              <a:ext cx="866309" cy="308801"/>
            </a:xfrm>
            <a:custGeom>
              <a:avLst/>
              <a:gdLst>
                <a:gd name="T0" fmla="*/ 2147483647 w 1406"/>
                <a:gd name="T1" fmla="*/ 2147483647 h 558"/>
                <a:gd name="T2" fmla="*/ 2147483647 w 1406"/>
                <a:gd name="T3" fmla="*/ 2147483647 h 558"/>
                <a:gd name="T4" fmla="*/ 2147483647 w 1406"/>
                <a:gd name="T5" fmla="*/ 2147483647 h 558"/>
                <a:gd name="T6" fmla="*/ 2147483647 w 1406"/>
                <a:gd name="T7" fmla="*/ 2147483647 h 558"/>
                <a:gd name="T8" fmla="*/ 2147483647 w 1406"/>
                <a:gd name="T9" fmla="*/ 2147483647 h 558"/>
                <a:gd name="T10" fmla="*/ 2147483647 w 1406"/>
                <a:gd name="T11" fmla="*/ 2147483647 h 558"/>
                <a:gd name="T12" fmla="*/ 2147483647 w 1406"/>
                <a:gd name="T13" fmla="*/ 2147483647 h 558"/>
                <a:gd name="T14" fmla="*/ 2147483647 w 1406"/>
                <a:gd name="T15" fmla="*/ 2147483647 h 558"/>
                <a:gd name="T16" fmla="*/ 2147483647 w 1406"/>
                <a:gd name="T17" fmla="*/ 2147483647 h 558"/>
                <a:gd name="T18" fmla="*/ 2147483647 w 1406"/>
                <a:gd name="T19" fmla="*/ 2147483647 h 558"/>
                <a:gd name="T20" fmla="*/ 2147483647 w 1406"/>
                <a:gd name="T21" fmla="*/ 2147483647 h 558"/>
                <a:gd name="T22" fmla="*/ 2147483647 w 1406"/>
                <a:gd name="T23" fmla="*/ 2147483647 h 558"/>
                <a:gd name="T24" fmla="*/ 2147483647 w 1406"/>
                <a:gd name="T25" fmla="*/ 2147483647 h 558"/>
                <a:gd name="T26" fmla="*/ 2147483647 w 1406"/>
                <a:gd name="T27" fmla="*/ 2147483647 h 558"/>
                <a:gd name="T28" fmla="*/ 2147483647 w 1406"/>
                <a:gd name="T29" fmla="*/ 2147483647 h 558"/>
                <a:gd name="T30" fmla="*/ 2147483647 w 1406"/>
                <a:gd name="T31" fmla="*/ 2147483647 h 558"/>
                <a:gd name="T32" fmla="*/ 2147483647 w 1406"/>
                <a:gd name="T33" fmla="*/ 0 h 558"/>
                <a:gd name="T34" fmla="*/ 2147483647 w 1406"/>
                <a:gd name="T35" fmla="*/ 2147483647 h 558"/>
                <a:gd name="T36" fmla="*/ 2147483647 w 1406"/>
                <a:gd name="T37" fmla="*/ 2147483647 h 558"/>
                <a:gd name="T38" fmla="*/ 2147483647 w 1406"/>
                <a:gd name="T39" fmla="*/ 2147483647 h 558"/>
                <a:gd name="T40" fmla="*/ 2147483647 w 1406"/>
                <a:gd name="T41" fmla="*/ 2147483647 h 558"/>
                <a:gd name="T42" fmla="*/ 2147483647 w 1406"/>
                <a:gd name="T43" fmla="*/ 2147483647 h 558"/>
                <a:gd name="T44" fmla="*/ 2147483647 w 1406"/>
                <a:gd name="T45" fmla="*/ 2147483647 h 558"/>
                <a:gd name="T46" fmla="*/ 2147483647 w 1406"/>
                <a:gd name="T47" fmla="*/ 2147483647 h 558"/>
                <a:gd name="T48" fmla="*/ 2147483647 w 1406"/>
                <a:gd name="T49" fmla="*/ 2147483647 h 558"/>
                <a:gd name="T50" fmla="*/ 2147483647 w 1406"/>
                <a:gd name="T51" fmla="*/ 2147483647 h 558"/>
                <a:gd name="T52" fmla="*/ 2147483647 w 1406"/>
                <a:gd name="T53" fmla="*/ 2147483647 h 558"/>
                <a:gd name="T54" fmla="*/ 2147483647 w 1406"/>
                <a:gd name="T55" fmla="*/ 2147483647 h 558"/>
                <a:gd name="T56" fmla="*/ 2147483647 w 1406"/>
                <a:gd name="T57" fmla="*/ 2147483647 h 558"/>
                <a:gd name="T58" fmla="*/ 2147483647 w 1406"/>
                <a:gd name="T59" fmla="*/ 2147483647 h 558"/>
                <a:gd name="T60" fmla="*/ 2147483647 w 1406"/>
                <a:gd name="T61" fmla="*/ 2147483647 h 558"/>
                <a:gd name="T62" fmla="*/ 2147483647 w 1406"/>
                <a:gd name="T63" fmla="*/ 2147483647 h 558"/>
                <a:gd name="T64" fmla="*/ 2147483647 w 1406"/>
                <a:gd name="T65" fmla="*/ 2147483647 h 558"/>
                <a:gd name="T66" fmla="*/ 2147483647 w 1406"/>
                <a:gd name="T67" fmla="*/ 2147483647 h 558"/>
                <a:gd name="T68" fmla="*/ 2147483647 w 1406"/>
                <a:gd name="T69" fmla="*/ 2147483647 h 558"/>
                <a:gd name="T70" fmla="*/ 2147483647 w 1406"/>
                <a:gd name="T71" fmla="*/ 2147483647 h 558"/>
                <a:gd name="T72" fmla="*/ 2147483647 w 1406"/>
                <a:gd name="T73" fmla="*/ 2147483647 h 558"/>
                <a:gd name="T74" fmla="*/ 2147483647 w 1406"/>
                <a:gd name="T75" fmla="*/ 2147483647 h 558"/>
                <a:gd name="T76" fmla="*/ 2147483647 w 1406"/>
                <a:gd name="T77" fmla="*/ 2147483647 h 558"/>
                <a:gd name="T78" fmla="*/ 2147483647 w 1406"/>
                <a:gd name="T79" fmla="*/ 2147483647 h 558"/>
                <a:gd name="T80" fmla="*/ 2147483647 w 1406"/>
                <a:gd name="T81" fmla="*/ 2147483647 h 558"/>
                <a:gd name="T82" fmla="*/ 2147483647 w 1406"/>
                <a:gd name="T83" fmla="*/ 2147483647 h 558"/>
                <a:gd name="T84" fmla="*/ 2147483647 w 1406"/>
                <a:gd name="T85" fmla="*/ 2147483647 h 558"/>
                <a:gd name="T86" fmla="*/ 2147483647 w 1406"/>
                <a:gd name="T87" fmla="*/ 2147483647 h 558"/>
                <a:gd name="T88" fmla="*/ 2147483647 w 1406"/>
                <a:gd name="T89" fmla="*/ 2147483647 h 558"/>
                <a:gd name="T90" fmla="*/ 2147483647 w 1406"/>
                <a:gd name="T91" fmla="*/ 2147483647 h 558"/>
                <a:gd name="T92" fmla="*/ 2147483647 w 1406"/>
                <a:gd name="T93" fmla="*/ 2147483647 h 558"/>
                <a:gd name="T94" fmla="*/ 2147483647 w 1406"/>
                <a:gd name="T95" fmla="*/ 2147483647 h 558"/>
                <a:gd name="T96" fmla="*/ 2147483647 w 1406"/>
                <a:gd name="T97" fmla="*/ 2147483647 h 558"/>
                <a:gd name="T98" fmla="*/ 2147483647 w 1406"/>
                <a:gd name="T99" fmla="*/ 2147483647 h 558"/>
                <a:gd name="T100" fmla="*/ 2147483647 w 1406"/>
                <a:gd name="T101" fmla="*/ 2147483647 h 5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06"/>
                <a:gd name="T154" fmla="*/ 0 h 558"/>
                <a:gd name="T155" fmla="*/ 1406 w 1406"/>
                <a:gd name="T156" fmla="*/ 558 h 5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72" name="Freeform 99">
              <a:extLst>
                <a:ext uri="{FF2B5EF4-FFF2-40B4-BE49-F238E27FC236}">
                  <a16:creationId xmlns:a16="http://schemas.microsoft.com/office/drawing/2014/main" id="{F8879A9B-D39F-A54B-B8F1-C4F01C85FA28}"/>
                </a:ext>
              </a:extLst>
            </p:cNvPr>
            <p:cNvSpPr>
              <a:spLocks/>
            </p:cNvSpPr>
            <p:nvPr>
              <p:custDataLst>
                <p:tags r:id="rId65"/>
              </p:custDataLst>
            </p:nvPr>
          </p:nvSpPr>
          <p:spPr bwMode="auto">
            <a:xfrm>
              <a:off x="6536454" y="2899354"/>
              <a:ext cx="190288" cy="80121"/>
            </a:xfrm>
            <a:custGeom>
              <a:avLst/>
              <a:gdLst>
                <a:gd name="T0" fmla="*/ 2147483647 w 308"/>
                <a:gd name="T1" fmla="*/ 2147483647 h 144"/>
                <a:gd name="T2" fmla="*/ 2147483647 w 308"/>
                <a:gd name="T3" fmla="*/ 2147483647 h 144"/>
                <a:gd name="T4" fmla="*/ 2147483647 w 308"/>
                <a:gd name="T5" fmla="*/ 2147483647 h 144"/>
                <a:gd name="T6" fmla="*/ 2147483647 w 308"/>
                <a:gd name="T7" fmla="*/ 2147483647 h 144"/>
                <a:gd name="T8" fmla="*/ 2147483647 w 308"/>
                <a:gd name="T9" fmla="*/ 2147483647 h 144"/>
                <a:gd name="T10" fmla="*/ 2147483647 w 308"/>
                <a:gd name="T11" fmla="*/ 2147483647 h 144"/>
                <a:gd name="T12" fmla="*/ 2147483647 w 308"/>
                <a:gd name="T13" fmla="*/ 2147483647 h 144"/>
                <a:gd name="T14" fmla="*/ 2147483647 w 308"/>
                <a:gd name="T15" fmla="*/ 2147483647 h 144"/>
                <a:gd name="T16" fmla="*/ 2147483647 w 308"/>
                <a:gd name="T17" fmla="*/ 2147483647 h 144"/>
                <a:gd name="T18" fmla="*/ 2147483647 w 308"/>
                <a:gd name="T19" fmla="*/ 2147483647 h 144"/>
                <a:gd name="T20" fmla="*/ 2147483647 w 308"/>
                <a:gd name="T21" fmla="*/ 2147483647 h 144"/>
                <a:gd name="T22" fmla="*/ 2147483647 w 308"/>
                <a:gd name="T23" fmla="*/ 2147483647 h 144"/>
                <a:gd name="T24" fmla="*/ 2147483647 w 308"/>
                <a:gd name="T25" fmla="*/ 2147483647 h 144"/>
                <a:gd name="T26" fmla="*/ 2147483647 w 308"/>
                <a:gd name="T27" fmla="*/ 2147483647 h 144"/>
                <a:gd name="T28" fmla="*/ 2147483647 w 308"/>
                <a:gd name="T29" fmla="*/ 2147483647 h 144"/>
                <a:gd name="T30" fmla="*/ 2147483647 w 308"/>
                <a:gd name="T31" fmla="*/ 2147483647 h 144"/>
                <a:gd name="T32" fmla="*/ 2147483647 w 308"/>
                <a:gd name="T33" fmla="*/ 2147483647 h 144"/>
                <a:gd name="T34" fmla="*/ 2147483647 w 308"/>
                <a:gd name="T35" fmla="*/ 2147483647 h 144"/>
                <a:gd name="T36" fmla="*/ 2147483647 w 308"/>
                <a:gd name="T37" fmla="*/ 2147483647 h 144"/>
                <a:gd name="T38" fmla="*/ 2147483647 w 308"/>
                <a:gd name="T39" fmla="*/ 2147483647 h 144"/>
                <a:gd name="T40" fmla="*/ 2147483647 w 308"/>
                <a:gd name="T41" fmla="*/ 2147483647 h 144"/>
                <a:gd name="T42" fmla="*/ 2147483647 w 308"/>
                <a:gd name="T43" fmla="*/ 2147483647 h 144"/>
                <a:gd name="T44" fmla="*/ 2147483647 w 308"/>
                <a:gd name="T45" fmla="*/ 2147483647 h 144"/>
                <a:gd name="T46" fmla="*/ 2147483647 w 308"/>
                <a:gd name="T47" fmla="*/ 2147483647 h 144"/>
                <a:gd name="T48" fmla="*/ 2147483647 w 308"/>
                <a:gd name="T49" fmla="*/ 2147483647 h 144"/>
                <a:gd name="T50" fmla="*/ 2147483647 w 308"/>
                <a:gd name="T51" fmla="*/ 2147483647 h 144"/>
                <a:gd name="T52" fmla="*/ 2147483647 w 308"/>
                <a:gd name="T53" fmla="*/ 2147483647 h 144"/>
                <a:gd name="T54" fmla="*/ 2147483647 w 308"/>
                <a:gd name="T55" fmla="*/ 2147483647 h 144"/>
                <a:gd name="T56" fmla="*/ 2147483647 w 308"/>
                <a:gd name="T57" fmla="*/ 2147483647 h 144"/>
                <a:gd name="T58" fmla="*/ 2147483647 w 308"/>
                <a:gd name="T59" fmla="*/ 2147483647 h 144"/>
                <a:gd name="T60" fmla="*/ 2147483647 w 308"/>
                <a:gd name="T61" fmla="*/ 2147483647 h 144"/>
                <a:gd name="T62" fmla="*/ 2147483647 w 308"/>
                <a:gd name="T63" fmla="*/ 2147483647 h 144"/>
                <a:gd name="T64" fmla="*/ 2147483647 w 308"/>
                <a:gd name="T65" fmla="*/ 2147483647 h 144"/>
                <a:gd name="T66" fmla="*/ 2147483647 w 308"/>
                <a:gd name="T67" fmla="*/ 2147483647 h 144"/>
                <a:gd name="T68" fmla="*/ 2147483647 w 308"/>
                <a:gd name="T69" fmla="*/ 0 h 144"/>
                <a:gd name="T70" fmla="*/ 0 w 308"/>
                <a:gd name="T71" fmla="*/ 2147483647 h 144"/>
                <a:gd name="T72" fmla="*/ 2147483647 w 308"/>
                <a:gd name="T73" fmla="*/ 2147483647 h 1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8"/>
                <a:gd name="T112" fmla="*/ 0 h 144"/>
                <a:gd name="T113" fmla="*/ 308 w 308"/>
                <a:gd name="T114" fmla="*/ 144 h 1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73" name="Freeform 100">
              <a:extLst>
                <a:ext uri="{FF2B5EF4-FFF2-40B4-BE49-F238E27FC236}">
                  <a16:creationId xmlns:a16="http://schemas.microsoft.com/office/drawing/2014/main" id="{C80275DC-1E42-024F-8AAC-F773C2A56A9A}"/>
                </a:ext>
              </a:extLst>
            </p:cNvPr>
            <p:cNvSpPr>
              <a:spLocks noEditPoints="1"/>
            </p:cNvSpPr>
            <p:nvPr>
              <p:custDataLst>
                <p:tags r:id="rId66"/>
              </p:custDataLst>
            </p:nvPr>
          </p:nvSpPr>
          <p:spPr bwMode="auto">
            <a:xfrm>
              <a:off x="6683343" y="2949430"/>
              <a:ext cx="148559" cy="106828"/>
            </a:xfrm>
            <a:custGeom>
              <a:avLst/>
              <a:gdLst>
                <a:gd name="T0" fmla="*/ 2147483647 w 240"/>
                <a:gd name="T1" fmla="*/ 2147483647 h 194"/>
                <a:gd name="T2" fmla="*/ 2147483647 w 240"/>
                <a:gd name="T3" fmla="*/ 2147483647 h 194"/>
                <a:gd name="T4" fmla="*/ 2147483647 w 240"/>
                <a:gd name="T5" fmla="*/ 2147483647 h 194"/>
                <a:gd name="T6" fmla="*/ 2147483647 w 240"/>
                <a:gd name="T7" fmla="*/ 2147483647 h 194"/>
                <a:gd name="T8" fmla="*/ 2147483647 w 240"/>
                <a:gd name="T9" fmla="*/ 2147483647 h 194"/>
                <a:gd name="T10" fmla="*/ 2147483647 w 240"/>
                <a:gd name="T11" fmla="*/ 2147483647 h 194"/>
                <a:gd name="T12" fmla="*/ 2147483647 w 240"/>
                <a:gd name="T13" fmla="*/ 2147483647 h 194"/>
                <a:gd name="T14" fmla="*/ 2147483647 w 240"/>
                <a:gd name="T15" fmla="*/ 2147483647 h 194"/>
                <a:gd name="T16" fmla="*/ 2147483647 w 240"/>
                <a:gd name="T17" fmla="*/ 2147483647 h 194"/>
                <a:gd name="T18" fmla="*/ 2147483647 w 240"/>
                <a:gd name="T19" fmla="*/ 2147483647 h 194"/>
                <a:gd name="T20" fmla="*/ 2147483647 w 240"/>
                <a:gd name="T21" fmla="*/ 2147483647 h 194"/>
                <a:gd name="T22" fmla="*/ 2147483647 w 240"/>
                <a:gd name="T23" fmla="*/ 2147483647 h 194"/>
                <a:gd name="T24" fmla="*/ 2147483647 w 240"/>
                <a:gd name="T25" fmla="*/ 2147483647 h 194"/>
                <a:gd name="T26" fmla="*/ 2147483647 w 240"/>
                <a:gd name="T27" fmla="*/ 2147483647 h 194"/>
                <a:gd name="T28" fmla="*/ 2147483647 w 240"/>
                <a:gd name="T29" fmla="*/ 2147483647 h 194"/>
                <a:gd name="T30" fmla="*/ 2147483647 w 240"/>
                <a:gd name="T31" fmla="*/ 2147483647 h 194"/>
                <a:gd name="T32" fmla="*/ 2147483647 w 240"/>
                <a:gd name="T33" fmla="*/ 2147483647 h 194"/>
                <a:gd name="T34" fmla="*/ 2147483647 w 240"/>
                <a:gd name="T35" fmla="*/ 2147483647 h 194"/>
                <a:gd name="T36" fmla="*/ 2147483647 w 240"/>
                <a:gd name="T37" fmla="*/ 2147483647 h 194"/>
                <a:gd name="T38" fmla="*/ 2147483647 w 240"/>
                <a:gd name="T39" fmla="*/ 2147483647 h 194"/>
                <a:gd name="T40" fmla="*/ 2147483647 w 240"/>
                <a:gd name="T41" fmla="*/ 2147483647 h 194"/>
                <a:gd name="T42" fmla="*/ 2147483647 w 240"/>
                <a:gd name="T43" fmla="*/ 2147483647 h 194"/>
                <a:gd name="T44" fmla="*/ 2147483647 w 240"/>
                <a:gd name="T45" fmla="*/ 2147483647 h 194"/>
                <a:gd name="T46" fmla="*/ 2147483647 w 240"/>
                <a:gd name="T47" fmla="*/ 2147483647 h 194"/>
                <a:gd name="T48" fmla="*/ 2147483647 w 240"/>
                <a:gd name="T49" fmla="*/ 2147483647 h 194"/>
                <a:gd name="T50" fmla="*/ 2147483647 w 240"/>
                <a:gd name="T51" fmla="*/ 2147483647 h 194"/>
                <a:gd name="T52" fmla="*/ 0 w 240"/>
                <a:gd name="T53" fmla="*/ 2147483647 h 194"/>
                <a:gd name="T54" fmla="*/ 2147483647 w 240"/>
                <a:gd name="T55" fmla="*/ 2147483647 h 194"/>
                <a:gd name="T56" fmla="*/ 2147483647 w 240"/>
                <a:gd name="T57" fmla="*/ 2147483647 h 194"/>
                <a:gd name="T58" fmla="*/ 2147483647 w 240"/>
                <a:gd name="T59" fmla="*/ 2147483647 h 194"/>
                <a:gd name="T60" fmla="*/ 2147483647 w 240"/>
                <a:gd name="T61" fmla="*/ 2147483647 h 194"/>
                <a:gd name="T62" fmla="*/ 2147483647 w 240"/>
                <a:gd name="T63" fmla="*/ 2147483647 h 194"/>
                <a:gd name="T64" fmla="*/ 2147483647 w 240"/>
                <a:gd name="T65" fmla="*/ 2147483647 h 194"/>
                <a:gd name="T66" fmla="*/ 2147483647 w 240"/>
                <a:gd name="T67" fmla="*/ 2147483647 h 194"/>
                <a:gd name="T68" fmla="*/ 2147483647 w 240"/>
                <a:gd name="T69" fmla="*/ 2147483647 h 194"/>
                <a:gd name="T70" fmla="*/ 2147483647 w 240"/>
                <a:gd name="T71" fmla="*/ 2147483647 h 194"/>
                <a:gd name="T72" fmla="*/ 2147483647 w 240"/>
                <a:gd name="T73" fmla="*/ 2147483647 h 194"/>
                <a:gd name="T74" fmla="*/ 2147483647 w 240"/>
                <a:gd name="T75" fmla="*/ 2147483647 h 194"/>
                <a:gd name="T76" fmla="*/ 2147483647 w 240"/>
                <a:gd name="T77" fmla="*/ 2147483647 h 194"/>
                <a:gd name="T78" fmla="*/ 2147483647 w 240"/>
                <a:gd name="T79" fmla="*/ 2147483647 h 194"/>
                <a:gd name="T80" fmla="*/ 2147483647 w 240"/>
                <a:gd name="T81" fmla="*/ 2147483647 h 194"/>
                <a:gd name="T82" fmla="*/ 2147483647 w 240"/>
                <a:gd name="T83" fmla="*/ 2147483647 h 194"/>
                <a:gd name="T84" fmla="*/ 2147483647 w 240"/>
                <a:gd name="T85" fmla="*/ 2147483647 h 194"/>
                <a:gd name="T86" fmla="*/ 2147483647 w 240"/>
                <a:gd name="T87" fmla="*/ 2147483647 h 194"/>
                <a:gd name="T88" fmla="*/ 2147483647 w 240"/>
                <a:gd name="T89" fmla="*/ 2147483647 h 194"/>
                <a:gd name="T90" fmla="*/ 2147483647 w 240"/>
                <a:gd name="T91" fmla="*/ 2147483647 h 194"/>
                <a:gd name="T92" fmla="*/ 2147483647 w 240"/>
                <a:gd name="T93" fmla="*/ 2147483647 h 194"/>
                <a:gd name="T94" fmla="*/ 2147483647 w 240"/>
                <a:gd name="T95" fmla="*/ 2147483647 h 194"/>
                <a:gd name="T96" fmla="*/ 2147483647 w 240"/>
                <a:gd name="T97" fmla="*/ 2147483647 h 194"/>
                <a:gd name="T98" fmla="*/ 2147483647 w 240"/>
                <a:gd name="T99" fmla="*/ 2147483647 h 194"/>
                <a:gd name="T100" fmla="*/ 2147483647 w 240"/>
                <a:gd name="T101" fmla="*/ 2147483647 h 194"/>
                <a:gd name="T102" fmla="*/ 2147483647 w 240"/>
                <a:gd name="T103" fmla="*/ 2147483647 h 194"/>
                <a:gd name="T104" fmla="*/ 2147483647 w 240"/>
                <a:gd name="T105" fmla="*/ 2147483647 h 194"/>
                <a:gd name="T106" fmla="*/ 2147483647 w 240"/>
                <a:gd name="T107" fmla="*/ 2147483647 h 194"/>
                <a:gd name="T108" fmla="*/ 2147483647 w 240"/>
                <a:gd name="T109" fmla="*/ 2147483647 h 194"/>
                <a:gd name="T110" fmla="*/ 2147483647 w 240"/>
                <a:gd name="T111" fmla="*/ 2147483647 h 194"/>
                <a:gd name="T112" fmla="*/ 2147483647 w 240"/>
                <a:gd name="T113" fmla="*/ 2147483647 h 194"/>
                <a:gd name="T114" fmla="*/ 2147483647 w 240"/>
                <a:gd name="T115" fmla="*/ 2147483647 h 194"/>
                <a:gd name="T116" fmla="*/ 2147483647 w 240"/>
                <a:gd name="T117" fmla="*/ 2147483647 h 194"/>
                <a:gd name="T118" fmla="*/ 2147483647 w 240"/>
                <a:gd name="T119" fmla="*/ 2147483647 h 194"/>
                <a:gd name="T120" fmla="*/ 2147483647 w 240"/>
                <a:gd name="T121" fmla="*/ 2147483647 h 194"/>
                <a:gd name="T122" fmla="*/ 2147483647 w 240"/>
                <a:gd name="T123" fmla="*/ 2147483647 h 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0"/>
                <a:gd name="T187" fmla="*/ 0 h 194"/>
                <a:gd name="T188" fmla="*/ 240 w 240"/>
                <a:gd name="T189" fmla="*/ 194 h 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74" name="Freeform 101">
              <a:extLst>
                <a:ext uri="{FF2B5EF4-FFF2-40B4-BE49-F238E27FC236}">
                  <a16:creationId xmlns:a16="http://schemas.microsoft.com/office/drawing/2014/main" id="{694BACDE-17DF-CF4E-8E6D-5A5559BB3164}"/>
                </a:ext>
              </a:extLst>
            </p:cNvPr>
            <p:cNvSpPr>
              <a:spLocks/>
            </p:cNvSpPr>
            <p:nvPr>
              <p:custDataLst>
                <p:tags r:id="rId67"/>
              </p:custDataLst>
            </p:nvPr>
          </p:nvSpPr>
          <p:spPr bwMode="auto">
            <a:xfrm>
              <a:off x="6067412" y="2533803"/>
              <a:ext cx="238694" cy="140213"/>
            </a:xfrm>
            <a:custGeom>
              <a:avLst/>
              <a:gdLst>
                <a:gd name="T0" fmla="*/ 2147483647 w 382"/>
                <a:gd name="T1" fmla="*/ 2147483647 h 250"/>
                <a:gd name="T2" fmla="*/ 2147483647 w 382"/>
                <a:gd name="T3" fmla="*/ 2147483647 h 250"/>
                <a:gd name="T4" fmla="*/ 2147483647 w 382"/>
                <a:gd name="T5" fmla="*/ 2147483647 h 250"/>
                <a:gd name="T6" fmla="*/ 2147483647 w 382"/>
                <a:gd name="T7" fmla="*/ 2147483647 h 250"/>
                <a:gd name="T8" fmla="*/ 2147483647 w 382"/>
                <a:gd name="T9" fmla="*/ 2147483647 h 250"/>
                <a:gd name="T10" fmla="*/ 2147483647 w 382"/>
                <a:gd name="T11" fmla="*/ 2147483647 h 250"/>
                <a:gd name="T12" fmla="*/ 2147483647 w 382"/>
                <a:gd name="T13" fmla="*/ 2147483647 h 250"/>
                <a:gd name="T14" fmla="*/ 2147483647 w 382"/>
                <a:gd name="T15" fmla="*/ 2147483647 h 250"/>
                <a:gd name="T16" fmla="*/ 2147483647 w 382"/>
                <a:gd name="T17" fmla="*/ 2147483647 h 250"/>
                <a:gd name="T18" fmla="*/ 2147483647 w 382"/>
                <a:gd name="T19" fmla="*/ 2147483647 h 250"/>
                <a:gd name="T20" fmla="*/ 2147483647 w 382"/>
                <a:gd name="T21" fmla="*/ 2147483647 h 250"/>
                <a:gd name="T22" fmla="*/ 2147483647 w 382"/>
                <a:gd name="T23" fmla="*/ 2147483647 h 250"/>
                <a:gd name="T24" fmla="*/ 2147483647 w 382"/>
                <a:gd name="T25" fmla="*/ 2147483647 h 250"/>
                <a:gd name="T26" fmla="*/ 2147483647 w 382"/>
                <a:gd name="T27" fmla="*/ 2147483647 h 250"/>
                <a:gd name="T28" fmla="*/ 2147483647 w 382"/>
                <a:gd name="T29" fmla="*/ 2147483647 h 250"/>
                <a:gd name="T30" fmla="*/ 2147483647 w 382"/>
                <a:gd name="T31" fmla="*/ 2147483647 h 250"/>
                <a:gd name="T32" fmla="*/ 2147483647 w 382"/>
                <a:gd name="T33" fmla="*/ 2147483647 h 250"/>
                <a:gd name="T34" fmla="*/ 2147483647 w 382"/>
                <a:gd name="T35" fmla="*/ 2147483647 h 250"/>
                <a:gd name="T36" fmla="*/ 2147483647 w 382"/>
                <a:gd name="T37" fmla="*/ 2147483647 h 250"/>
                <a:gd name="T38" fmla="*/ 2147483647 w 382"/>
                <a:gd name="T39" fmla="*/ 2147483647 h 250"/>
                <a:gd name="T40" fmla="*/ 2147483647 w 382"/>
                <a:gd name="T41" fmla="*/ 2147483647 h 250"/>
                <a:gd name="T42" fmla="*/ 2147483647 w 382"/>
                <a:gd name="T43" fmla="*/ 2147483647 h 250"/>
                <a:gd name="T44" fmla="*/ 2147483647 w 382"/>
                <a:gd name="T45" fmla="*/ 2147483647 h 250"/>
                <a:gd name="T46" fmla="*/ 2147483647 w 382"/>
                <a:gd name="T47" fmla="*/ 2147483647 h 250"/>
                <a:gd name="T48" fmla="*/ 2147483647 w 382"/>
                <a:gd name="T49" fmla="*/ 0 h 250"/>
                <a:gd name="T50" fmla="*/ 2147483647 w 382"/>
                <a:gd name="T51" fmla="*/ 2147483647 h 250"/>
                <a:gd name="T52" fmla="*/ 2147483647 w 382"/>
                <a:gd name="T53" fmla="*/ 2147483647 h 250"/>
                <a:gd name="T54" fmla="*/ 2147483647 w 382"/>
                <a:gd name="T55" fmla="*/ 2147483647 h 250"/>
                <a:gd name="T56" fmla="*/ 2147483647 w 382"/>
                <a:gd name="T57" fmla="*/ 2147483647 h 250"/>
                <a:gd name="T58" fmla="*/ 2147483647 w 382"/>
                <a:gd name="T59" fmla="*/ 2147483647 h 250"/>
                <a:gd name="T60" fmla="*/ 2147483647 w 382"/>
                <a:gd name="T61" fmla="*/ 2147483647 h 250"/>
                <a:gd name="T62" fmla="*/ 2147483647 w 382"/>
                <a:gd name="T63" fmla="*/ 2147483647 h 250"/>
                <a:gd name="T64" fmla="*/ 2147483647 w 382"/>
                <a:gd name="T65" fmla="*/ 2147483647 h 250"/>
                <a:gd name="T66" fmla="*/ 2147483647 w 382"/>
                <a:gd name="T67" fmla="*/ 2147483647 h 250"/>
                <a:gd name="T68" fmla="*/ 2147483647 w 382"/>
                <a:gd name="T69" fmla="*/ 2147483647 h 250"/>
                <a:gd name="T70" fmla="*/ 2147483647 w 382"/>
                <a:gd name="T71" fmla="*/ 2147483647 h 250"/>
                <a:gd name="T72" fmla="*/ 2147483647 w 382"/>
                <a:gd name="T73" fmla="*/ 2147483647 h 250"/>
                <a:gd name="T74" fmla="*/ 2147483647 w 382"/>
                <a:gd name="T75" fmla="*/ 2147483647 h 250"/>
                <a:gd name="T76" fmla="*/ 2147483647 w 382"/>
                <a:gd name="T77" fmla="*/ 2147483647 h 2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82"/>
                <a:gd name="T118" fmla="*/ 0 h 250"/>
                <a:gd name="T119" fmla="*/ 382 w 382"/>
                <a:gd name="T120" fmla="*/ 250 h 25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75" name="Freeform 102">
              <a:extLst>
                <a:ext uri="{FF2B5EF4-FFF2-40B4-BE49-F238E27FC236}">
                  <a16:creationId xmlns:a16="http://schemas.microsoft.com/office/drawing/2014/main" id="{5EBBE331-40ED-C445-8B4C-CE15D3E332B6}"/>
                </a:ext>
              </a:extLst>
            </p:cNvPr>
            <p:cNvSpPr>
              <a:spLocks/>
            </p:cNvSpPr>
            <p:nvPr>
              <p:custDataLst>
                <p:tags r:id="rId68"/>
              </p:custDataLst>
            </p:nvPr>
          </p:nvSpPr>
          <p:spPr bwMode="auto">
            <a:xfrm>
              <a:off x="6005651" y="2478719"/>
              <a:ext cx="176934" cy="66767"/>
            </a:xfrm>
            <a:custGeom>
              <a:avLst/>
              <a:gdLst>
                <a:gd name="T0" fmla="*/ 2147483647 w 286"/>
                <a:gd name="T1" fmla="*/ 2147483647 h 123"/>
                <a:gd name="T2" fmla="*/ 2147483647 w 286"/>
                <a:gd name="T3" fmla="*/ 2147483647 h 123"/>
                <a:gd name="T4" fmla="*/ 2147483647 w 286"/>
                <a:gd name="T5" fmla="*/ 2147483647 h 123"/>
                <a:gd name="T6" fmla="*/ 2147483647 w 286"/>
                <a:gd name="T7" fmla="*/ 2147483647 h 123"/>
                <a:gd name="T8" fmla="*/ 2147483647 w 286"/>
                <a:gd name="T9" fmla="*/ 2147483647 h 123"/>
                <a:gd name="T10" fmla="*/ 2147483647 w 286"/>
                <a:gd name="T11" fmla="*/ 2147483647 h 123"/>
                <a:gd name="T12" fmla="*/ 2147483647 w 286"/>
                <a:gd name="T13" fmla="*/ 2147483647 h 123"/>
                <a:gd name="T14" fmla="*/ 2147483647 w 286"/>
                <a:gd name="T15" fmla="*/ 2147483647 h 123"/>
                <a:gd name="T16" fmla="*/ 2147483647 w 286"/>
                <a:gd name="T17" fmla="*/ 2147483647 h 123"/>
                <a:gd name="T18" fmla="*/ 2147483647 w 286"/>
                <a:gd name="T19" fmla="*/ 2147483647 h 123"/>
                <a:gd name="T20" fmla="*/ 2147483647 w 286"/>
                <a:gd name="T21" fmla="*/ 2147483647 h 123"/>
                <a:gd name="T22" fmla="*/ 2147483647 w 286"/>
                <a:gd name="T23" fmla="*/ 2147483647 h 123"/>
                <a:gd name="T24" fmla="*/ 2147483647 w 286"/>
                <a:gd name="T25" fmla="*/ 2147483647 h 123"/>
                <a:gd name="T26" fmla="*/ 2147483647 w 286"/>
                <a:gd name="T27" fmla="*/ 2147483647 h 123"/>
                <a:gd name="T28" fmla="*/ 2147483647 w 286"/>
                <a:gd name="T29" fmla="*/ 2147483647 h 123"/>
                <a:gd name="T30" fmla="*/ 2147483647 w 286"/>
                <a:gd name="T31" fmla="*/ 2147483647 h 123"/>
                <a:gd name="T32" fmla="*/ 2147483647 w 286"/>
                <a:gd name="T33" fmla="*/ 2147483647 h 123"/>
                <a:gd name="T34" fmla="*/ 2147483647 w 286"/>
                <a:gd name="T35" fmla="*/ 2147483647 h 123"/>
                <a:gd name="T36" fmla="*/ 2147483647 w 286"/>
                <a:gd name="T37" fmla="*/ 2147483647 h 123"/>
                <a:gd name="T38" fmla="*/ 2147483647 w 286"/>
                <a:gd name="T39" fmla="*/ 2147483647 h 123"/>
                <a:gd name="T40" fmla="*/ 2147483647 w 286"/>
                <a:gd name="T41" fmla="*/ 2147483647 h 123"/>
                <a:gd name="T42" fmla="*/ 2147483647 w 286"/>
                <a:gd name="T43" fmla="*/ 2147483647 h 123"/>
                <a:gd name="T44" fmla="*/ 2147483647 w 286"/>
                <a:gd name="T45" fmla="*/ 2147483647 h 123"/>
                <a:gd name="T46" fmla="*/ 2147483647 w 286"/>
                <a:gd name="T47" fmla="*/ 2147483647 h 123"/>
                <a:gd name="T48" fmla="*/ 2147483647 w 286"/>
                <a:gd name="T49" fmla="*/ 2147483647 h 123"/>
                <a:gd name="T50" fmla="*/ 2147483647 w 286"/>
                <a:gd name="T51" fmla="*/ 2147483647 h 123"/>
                <a:gd name="T52" fmla="*/ 2147483647 w 286"/>
                <a:gd name="T53" fmla="*/ 2147483647 h 123"/>
                <a:gd name="T54" fmla="*/ 2147483647 w 286"/>
                <a:gd name="T55" fmla="*/ 2147483647 h 123"/>
                <a:gd name="T56" fmla="*/ 2147483647 w 286"/>
                <a:gd name="T57" fmla="*/ 2147483647 h 123"/>
                <a:gd name="T58" fmla="*/ 2147483647 w 286"/>
                <a:gd name="T59" fmla="*/ 2147483647 h 123"/>
                <a:gd name="T60" fmla="*/ 2147483647 w 286"/>
                <a:gd name="T61" fmla="*/ 2147483647 h 123"/>
                <a:gd name="T62" fmla="*/ 2147483647 w 286"/>
                <a:gd name="T63" fmla="*/ 2147483647 h 123"/>
                <a:gd name="T64" fmla="*/ 2147483647 w 286"/>
                <a:gd name="T65" fmla="*/ 2147483647 h 123"/>
                <a:gd name="T66" fmla="*/ 2147483647 w 286"/>
                <a:gd name="T67" fmla="*/ 2147483647 h 123"/>
                <a:gd name="T68" fmla="*/ 2147483647 w 286"/>
                <a:gd name="T69" fmla="*/ 2147483647 h 123"/>
                <a:gd name="T70" fmla="*/ 2147483647 w 286"/>
                <a:gd name="T71" fmla="*/ 2147483647 h 123"/>
                <a:gd name="T72" fmla="*/ 2147483647 w 286"/>
                <a:gd name="T73" fmla="*/ 2147483647 h 123"/>
                <a:gd name="T74" fmla="*/ 2147483647 w 286"/>
                <a:gd name="T75" fmla="*/ 2147483647 h 123"/>
                <a:gd name="T76" fmla="*/ 2147483647 w 286"/>
                <a:gd name="T77" fmla="*/ 2147483647 h 123"/>
                <a:gd name="T78" fmla="*/ 2147483647 w 286"/>
                <a:gd name="T79" fmla="*/ 2147483647 h 123"/>
                <a:gd name="T80" fmla="*/ 2147483647 w 286"/>
                <a:gd name="T81" fmla="*/ 2147483647 h 123"/>
                <a:gd name="T82" fmla="*/ 0 w 286"/>
                <a:gd name="T83" fmla="*/ 2147483647 h 123"/>
                <a:gd name="T84" fmla="*/ 2147483647 w 286"/>
                <a:gd name="T85" fmla="*/ 2147483647 h 123"/>
                <a:gd name="T86" fmla="*/ 2147483647 w 286"/>
                <a:gd name="T87" fmla="*/ 2147483647 h 1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86"/>
                <a:gd name="T133" fmla="*/ 0 h 123"/>
                <a:gd name="T134" fmla="*/ 286 w 286"/>
                <a:gd name="T135" fmla="*/ 123 h 1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76" name="Freeform 103">
              <a:extLst>
                <a:ext uri="{FF2B5EF4-FFF2-40B4-BE49-F238E27FC236}">
                  <a16:creationId xmlns:a16="http://schemas.microsoft.com/office/drawing/2014/main" id="{CB9DEC53-20F2-2547-85AB-5C8D4CC24DAD}"/>
                </a:ext>
              </a:extLst>
            </p:cNvPr>
            <p:cNvSpPr>
              <a:spLocks/>
            </p:cNvSpPr>
            <p:nvPr>
              <p:custDataLst>
                <p:tags r:id="rId69"/>
              </p:custDataLst>
            </p:nvPr>
          </p:nvSpPr>
          <p:spPr bwMode="auto">
            <a:xfrm>
              <a:off x="5970598" y="2159903"/>
              <a:ext cx="260394" cy="270409"/>
            </a:xfrm>
            <a:custGeom>
              <a:avLst/>
              <a:gdLst>
                <a:gd name="T0" fmla="*/ 2147483647 w 422"/>
                <a:gd name="T1" fmla="*/ 2147483647 h 480"/>
                <a:gd name="T2" fmla="*/ 2147483647 w 422"/>
                <a:gd name="T3" fmla="*/ 2147483647 h 480"/>
                <a:gd name="T4" fmla="*/ 2147483647 w 422"/>
                <a:gd name="T5" fmla="*/ 2147483647 h 480"/>
                <a:gd name="T6" fmla="*/ 2147483647 w 422"/>
                <a:gd name="T7" fmla="*/ 2147483647 h 480"/>
                <a:gd name="T8" fmla="*/ 2147483647 w 422"/>
                <a:gd name="T9" fmla="*/ 2147483647 h 480"/>
                <a:gd name="T10" fmla="*/ 2147483647 w 422"/>
                <a:gd name="T11" fmla="*/ 2147483647 h 480"/>
                <a:gd name="T12" fmla="*/ 2147483647 w 422"/>
                <a:gd name="T13" fmla="*/ 2147483647 h 480"/>
                <a:gd name="T14" fmla="*/ 2147483647 w 422"/>
                <a:gd name="T15" fmla="*/ 2147483647 h 480"/>
                <a:gd name="T16" fmla="*/ 2147483647 w 422"/>
                <a:gd name="T17" fmla="*/ 2147483647 h 480"/>
                <a:gd name="T18" fmla="*/ 2147483647 w 422"/>
                <a:gd name="T19" fmla="*/ 2147483647 h 480"/>
                <a:gd name="T20" fmla="*/ 2147483647 w 422"/>
                <a:gd name="T21" fmla="*/ 2147483647 h 480"/>
                <a:gd name="T22" fmla="*/ 2147483647 w 422"/>
                <a:gd name="T23" fmla="*/ 2147483647 h 480"/>
                <a:gd name="T24" fmla="*/ 2147483647 w 422"/>
                <a:gd name="T25" fmla="*/ 2147483647 h 480"/>
                <a:gd name="T26" fmla="*/ 2147483647 w 422"/>
                <a:gd name="T27" fmla="*/ 2147483647 h 480"/>
                <a:gd name="T28" fmla="*/ 2147483647 w 422"/>
                <a:gd name="T29" fmla="*/ 2147483647 h 480"/>
                <a:gd name="T30" fmla="*/ 2147483647 w 422"/>
                <a:gd name="T31" fmla="*/ 2147483647 h 480"/>
                <a:gd name="T32" fmla="*/ 2147483647 w 422"/>
                <a:gd name="T33" fmla="*/ 2147483647 h 480"/>
                <a:gd name="T34" fmla="*/ 2147483647 w 422"/>
                <a:gd name="T35" fmla="*/ 2147483647 h 480"/>
                <a:gd name="T36" fmla="*/ 2147483647 w 422"/>
                <a:gd name="T37" fmla="*/ 2147483647 h 480"/>
                <a:gd name="T38" fmla="*/ 2147483647 w 422"/>
                <a:gd name="T39" fmla="*/ 2147483647 h 480"/>
                <a:gd name="T40" fmla="*/ 2147483647 w 422"/>
                <a:gd name="T41" fmla="*/ 2147483647 h 480"/>
                <a:gd name="T42" fmla="*/ 2147483647 w 422"/>
                <a:gd name="T43" fmla="*/ 2147483647 h 480"/>
                <a:gd name="T44" fmla="*/ 2147483647 w 422"/>
                <a:gd name="T45" fmla="*/ 2147483647 h 480"/>
                <a:gd name="T46" fmla="*/ 2147483647 w 422"/>
                <a:gd name="T47" fmla="*/ 2147483647 h 480"/>
                <a:gd name="T48" fmla="*/ 2147483647 w 422"/>
                <a:gd name="T49" fmla="*/ 2147483647 h 480"/>
                <a:gd name="T50" fmla="*/ 2147483647 w 422"/>
                <a:gd name="T51" fmla="*/ 2147483647 h 480"/>
                <a:gd name="T52" fmla="*/ 2147483647 w 422"/>
                <a:gd name="T53" fmla="*/ 2147483647 h 480"/>
                <a:gd name="T54" fmla="*/ 2147483647 w 422"/>
                <a:gd name="T55" fmla="*/ 2147483647 h 480"/>
                <a:gd name="T56" fmla="*/ 2147483647 w 422"/>
                <a:gd name="T57" fmla="*/ 2147483647 h 480"/>
                <a:gd name="T58" fmla="*/ 2147483647 w 422"/>
                <a:gd name="T59" fmla="*/ 2147483647 h 480"/>
                <a:gd name="T60" fmla="*/ 2147483647 w 422"/>
                <a:gd name="T61" fmla="*/ 2147483647 h 480"/>
                <a:gd name="T62" fmla="*/ 2147483647 w 422"/>
                <a:gd name="T63" fmla="*/ 2147483647 h 480"/>
                <a:gd name="T64" fmla="*/ 2147483647 w 422"/>
                <a:gd name="T65" fmla="*/ 2147483647 h 480"/>
                <a:gd name="T66" fmla="*/ 2147483647 w 422"/>
                <a:gd name="T67" fmla="*/ 2147483647 h 480"/>
                <a:gd name="T68" fmla="*/ 2147483647 w 422"/>
                <a:gd name="T69" fmla="*/ 2147483647 h 480"/>
                <a:gd name="T70" fmla="*/ 2147483647 w 422"/>
                <a:gd name="T71" fmla="*/ 2147483647 h 480"/>
                <a:gd name="T72" fmla="*/ 2147483647 w 422"/>
                <a:gd name="T73" fmla="*/ 2147483647 h 480"/>
                <a:gd name="T74" fmla="*/ 2147483647 w 422"/>
                <a:gd name="T75" fmla="*/ 2147483647 h 480"/>
                <a:gd name="T76" fmla="*/ 2147483647 w 422"/>
                <a:gd name="T77" fmla="*/ 2147483647 h 480"/>
                <a:gd name="T78" fmla="*/ 2147483647 w 422"/>
                <a:gd name="T79" fmla="*/ 2147483647 h 480"/>
                <a:gd name="T80" fmla="*/ 2147483647 w 422"/>
                <a:gd name="T81" fmla="*/ 2147483647 h 480"/>
                <a:gd name="T82" fmla="*/ 2147483647 w 422"/>
                <a:gd name="T83" fmla="*/ 2147483647 h 480"/>
                <a:gd name="T84" fmla="*/ 2147483647 w 422"/>
                <a:gd name="T85" fmla="*/ 2147483647 h 480"/>
                <a:gd name="T86" fmla="*/ 2147483647 w 422"/>
                <a:gd name="T87" fmla="*/ 2147483647 h 4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2"/>
                <a:gd name="T133" fmla="*/ 0 h 480"/>
                <a:gd name="T134" fmla="*/ 422 w 422"/>
                <a:gd name="T135" fmla="*/ 480 h 4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77" name="Freeform 104">
              <a:extLst>
                <a:ext uri="{FF2B5EF4-FFF2-40B4-BE49-F238E27FC236}">
                  <a16:creationId xmlns:a16="http://schemas.microsoft.com/office/drawing/2014/main" id="{D36785F0-7BD8-194D-A4EA-612754A4820A}"/>
                </a:ext>
              </a:extLst>
            </p:cNvPr>
            <p:cNvSpPr>
              <a:spLocks/>
            </p:cNvSpPr>
            <p:nvPr>
              <p:custDataLst>
                <p:tags r:id="rId70"/>
              </p:custDataLst>
            </p:nvPr>
          </p:nvSpPr>
          <p:spPr bwMode="auto">
            <a:xfrm>
              <a:off x="6436303" y="3231524"/>
              <a:ext cx="21700" cy="40061"/>
            </a:xfrm>
            <a:custGeom>
              <a:avLst/>
              <a:gdLst>
                <a:gd name="T0" fmla="*/ 2147483647 w 32"/>
                <a:gd name="T1" fmla="*/ 2147483647 h 70"/>
                <a:gd name="T2" fmla="*/ 2147483647 w 32"/>
                <a:gd name="T3" fmla="*/ 2147483647 h 70"/>
                <a:gd name="T4" fmla="*/ 2147483647 w 32"/>
                <a:gd name="T5" fmla="*/ 2147483647 h 70"/>
                <a:gd name="T6" fmla="*/ 2147483647 w 32"/>
                <a:gd name="T7" fmla="*/ 2147483647 h 70"/>
                <a:gd name="T8" fmla="*/ 2147483647 w 32"/>
                <a:gd name="T9" fmla="*/ 2147483647 h 70"/>
                <a:gd name="T10" fmla="*/ 2147483647 w 32"/>
                <a:gd name="T11" fmla="*/ 2147483647 h 70"/>
                <a:gd name="T12" fmla="*/ 2147483647 w 32"/>
                <a:gd name="T13" fmla="*/ 2147483647 h 70"/>
                <a:gd name="T14" fmla="*/ 2147483647 w 32"/>
                <a:gd name="T15" fmla="*/ 2147483647 h 70"/>
                <a:gd name="T16" fmla="*/ 2147483647 w 32"/>
                <a:gd name="T17" fmla="*/ 2147483647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70"/>
                <a:gd name="T29" fmla="*/ 32 w 3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78" name="Freeform 105">
              <a:extLst>
                <a:ext uri="{FF2B5EF4-FFF2-40B4-BE49-F238E27FC236}">
                  <a16:creationId xmlns:a16="http://schemas.microsoft.com/office/drawing/2014/main" id="{1BA5892C-2EE8-B34F-9886-255F084C0718}"/>
                </a:ext>
              </a:extLst>
            </p:cNvPr>
            <p:cNvSpPr>
              <a:spLocks/>
            </p:cNvSpPr>
            <p:nvPr>
              <p:custDataLst>
                <p:tags r:id="rId71"/>
              </p:custDataLst>
            </p:nvPr>
          </p:nvSpPr>
          <p:spPr bwMode="auto">
            <a:xfrm>
              <a:off x="6446317" y="3206485"/>
              <a:ext cx="115174" cy="130196"/>
            </a:xfrm>
            <a:custGeom>
              <a:avLst/>
              <a:gdLst>
                <a:gd name="T0" fmla="*/ 2147483647 w 186"/>
                <a:gd name="T1" fmla="*/ 2147483647 h 236"/>
                <a:gd name="T2" fmla="*/ 2147483647 w 186"/>
                <a:gd name="T3" fmla="*/ 2147483647 h 236"/>
                <a:gd name="T4" fmla="*/ 2147483647 w 186"/>
                <a:gd name="T5" fmla="*/ 0 h 236"/>
                <a:gd name="T6" fmla="*/ 2147483647 w 186"/>
                <a:gd name="T7" fmla="*/ 2147483647 h 236"/>
                <a:gd name="T8" fmla="*/ 2147483647 w 186"/>
                <a:gd name="T9" fmla="*/ 2147483647 h 236"/>
                <a:gd name="T10" fmla="*/ 2147483647 w 186"/>
                <a:gd name="T11" fmla="*/ 2147483647 h 236"/>
                <a:gd name="T12" fmla="*/ 2147483647 w 186"/>
                <a:gd name="T13" fmla="*/ 2147483647 h 236"/>
                <a:gd name="T14" fmla="*/ 2147483647 w 186"/>
                <a:gd name="T15" fmla="*/ 2147483647 h 236"/>
                <a:gd name="T16" fmla="*/ 2147483647 w 186"/>
                <a:gd name="T17" fmla="*/ 2147483647 h 236"/>
                <a:gd name="T18" fmla="*/ 2147483647 w 186"/>
                <a:gd name="T19" fmla="*/ 2147483647 h 236"/>
                <a:gd name="T20" fmla="*/ 2147483647 w 186"/>
                <a:gd name="T21" fmla="*/ 2147483647 h 236"/>
                <a:gd name="T22" fmla="*/ 2147483647 w 186"/>
                <a:gd name="T23" fmla="*/ 2147483647 h 236"/>
                <a:gd name="T24" fmla="*/ 2147483647 w 186"/>
                <a:gd name="T25" fmla="*/ 2147483647 h 236"/>
                <a:gd name="T26" fmla="*/ 0 w 186"/>
                <a:gd name="T27" fmla="*/ 2147483647 h 236"/>
                <a:gd name="T28" fmla="*/ 2147483647 w 186"/>
                <a:gd name="T29" fmla="*/ 2147483647 h 236"/>
                <a:gd name="T30" fmla="*/ 2147483647 w 186"/>
                <a:gd name="T31" fmla="*/ 2147483647 h 236"/>
                <a:gd name="T32" fmla="*/ 2147483647 w 186"/>
                <a:gd name="T33" fmla="*/ 2147483647 h 236"/>
                <a:gd name="T34" fmla="*/ 2147483647 w 186"/>
                <a:gd name="T35" fmla="*/ 2147483647 h 236"/>
                <a:gd name="T36" fmla="*/ 2147483647 w 186"/>
                <a:gd name="T37" fmla="*/ 2147483647 h 236"/>
                <a:gd name="T38" fmla="*/ 2147483647 w 186"/>
                <a:gd name="T39" fmla="*/ 2147483647 h 236"/>
                <a:gd name="T40" fmla="*/ 2147483647 w 186"/>
                <a:gd name="T41" fmla="*/ 2147483647 h 236"/>
                <a:gd name="T42" fmla="*/ 2147483647 w 186"/>
                <a:gd name="T43" fmla="*/ 2147483647 h 236"/>
                <a:gd name="T44" fmla="*/ 2147483647 w 186"/>
                <a:gd name="T45" fmla="*/ 2147483647 h 236"/>
                <a:gd name="T46" fmla="*/ 2147483647 w 186"/>
                <a:gd name="T47" fmla="*/ 2147483647 h 236"/>
                <a:gd name="T48" fmla="*/ 2147483647 w 186"/>
                <a:gd name="T49" fmla="*/ 2147483647 h 236"/>
                <a:gd name="T50" fmla="*/ 2147483647 w 186"/>
                <a:gd name="T51" fmla="*/ 2147483647 h 236"/>
                <a:gd name="T52" fmla="*/ 2147483647 w 186"/>
                <a:gd name="T53" fmla="*/ 2147483647 h 236"/>
                <a:gd name="T54" fmla="*/ 2147483647 w 186"/>
                <a:gd name="T55" fmla="*/ 2147483647 h 236"/>
                <a:gd name="T56" fmla="*/ 2147483647 w 186"/>
                <a:gd name="T57" fmla="*/ 2147483647 h 2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6"/>
                <a:gd name="T88" fmla="*/ 0 h 236"/>
                <a:gd name="T89" fmla="*/ 186 w 186"/>
                <a:gd name="T90" fmla="*/ 236 h 2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79" name="Freeform 106">
              <a:extLst>
                <a:ext uri="{FF2B5EF4-FFF2-40B4-BE49-F238E27FC236}">
                  <a16:creationId xmlns:a16="http://schemas.microsoft.com/office/drawing/2014/main" id="{49F44EA0-E409-7649-A477-21EFEAA8EE5D}"/>
                </a:ext>
              </a:extLst>
            </p:cNvPr>
            <p:cNvSpPr>
              <a:spLocks/>
            </p:cNvSpPr>
            <p:nvPr>
              <p:custDataLst>
                <p:tags r:id="rId72"/>
              </p:custDataLst>
            </p:nvPr>
          </p:nvSpPr>
          <p:spPr bwMode="auto">
            <a:xfrm>
              <a:off x="6419611" y="3203147"/>
              <a:ext cx="41730" cy="121851"/>
            </a:xfrm>
            <a:custGeom>
              <a:avLst/>
              <a:gdLst>
                <a:gd name="T0" fmla="*/ 0 w 67"/>
                <a:gd name="T1" fmla="*/ 2147483647 h 216"/>
                <a:gd name="T2" fmla="*/ 2147483647 w 67"/>
                <a:gd name="T3" fmla="*/ 2147483647 h 216"/>
                <a:gd name="T4" fmla="*/ 2147483647 w 67"/>
                <a:gd name="T5" fmla="*/ 2147483647 h 216"/>
                <a:gd name="T6" fmla="*/ 2147483647 w 67"/>
                <a:gd name="T7" fmla="*/ 2147483647 h 216"/>
                <a:gd name="T8" fmla="*/ 2147483647 w 67"/>
                <a:gd name="T9" fmla="*/ 2147483647 h 216"/>
                <a:gd name="T10" fmla="*/ 2147483647 w 67"/>
                <a:gd name="T11" fmla="*/ 2147483647 h 216"/>
                <a:gd name="T12" fmla="*/ 2147483647 w 67"/>
                <a:gd name="T13" fmla="*/ 2147483647 h 216"/>
                <a:gd name="T14" fmla="*/ 2147483647 w 67"/>
                <a:gd name="T15" fmla="*/ 2147483647 h 216"/>
                <a:gd name="T16" fmla="*/ 2147483647 w 67"/>
                <a:gd name="T17" fmla="*/ 2147483647 h 216"/>
                <a:gd name="T18" fmla="*/ 2147483647 w 67"/>
                <a:gd name="T19" fmla="*/ 2147483647 h 216"/>
                <a:gd name="T20" fmla="*/ 2147483647 w 67"/>
                <a:gd name="T21" fmla="*/ 2147483647 h 216"/>
                <a:gd name="T22" fmla="*/ 2147483647 w 67"/>
                <a:gd name="T23" fmla="*/ 2147483647 h 216"/>
                <a:gd name="T24" fmla="*/ 2147483647 w 67"/>
                <a:gd name="T25" fmla="*/ 2147483647 h 216"/>
                <a:gd name="T26" fmla="*/ 2147483647 w 67"/>
                <a:gd name="T27" fmla="*/ 2147483647 h 216"/>
                <a:gd name="T28" fmla="*/ 2147483647 w 67"/>
                <a:gd name="T29" fmla="*/ 2147483647 h 216"/>
                <a:gd name="T30" fmla="*/ 2147483647 w 67"/>
                <a:gd name="T31" fmla="*/ 2147483647 h 216"/>
                <a:gd name="T32" fmla="*/ 2147483647 w 67"/>
                <a:gd name="T33" fmla="*/ 2147483647 h 216"/>
                <a:gd name="T34" fmla="*/ 2147483647 w 67"/>
                <a:gd name="T35" fmla="*/ 0 h 216"/>
                <a:gd name="T36" fmla="*/ 2147483647 w 67"/>
                <a:gd name="T37" fmla="*/ 2147483647 h 216"/>
                <a:gd name="T38" fmla="*/ 2147483647 w 67"/>
                <a:gd name="T39" fmla="*/ 2147483647 h 216"/>
                <a:gd name="T40" fmla="*/ 2147483647 w 67"/>
                <a:gd name="T41" fmla="*/ 2147483647 h 216"/>
                <a:gd name="T42" fmla="*/ 2147483647 w 67"/>
                <a:gd name="T43" fmla="*/ 2147483647 h 216"/>
                <a:gd name="T44" fmla="*/ 2147483647 w 67"/>
                <a:gd name="T45" fmla="*/ 2147483647 h 216"/>
                <a:gd name="T46" fmla="*/ 2147483647 w 67"/>
                <a:gd name="T47" fmla="*/ 2147483647 h 216"/>
                <a:gd name="T48" fmla="*/ 2147483647 w 67"/>
                <a:gd name="T49" fmla="*/ 2147483647 h 216"/>
                <a:gd name="T50" fmla="*/ 2147483647 w 67"/>
                <a:gd name="T51" fmla="*/ 2147483647 h 216"/>
                <a:gd name="T52" fmla="*/ 0 w 67"/>
                <a:gd name="T53" fmla="*/ 2147483647 h 21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7"/>
                <a:gd name="T82" fmla="*/ 0 h 216"/>
                <a:gd name="T83" fmla="*/ 67 w 67"/>
                <a:gd name="T84" fmla="*/ 216 h 21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80" name="Freeform 107">
              <a:extLst>
                <a:ext uri="{FF2B5EF4-FFF2-40B4-BE49-F238E27FC236}">
                  <a16:creationId xmlns:a16="http://schemas.microsoft.com/office/drawing/2014/main" id="{950535CA-DBB1-7D4D-AC28-DB879847572D}"/>
                </a:ext>
              </a:extLst>
            </p:cNvPr>
            <p:cNvSpPr>
              <a:spLocks/>
            </p:cNvSpPr>
            <p:nvPr>
              <p:custDataLst>
                <p:tags r:id="rId73"/>
              </p:custDataLst>
            </p:nvPr>
          </p:nvSpPr>
          <p:spPr bwMode="auto">
            <a:xfrm>
              <a:off x="4962407" y="3378413"/>
              <a:ext cx="248709" cy="191956"/>
            </a:xfrm>
            <a:custGeom>
              <a:avLst/>
              <a:gdLst>
                <a:gd name="T0" fmla="*/ 2147483647 w 401"/>
                <a:gd name="T1" fmla="*/ 0 h 343"/>
                <a:gd name="T2" fmla="*/ 2147483647 w 401"/>
                <a:gd name="T3" fmla="*/ 0 h 343"/>
                <a:gd name="T4" fmla="*/ 2147483647 w 401"/>
                <a:gd name="T5" fmla="*/ 2147483647 h 343"/>
                <a:gd name="T6" fmla="*/ 2147483647 w 401"/>
                <a:gd name="T7" fmla="*/ 2147483647 h 343"/>
                <a:gd name="T8" fmla="*/ 2147483647 w 401"/>
                <a:gd name="T9" fmla="*/ 2147483647 h 343"/>
                <a:gd name="T10" fmla="*/ 2147483647 w 401"/>
                <a:gd name="T11" fmla="*/ 2147483647 h 343"/>
                <a:gd name="T12" fmla="*/ 2147483647 w 401"/>
                <a:gd name="T13" fmla="*/ 2147483647 h 343"/>
                <a:gd name="T14" fmla="*/ 2147483647 w 401"/>
                <a:gd name="T15" fmla="*/ 2147483647 h 343"/>
                <a:gd name="T16" fmla="*/ 2147483647 w 401"/>
                <a:gd name="T17" fmla="*/ 2147483647 h 343"/>
                <a:gd name="T18" fmla="*/ 2147483647 w 401"/>
                <a:gd name="T19" fmla="*/ 2147483647 h 343"/>
                <a:gd name="T20" fmla="*/ 2147483647 w 401"/>
                <a:gd name="T21" fmla="*/ 2147483647 h 343"/>
                <a:gd name="T22" fmla="*/ 2147483647 w 401"/>
                <a:gd name="T23" fmla="*/ 2147483647 h 343"/>
                <a:gd name="T24" fmla="*/ 2147483647 w 401"/>
                <a:gd name="T25" fmla="*/ 2147483647 h 343"/>
                <a:gd name="T26" fmla="*/ 2147483647 w 401"/>
                <a:gd name="T27" fmla="*/ 2147483647 h 343"/>
                <a:gd name="T28" fmla="*/ 2147483647 w 401"/>
                <a:gd name="T29" fmla="*/ 2147483647 h 343"/>
                <a:gd name="T30" fmla="*/ 2147483647 w 401"/>
                <a:gd name="T31" fmla="*/ 2147483647 h 343"/>
                <a:gd name="T32" fmla="*/ 2147483647 w 401"/>
                <a:gd name="T33" fmla="*/ 2147483647 h 343"/>
                <a:gd name="T34" fmla="*/ 2147483647 w 401"/>
                <a:gd name="T35" fmla="*/ 2147483647 h 343"/>
                <a:gd name="T36" fmla="*/ 2147483647 w 401"/>
                <a:gd name="T37" fmla="*/ 2147483647 h 343"/>
                <a:gd name="T38" fmla="*/ 2147483647 w 401"/>
                <a:gd name="T39" fmla="*/ 2147483647 h 343"/>
                <a:gd name="T40" fmla="*/ 2147483647 w 401"/>
                <a:gd name="T41" fmla="*/ 2147483647 h 343"/>
                <a:gd name="T42" fmla="*/ 0 w 401"/>
                <a:gd name="T43" fmla="*/ 2147483647 h 343"/>
                <a:gd name="T44" fmla="*/ 2147483647 w 401"/>
                <a:gd name="T45" fmla="*/ 2147483647 h 343"/>
                <a:gd name="T46" fmla="*/ 2147483647 w 401"/>
                <a:gd name="T47" fmla="*/ 2147483647 h 343"/>
                <a:gd name="T48" fmla="*/ 2147483647 w 401"/>
                <a:gd name="T49" fmla="*/ 2147483647 h 343"/>
                <a:gd name="T50" fmla="*/ 2147483647 w 401"/>
                <a:gd name="T51" fmla="*/ 2147483647 h 343"/>
                <a:gd name="T52" fmla="*/ 2147483647 w 401"/>
                <a:gd name="T53" fmla="*/ 2147483647 h 343"/>
                <a:gd name="T54" fmla="*/ 2147483647 w 401"/>
                <a:gd name="T55" fmla="*/ 2147483647 h 343"/>
                <a:gd name="T56" fmla="*/ 2147483647 w 401"/>
                <a:gd name="T57" fmla="*/ 2147483647 h 343"/>
                <a:gd name="T58" fmla="*/ 2147483647 w 401"/>
                <a:gd name="T59" fmla="*/ 2147483647 h 343"/>
                <a:gd name="T60" fmla="*/ 2147483647 w 401"/>
                <a:gd name="T61" fmla="*/ 2147483647 h 343"/>
                <a:gd name="T62" fmla="*/ 2147483647 w 401"/>
                <a:gd name="T63" fmla="*/ 2147483647 h 343"/>
                <a:gd name="T64" fmla="*/ 2147483647 w 401"/>
                <a:gd name="T65" fmla="*/ 2147483647 h 343"/>
                <a:gd name="T66" fmla="*/ 2147483647 w 401"/>
                <a:gd name="T67" fmla="*/ 2147483647 h 343"/>
                <a:gd name="T68" fmla="*/ 2147483647 w 401"/>
                <a:gd name="T69" fmla="*/ 0 h 3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1"/>
                <a:gd name="T106" fmla="*/ 0 h 343"/>
                <a:gd name="T107" fmla="*/ 401 w 401"/>
                <a:gd name="T108" fmla="*/ 343 h 3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81" name="Freeform 108">
              <a:extLst>
                <a:ext uri="{FF2B5EF4-FFF2-40B4-BE49-F238E27FC236}">
                  <a16:creationId xmlns:a16="http://schemas.microsoft.com/office/drawing/2014/main" id="{0B7BFD6B-31FF-C341-826B-659EFED13D28}"/>
                </a:ext>
              </a:extLst>
            </p:cNvPr>
            <p:cNvSpPr>
              <a:spLocks/>
            </p:cNvSpPr>
            <p:nvPr>
              <p:custDataLst>
                <p:tags r:id="rId74"/>
              </p:custDataLst>
            </p:nvPr>
          </p:nvSpPr>
          <p:spPr bwMode="auto">
            <a:xfrm>
              <a:off x="4970753" y="3827424"/>
              <a:ext cx="76783" cy="58422"/>
            </a:xfrm>
            <a:custGeom>
              <a:avLst/>
              <a:gdLst>
                <a:gd name="T0" fmla="*/ 2147483647 w 125"/>
                <a:gd name="T1" fmla="*/ 2147483647 h 103"/>
                <a:gd name="T2" fmla="*/ 2147483647 w 125"/>
                <a:gd name="T3" fmla="*/ 2147483647 h 103"/>
                <a:gd name="T4" fmla="*/ 2147483647 w 125"/>
                <a:gd name="T5" fmla="*/ 2147483647 h 103"/>
                <a:gd name="T6" fmla="*/ 2147483647 w 125"/>
                <a:gd name="T7" fmla="*/ 2147483647 h 103"/>
                <a:gd name="T8" fmla="*/ 2147483647 w 125"/>
                <a:gd name="T9" fmla="*/ 2147483647 h 103"/>
                <a:gd name="T10" fmla="*/ 2147483647 w 125"/>
                <a:gd name="T11" fmla="*/ 2147483647 h 103"/>
                <a:gd name="T12" fmla="*/ 2147483647 w 125"/>
                <a:gd name="T13" fmla="*/ 0 h 103"/>
                <a:gd name="T14" fmla="*/ 2147483647 w 125"/>
                <a:gd name="T15" fmla="*/ 2147483647 h 103"/>
                <a:gd name="T16" fmla="*/ 2147483647 w 125"/>
                <a:gd name="T17" fmla="*/ 2147483647 h 103"/>
                <a:gd name="T18" fmla="*/ 2147483647 w 125"/>
                <a:gd name="T19" fmla="*/ 2147483647 h 103"/>
                <a:gd name="T20" fmla="*/ 0 w 125"/>
                <a:gd name="T21" fmla="*/ 2147483647 h 103"/>
                <a:gd name="T22" fmla="*/ 2147483647 w 125"/>
                <a:gd name="T23" fmla="*/ 2147483647 h 103"/>
                <a:gd name="T24" fmla="*/ 2147483647 w 125"/>
                <a:gd name="T25" fmla="*/ 2147483647 h 103"/>
                <a:gd name="T26" fmla="*/ 2147483647 w 125"/>
                <a:gd name="T27" fmla="*/ 2147483647 h 103"/>
                <a:gd name="T28" fmla="*/ 2147483647 w 125"/>
                <a:gd name="T29" fmla="*/ 2147483647 h 103"/>
                <a:gd name="T30" fmla="*/ 2147483647 w 125"/>
                <a:gd name="T31" fmla="*/ 2147483647 h 103"/>
                <a:gd name="T32" fmla="*/ 2147483647 w 125"/>
                <a:gd name="T33" fmla="*/ 2147483647 h 103"/>
                <a:gd name="T34" fmla="*/ 2147483647 w 125"/>
                <a:gd name="T35" fmla="*/ 2147483647 h 103"/>
                <a:gd name="T36" fmla="*/ 2147483647 w 125"/>
                <a:gd name="T37" fmla="*/ 2147483647 h 103"/>
                <a:gd name="T38" fmla="*/ 2147483647 w 125"/>
                <a:gd name="T39" fmla="*/ 2147483647 h 103"/>
                <a:gd name="T40" fmla="*/ 2147483647 w 125"/>
                <a:gd name="T41" fmla="*/ 2147483647 h 103"/>
                <a:gd name="T42" fmla="*/ 2147483647 w 125"/>
                <a:gd name="T43" fmla="*/ 2147483647 h 103"/>
                <a:gd name="T44" fmla="*/ 2147483647 w 125"/>
                <a:gd name="T45" fmla="*/ 2147483647 h 1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5"/>
                <a:gd name="T70" fmla="*/ 0 h 103"/>
                <a:gd name="T71" fmla="*/ 125 w 125"/>
                <a:gd name="T72" fmla="*/ 103 h 1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82" name="Freeform 109">
              <a:extLst>
                <a:ext uri="{FF2B5EF4-FFF2-40B4-BE49-F238E27FC236}">
                  <a16:creationId xmlns:a16="http://schemas.microsoft.com/office/drawing/2014/main" id="{B60D9D18-7BF3-FD4D-8E24-142857FC87A3}"/>
                </a:ext>
              </a:extLst>
            </p:cNvPr>
            <p:cNvSpPr>
              <a:spLocks/>
            </p:cNvSpPr>
            <p:nvPr>
              <p:custDataLst>
                <p:tags r:id="rId75"/>
              </p:custDataLst>
            </p:nvPr>
          </p:nvSpPr>
          <p:spPr bwMode="auto">
            <a:xfrm>
              <a:off x="4960737" y="3794041"/>
              <a:ext cx="91806" cy="21700"/>
            </a:xfrm>
            <a:custGeom>
              <a:avLst/>
              <a:gdLst>
                <a:gd name="T0" fmla="*/ 2147483647 w 154"/>
                <a:gd name="T1" fmla="*/ 2147483647 h 39"/>
                <a:gd name="T2" fmla="*/ 0 w 154"/>
                <a:gd name="T3" fmla="*/ 2147483647 h 39"/>
                <a:gd name="T4" fmla="*/ 0 w 154"/>
                <a:gd name="T5" fmla="*/ 2147483647 h 39"/>
                <a:gd name="T6" fmla="*/ 2147483647 w 154"/>
                <a:gd name="T7" fmla="*/ 2147483647 h 39"/>
                <a:gd name="T8" fmla="*/ 2147483647 w 154"/>
                <a:gd name="T9" fmla="*/ 2147483647 h 39"/>
                <a:gd name="T10" fmla="*/ 2147483647 w 154"/>
                <a:gd name="T11" fmla="*/ 2147483647 h 39"/>
                <a:gd name="T12" fmla="*/ 2147483647 w 154"/>
                <a:gd name="T13" fmla="*/ 2147483647 h 39"/>
                <a:gd name="T14" fmla="*/ 2147483647 w 154"/>
                <a:gd name="T15" fmla="*/ 2147483647 h 39"/>
                <a:gd name="T16" fmla="*/ 2147483647 w 154"/>
                <a:gd name="T17" fmla="*/ 2147483647 h 39"/>
                <a:gd name="T18" fmla="*/ 2147483647 w 154"/>
                <a:gd name="T19" fmla="*/ 2147483647 h 39"/>
                <a:gd name="T20" fmla="*/ 2147483647 w 154"/>
                <a:gd name="T21" fmla="*/ 2147483647 h 39"/>
                <a:gd name="T22" fmla="*/ 2147483647 w 154"/>
                <a:gd name="T23" fmla="*/ 2147483647 h 39"/>
                <a:gd name="T24" fmla="*/ 2147483647 w 154"/>
                <a:gd name="T25" fmla="*/ 2147483647 h 39"/>
                <a:gd name="T26" fmla="*/ 2147483647 w 154"/>
                <a:gd name="T27" fmla="*/ 2147483647 h 39"/>
                <a:gd name="T28" fmla="*/ 2147483647 w 154"/>
                <a:gd name="T29" fmla="*/ 2147483647 h 39"/>
                <a:gd name="T30" fmla="*/ 2147483647 w 154"/>
                <a:gd name="T31" fmla="*/ 2147483647 h 39"/>
                <a:gd name="T32" fmla="*/ 2147483647 w 154"/>
                <a:gd name="T33" fmla="*/ 2147483647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39"/>
                <a:gd name="T53" fmla="*/ 154 w 154"/>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83" name="Freeform 110">
              <a:extLst>
                <a:ext uri="{FF2B5EF4-FFF2-40B4-BE49-F238E27FC236}">
                  <a16:creationId xmlns:a16="http://schemas.microsoft.com/office/drawing/2014/main" id="{ED68A735-00BD-EA40-A61C-EB59C6C29E77}"/>
                </a:ext>
              </a:extLst>
            </p:cNvPr>
            <p:cNvSpPr>
              <a:spLocks/>
            </p:cNvSpPr>
            <p:nvPr>
              <p:custDataLst>
                <p:tags r:id="rId76"/>
              </p:custDataLst>
            </p:nvPr>
          </p:nvSpPr>
          <p:spPr bwMode="auto">
            <a:xfrm>
              <a:off x="5102620" y="3947606"/>
              <a:ext cx="126858" cy="131867"/>
            </a:xfrm>
            <a:custGeom>
              <a:avLst/>
              <a:gdLst>
                <a:gd name="T0" fmla="*/ 2147483647 w 207"/>
                <a:gd name="T1" fmla="*/ 2147483647 h 236"/>
                <a:gd name="T2" fmla="*/ 2147483647 w 207"/>
                <a:gd name="T3" fmla="*/ 2147483647 h 236"/>
                <a:gd name="T4" fmla="*/ 2147483647 w 207"/>
                <a:gd name="T5" fmla="*/ 2147483647 h 236"/>
                <a:gd name="T6" fmla="*/ 2147483647 w 207"/>
                <a:gd name="T7" fmla="*/ 2147483647 h 236"/>
                <a:gd name="T8" fmla="*/ 2147483647 w 207"/>
                <a:gd name="T9" fmla="*/ 2147483647 h 236"/>
                <a:gd name="T10" fmla="*/ 2147483647 w 207"/>
                <a:gd name="T11" fmla="*/ 2147483647 h 236"/>
                <a:gd name="T12" fmla="*/ 2147483647 w 207"/>
                <a:gd name="T13" fmla="*/ 2147483647 h 236"/>
                <a:gd name="T14" fmla="*/ 2147483647 w 207"/>
                <a:gd name="T15" fmla="*/ 2147483647 h 236"/>
                <a:gd name="T16" fmla="*/ 2147483647 w 207"/>
                <a:gd name="T17" fmla="*/ 2147483647 h 236"/>
                <a:gd name="T18" fmla="*/ 2147483647 w 207"/>
                <a:gd name="T19" fmla="*/ 2147483647 h 236"/>
                <a:gd name="T20" fmla="*/ 2147483647 w 207"/>
                <a:gd name="T21" fmla="*/ 2147483647 h 236"/>
                <a:gd name="T22" fmla="*/ 2147483647 w 207"/>
                <a:gd name="T23" fmla="*/ 2147483647 h 236"/>
                <a:gd name="T24" fmla="*/ 2147483647 w 207"/>
                <a:gd name="T25" fmla="*/ 2147483647 h 236"/>
                <a:gd name="T26" fmla="*/ 2147483647 w 207"/>
                <a:gd name="T27" fmla="*/ 2147483647 h 236"/>
                <a:gd name="T28" fmla="*/ 2147483647 w 207"/>
                <a:gd name="T29" fmla="*/ 2147483647 h 236"/>
                <a:gd name="T30" fmla="*/ 2147483647 w 207"/>
                <a:gd name="T31" fmla="*/ 2147483647 h 236"/>
                <a:gd name="T32" fmla="*/ 2147483647 w 207"/>
                <a:gd name="T33" fmla="*/ 2147483647 h 236"/>
                <a:gd name="T34" fmla="*/ 2147483647 w 207"/>
                <a:gd name="T35" fmla="*/ 2147483647 h 236"/>
                <a:gd name="T36" fmla="*/ 2147483647 w 207"/>
                <a:gd name="T37" fmla="*/ 2147483647 h 236"/>
                <a:gd name="T38" fmla="*/ 2147483647 w 207"/>
                <a:gd name="T39" fmla="*/ 2147483647 h 236"/>
                <a:gd name="T40" fmla="*/ 0 w 207"/>
                <a:gd name="T41" fmla="*/ 2147483647 h 236"/>
                <a:gd name="T42" fmla="*/ 0 w 207"/>
                <a:gd name="T43" fmla="*/ 2147483647 h 236"/>
                <a:gd name="T44" fmla="*/ 2147483647 w 207"/>
                <a:gd name="T45" fmla="*/ 2147483647 h 236"/>
                <a:gd name="T46" fmla="*/ 2147483647 w 207"/>
                <a:gd name="T47" fmla="*/ 2147483647 h 236"/>
                <a:gd name="T48" fmla="*/ 2147483647 w 207"/>
                <a:gd name="T49" fmla="*/ 2147483647 h 236"/>
                <a:gd name="T50" fmla="*/ 2147483647 w 207"/>
                <a:gd name="T51" fmla="*/ 2147483647 h 236"/>
                <a:gd name="T52" fmla="*/ 2147483647 w 207"/>
                <a:gd name="T53" fmla="*/ 2147483647 h 236"/>
                <a:gd name="T54" fmla="*/ 2147483647 w 207"/>
                <a:gd name="T55" fmla="*/ 2147483647 h 236"/>
                <a:gd name="T56" fmla="*/ 2147483647 w 207"/>
                <a:gd name="T57" fmla="*/ 2147483647 h 236"/>
                <a:gd name="T58" fmla="*/ 2147483647 w 207"/>
                <a:gd name="T59" fmla="*/ 2147483647 h 236"/>
                <a:gd name="T60" fmla="*/ 2147483647 w 207"/>
                <a:gd name="T61" fmla="*/ 2147483647 h 236"/>
                <a:gd name="T62" fmla="*/ 2147483647 w 207"/>
                <a:gd name="T63" fmla="*/ 2147483647 h 2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7"/>
                <a:gd name="T97" fmla="*/ 0 h 236"/>
                <a:gd name="T98" fmla="*/ 207 w 207"/>
                <a:gd name="T99" fmla="*/ 236 h 2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5"/>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84" name="Freeform 111">
              <a:extLst>
                <a:ext uri="{FF2B5EF4-FFF2-40B4-BE49-F238E27FC236}">
                  <a16:creationId xmlns:a16="http://schemas.microsoft.com/office/drawing/2014/main" id="{5D043081-9AB4-9047-B410-E746CF3A4CBC}"/>
                </a:ext>
              </a:extLst>
            </p:cNvPr>
            <p:cNvSpPr>
              <a:spLocks/>
            </p:cNvSpPr>
            <p:nvPr>
              <p:custDataLst>
                <p:tags r:id="rId77"/>
              </p:custDataLst>
            </p:nvPr>
          </p:nvSpPr>
          <p:spPr bwMode="auto">
            <a:xfrm>
              <a:off x="5059221" y="3905877"/>
              <a:ext cx="85128" cy="100151"/>
            </a:xfrm>
            <a:custGeom>
              <a:avLst/>
              <a:gdLst>
                <a:gd name="T0" fmla="*/ 2147483647 w 140"/>
                <a:gd name="T1" fmla="*/ 2147483647 h 179"/>
                <a:gd name="T2" fmla="*/ 2147483647 w 140"/>
                <a:gd name="T3" fmla="*/ 2147483647 h 179"/>
                <a:gd name="T4" fmla="*/ 2147483647 w 140"/>
                <a:gd name="T5" fmla="*/ 2147483647 h 179"/>
                <a:gd name="T6" fmla="*/ 2147483647 w 140"/>
                <a:gd name="T7" fmla="*/ 2147483647 h 179"/>
                <a:gd name="T8" fmla="*/ 2147483647 w 140"/>
                <a:gd name="T9" fmla="*/ 2147483647 h 179"/>
                <a:gd name="T10" fmla="*/ 2147483647 w 140"/>
                <a:gd name="T11" fmla="*/ 2147483647 h 179"/>
                <a:gd name="T12" fmla="*/ 2147483647 w 140"/>
                <a:gd name="T13" fmla="*/ 2147483647 h 179"/>
                <a:gd name="T14" fmla="*/ 2147483647 w 140"/>
                <a:gd name="T15" fmla="*/ 2147483647 h 179"/>
                <a:gd name="T16" fmla="*/ 2147483647 w 140"/>
                <a:gd name="T17" fmla="*/ 2147483647 h 179"/>
                <a:gd name="T18" fmla="*/ 2147483647 w 140"/>
                <a:gd name="T19" fmla="*/ 0 h 179"/>
                <a:gd name="T20" fmla="*/ 2147483647 w 140"/>
                <a:gd name="T21" fmla="*/ 0 h 179"/>
                <a:gd name="T22" fmla="*/ 2147483647 w 140"/>
                <a:gd name="T23" fmla="*/ 2147483647 h 179"/>
                <a:gd name="T24" fmla="*/ 2147483647 w 140"/>
                <a:gd name="T25" fmla="*/ 2147483647 h 179"/>
                <a:gd name="T26" fmla="*/ 2147483647 w 140"/>
                <a:gd name="T27" fmla="*/ 2147483647 h 179"/>
                <a:gd name="T28" fmla="*/ 0 w 140"/>
                <a:gd name="T29" fmla="*/ 2147483647 h 179"/>
                <a:gd name="T30" fmla="*/ 2147483647 w 140"/>
                <a:gd name="T31" fmla="*/ 2147483647 h 179"/>
                <a:gd name="T32" fmla="*/ 2147483647 w 140"/>
                <a:gd name="T33" fmla="*/ 2147483647 h 179"/>
                <a:gd name="T34" fmla="*/ 2147483647 w 140"/>
                <a:gd name="T35" fmla="*/ 2147483647 h 179"/>
                <a:gd name="T36" fmla="*/ 2147483647 w 140"/>
                <a:gd name="T37" fmla="*/ 2147483647 h 179"/>
                <a:gd name="T38" fmla="*/ 2147483647 w 140"/>
                <a:gd name="T39" fmla="*/ 2147483647 h 179"/>
                <a:gd name="T40" fmla="*/ 2147483647 w 140"/>
                <a:gd name="T41" fmla="*/ 2147483647 h 179"/>
                <a:gd name="T42" fmla="*/ 2147483647 w 140"/>
                <a:gd name="T43" fmla="*/ 2147483647 h 179"/>
                <a:gd name="T44" fmla="*/ 2147483647 w 140"/>
                <a:gd name="T45" fmla="*/ 2147483647 h 179"/>
                <a:gd name="T46" fmla="*/ 2147483647 w 140"/>
                <a:gd name="T47" fmla="*/ 2147483647 h 179"/>
                <a:gd name="T48" fmla="*/ 2147483647 w 140"/>
                <a:gd name="T49" fmla="*/ 2147483647 h 1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0"/>
                <a:gd name="T76" fmla="*/ 0 h 179"/>
                <a:gd name="T77" fmla="*/ 140 w 140"/>
                <a:gd name="T78" fmla="*/ 179 h 1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85" name="Freeform 112">
              <a:extLst>
                <a:ext uri="{FF2B5EF4-FFF2-40B4-BE49-F238E27FC236}">
                  <a16:creationId xmlns:a16="http://schemas.microsoft.com/office/drawing/2014/main" id="{D71AD651-D4FF-1248-AF39-90BC951E8FCF}"/>
                </a:ext>
              </a:extLst>
            </p:cNvPr>
            <p:cNvSpPr>
              <a:spLocks/>
            </p:cNvSpPr>
            <p:nvPr>
              <p:custDataLst>
                <p:tags r:id="rId78"/>
              </p:custDataLst>
            </p:nvPr>
          </p:nvSpPr>
          <p:spPr bwMode="auto">
            <a:xfrm>
              <a:off x="6215969" y="5065964"/>
              <a:ext cx="68437" cy="61761"/>
            </a:xfrm>
            <a:custGeom>
              <a:avLst/>
              <a:gdLst>
                <a:gd name="T0" fmla="*/ 0 w 111"/>
                <a:gd name="T1" fmla="*/ 2147483647 h 114"/>
                <a:gd name="T2" fmla="*/ 2147483647 w 111"/>
                <a:gd name="T3" fmla="*/ 2147483647 h 114"/>
                <a:gd name="T4" fmla="*/ 2147483647 w 111"/>
                <a:gd name="T5" fmla="*/ 2147483647 h 114"/>
                <a:gd name="T6" fmla="*/ 2147483647 w 111"/>
                <a:gd name="T7" fmla="*/ 2147483647 h 114"/>
                <a:gd name="T8" fmla="*/ 2147483647 w 111"/>
                <a:gd name="T9" fmla="*/ 2147483647 h 114"/>
                <a:gd name="T10" fmla="*/ 2147483647 w 111"/>
                <a:gd name="T11" fmla="*/ 2147483647 h 114"/>
                <a:gd name="T12" fmla="*/ 2147483647 w 111"/>
                <a:gd name="T13" fmla="*/ 2147483647 h 114"/>
                <a:gd name="T14" fmla="*/ 2147483647 w 111"/>
                <a:gd name="T15" fmla="*/ 2147483647 h 114"/>
                <a:gd name="T16" fmla="*/ 2147483647 w 111"/>
                <a:gd name="T17" fmla="*/ 2147483647 h 114"/>
                <a:gd name="T18" fmla="*/ 2147483647 w 111"/>
                <a:gd name="T19" fmla="*/ 2147483647 h 114"/>
                <a:gd name="T20" fmla="*/ 2147483647 w 111"/>
                <a:gd name="T21" fmla="*/ 2147483647 h 114"/>
                <a:gd name="T22" fmla="*/ 2147483647 w 111"/>
                <a:gd name="T23" fmla="*/ 2147483647 h 114"/>
                <a:gd name="T24" fmla="*/ 2147483647 w 111"/>
                <a:gd name="T25" fmla="*/ 2147483647 h 114"/>
                <a:gd name="T26" fmla="*/ 2147483647 w 111"/>
                <a:gd name="T27" fmla="*/ 2147483647 h 114"/>
                <a:gd name="T28" fmla="*/ 2147483647 w 111"/>
                <a:gd name="T29" fmla="*/ 2147483647 h 114"/>
                <a:gd name="T30" fmla="*/ 2147483647 w 111"/>
                <a:gd name="T31" fmla="*/ 2147483647 h 114"/>
                <a:gd name="T32" fmla="*/ 2147483647 w 111"/>
                <a:gd name="T33" fmla="*/ 2147483647 h 114"/>
                <a:gd name="T34" fmla="*/ 2147483647 w 111"/>
                <a:gd name="T35" fmla="*/ 2147483647 h 114"/>
                <a:gd name="T36" fmla="*/ 2147483647 w 111"/>
                <a:gd name="T37" fmla="*/ 2147483647 h 114"/>
                <a:gd name="T38" fmla="*/ 2147483647 w 111"/>
                <a:gd name="T39" fmla="*/ 2147483647 h 114"/>
                <a:gd name="T40" fmla="*/ 0 w 111"/>
                <a:gd name="T41" fmla="*/ 2147483647 h 1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1"/>
                <a:gd name="T64" fmla="*/ 0 h 114"/>
                <a:gd name="T65" fmla="*/ 111 w 111"/>
                <a:gd name="T66" fmla="*/ 114 h 1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86" name="Freeform 113">
              <a:extLst>
                <a:ext uri="{FF2B5EF4-FFF2-40B4-BE49-F238E27FC236}">
                  <a16:creationId xmlns:a16="http://schemas.microsoft.com/office/drawing/2014/main" id="{5A78EA8C-30CF-494A-B27B-4BBDFBDA095D}"/>
                </a:ext>
              </a:extLst>
            </p:cNvPr>
            <p:cNvSpPr>
              <a:spLocks/>
            </p:cNvSpPr>
            <p:nvPr>
              <p:custDataLst>
                <p:tags r:id="rId79"/>
              </p:custDataLst>
            </p:nvPr>
          </p:nvSpPr>
          <p:spPr bwMode="auto">
            <a:xfrm>
              <a:off x="5701859" y="4137894"/>
              <a:ext cx="173595" cy="190288"/>
            </a:xfrm>
            <a:custGeom>
              <a:avLst/>
              <a:gdLst>
                <a:gd name="T0" fmla="*/ 2147483647 w 281"/>
                <a:gd name="T1" fmla="*/ 2147483647 h 339"/>
                <a:gd name="T2" fmla="*/ 2147483647 w 281"/>
                <a:gd name="T3" fmla="*/ 2147483647 h 339"/>
                <a:gd name="T4" fmla="*/ 2147483647 w 281"/>
                <a:gd name="T5" fmla="*/ 2147483647 h 339"/>
                <a:gd name="T6" fmla="*/ 2147483647 w 281"/>
                <a:gd name="T7" fmla="*/ 2147483647 h 339"/>
                <a:gd name="T8" fmla="*/ 2147483647 w 281"/>
                <a:gd name="T9" fmla="*/ 2147483647 h 339"/>
                <a:gd name="T10" fmla="*/ 2147483647 w 281"/>
                <a:gd name="T11" fmla="*/ 2147483647 h 339"/>
                <a:gd name="T12" fmla="*/ 2147483647 w 281"/>
                <a:gd name="T13" fmla="*/ 2147483647 h 339"/>
                <a:gd name="T14" fmla="*/ 2147483647 w 281"/>
                <a:gd name="T15" fmla="*/ 2147483647 h 339"/>
                <a:gd name="T16" fmla="*/ 2147483647 w 281"/>
                <a:gd name="T17" fmla="*/ 2147483647 h 339"/>
                <a:gd name="T18" fmla="*/ 2147483647 w 281"/>
                <a:gd name="T19" fmla="*/ 2147483647 h 339"/>
                <a:gd name="T20" fmla="*/ 2147483647 w 281"/>
                <a:gd name="T21" fmla="*/ 2147483647 h 339"/>
                <a:gd name="T22" fmla="*/ 2147483647 w 281"/>
                <a:gd name="T23" fmla="*/ 2147483647 h 339"/>
                <a:gd name="T24" fmla="*/ 2147483647 w 281"/>
                <a:gd name="T25" fmla="*/ 2147483647 h 339"/>
                <a:gd name="T26" fmla="*/ 2147483647 w 281"/>
                <a:gd name="T27" fmla="*/ 2147483647 h 339"/>
                <a:gd name="T28" fmla="*/ 2147483647 w 281"/>
                <a:gd name="T29" fmla="*/ 2147483647 h 339"/>
                <a:gd name="T30" fmla="*/ 2147483647 w 281"/>
                <a:gd name="T31" fmla="*/ 2147483647 h 339"/>
                <a:gd name="T32" fmla="*/ 0 w 281"/>
                <a:gd name="T33" fmla="*/ 2147483647 h 339"/>
                <a:gd name="T34" fmla="*/ 2147483647 w 281"/>
                <a:gd name="T35" fmla="*/ 2147483647 h 339"/>
                <a:gd name="T36" fmla="*/ 2147483647 w 281"/>
                <a:gd name="T37" fmla="*/ 2147483647 h 339"/>
                <a:gd name="T38" fmla="*/ 2147483647 w 281"/>
                <a:gd name="T39" fmla="*/ 2147483647 h 339"/>
                <a:gd name="T40" fmla="*/ 2147483647 w 281"/>
                <a:gd name="T41" fmla="*/ 2147483647 h 339"/>
                <a:gd name="T42" fmla="*/ 2147483647 w 281"/>
                <a:gd name="T43" fmla="*/ 2147483647 h 339"/>
                <a:gd name="T44" fmla="*/ 2147483647 w 281"/>
                <a:gd name="T45" fmla="*/ 2147483647 h 339"/>
                <a:gd name="T46" fmla="*/ 2147483647 w 281"/>
                <a:gd name="T47" fmla="*/ 2147483647 h 339"/>
                <a:gd name="T48" fmla="*/ 2147483647 w 281"/>
                <a:gd name="T49" fmla="*/ 2147483647 h 339"/>
                <a:gd name="T50" fmla="*/ 2147483647 w 281"/>
                <a:gd name="T51" fmla="*/ 2147483647 h 339"/>
                <a:gd name="T52" fmla="*/ 2147483647 w 281"/>
                <a:gd name="T53" fmla="*/ 2147483647 h 339"/>
                <a:gd name="T54" fmla="*/ 2147483647 w 281"/>
                <a:gd name="T55" fmla="*/ 2147483647 h 339"/>
                <a:gd name="T56" fmla="*/ 2147483647 w 281"/>
                <a:gd name="T57" fmla="*/ 2147483647 h 339"/>
                <a:gd name="T58" fmla="*/ 2147483647 w 281"/>
                <a:gd name="T59" fmla="*/ 2147483647 h 339"/>
                <a:gd name="T60" fmla="*/ 2147483647 w 281"/>
                <a:gd name="T61" fmla="*/ 2147483647 h 339"/>
                <a:gd name="T62" fmla="*/ 2147483647 w 281"/>
                <a:gd name="T63" fmla="*/ 2147483647 h 339"/>
                <a:gd name="T64" fmla="*/ 2147483647 w 281"/>
                <a:gd name="T65" fmla="*/ 2147483647 h 339"/>
                <a:gd name="T66" fmla="*/ 2147483647 w 281"/>
                <a:gd name="T67" fmla="*/ 2147483647 h 33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1"/>
                <a:gd name="T103" fmla="*/ 0 h 339"/>
                <a:gd name="T104" fmla="*/ 281 w 281"/>
                <a:gd name="T105" fmla="*/ 339 h 33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87" name="Freeform 114">
              <a:extLst>
                <a:ext uri="{FF2B5EF4-FFF2-40B4-BE49-F238E27FC236}">
                  <a16:creationId xmlns:a16="http://schemas.microsoft.com/office/drawing/2014/main" id="{AEC071B0-C4A1-7143-9E89-9208550AF44D}"/>
                </a:ext>
              </a:extLst>
            </p:cNvPr>
            <p:cNvSpPr>
              <a:spLocks/>
            </p:cNvSpPr>
            <p:nvPr>
              <p:custDataLst>
                <p:tags r:id="rId80"/>
              </p:custDataLst>
            </p:nvPr>
          </p:nvSpPr>
          <p:spPr bwMode="auto">
            <a:xfrm>
              <a:off x="6327806" y="4982505"/>
              <a:ext cx="45068" cy="48407"/>
            </a:xfrm>
            <a:custGeom>
              <a:avLst/>
              <a:gdLst>
                <a:gd name="T0" fmla="*/ 2147483647 w 73"/>
                <a:gd name="T1" fmla="*/ 2147483647 h 87"/>
                <a:gd name="T2" fmla="*/ 2147483647 w 73"/>
                <a:gd name="T3" fmla="*/ 2147483647 h 87"/>
                <a:gd name="T4" fmla="*/ 2147483647 w 73"/>
                <a:gd name="T5" fmla="*/ 2147483647 h 87"/>
                <a:gd name="T6" fmla="*/ 2147483647 w 73"/>
                <a:gd name="T7" fmla="*/ 0 h 87"/>
                <a:gd name="T8" fmla="*/ 2147483647 w 73"/>
                <a:gd name="T9" fmla="*/ 2147483647 h 87"/>
                <a:gd name="T10" fmla="*/ 2147483647 w 73"/>
                <a:gd name="T11" fmla="*/ 2147483647 h 87"/>
                <a:gd name="T12" fmla="*/ 2147483647 w 73"/>
                <a:gd name="T13" fmla="*/ 2147483647 h 87"/>
                <a:gd name="T14" fmla="*/ 2147483647 w 73"/>
                <a:gd name="T15" fmla="*/ 2147483647 h 87"/>
                <a:gd name="T16" fmla="*/ 2147483647 w 73"/>
                <a:gd name="T17" fmla="*/ 2147483647 h 87"/>
                <a:gd name="T18" fmla="*/ 2147483647 w 73"/>
                <a:gd name="T19" fmla="*/ 2147483647 h 87"/>
                <a:gd name="T20" fmla="*/ 2147483647 w 73"/>
                <a:gd name="T21" fmla="*/ 2147483647 h 87"/>
                <a:gd name="T22" fmla="*/ 2147483647 w 73"/>
                <a:gd name="T23" fmla="*/ 2147483647 h 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87"/>
                <a:gd name="T38" fmla="*/ 73 w 73"/>
                <a:gd name="T39" fmla="*/ 87 h 8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88" name="Freeform 115">
              <a:extLst>
                <a:ext uri="{FF2B5EF4-FFF2-40B4-BE49-F238E27FC236}">
                  <a16:creationId xmlns:a16="http://schemas.microsoft.com/office/drawing/2014/main" id="{E81FAA3E-51E7-9347-B4C4-F2A33329A72C}"/>
                </a:ext>
              </a:extLst>
            </p:cNvPr>
            <p:cNvSpPr>
              <a:spLocks/>
            </p:cNvSpPr>
            <p:nvPr>
              <p:custDataLst>
                <p:tags r:id="rId81"/>
              </p:custDataLst>
            </p:nvPr>
          </p:nvSpPr>
          <p:spPr bwMode="auto">
            <a:xfrm>
              <a:off x="5783649" y="4717104"/>
              <a:ext cx="393930" cy="362214"/>
            </a:xfrm>
            <a:custGeom>
              <a:avLst/>
              <a:gdLst>
                <a:gd name="T0" fmla="*/ 2147483647 w 635"/>
                <a:gd name="T1" fmla="*/ 2147483647 h 648"/>
                <a:gd name="T2" fmla="*/ 2147483647 w 635"/>
                <a:gd name="T3" fmla="*/ 2147483647 h 648"/>
                <a:gd name="T4" fmla="*/ 2147483647 w 635"/>
                <a:gd name="T5" fmla="*/ 2147483647 h 648"/>
                <a:gd name="T6" fmla="*/ 2147483647 w 635"/>
                <a:gd name="T7" fmla="*/ 2147483647 h 648"/>
                <a:gd name="T8" fmla="*/ 2147483647 w 635"/>
                <a:gd name="T9" fmla="*/ 2147483647 h 648"/>
                <a:gd name="T10" fmla="*/ 2147483647 w 635"/>
                <a:gd name="T11" fmla="*/ 2147483647 h 648"/>
                <a:gd name="T12" fmla="*/ 2147483647 w 635"/>
                <a:gd name="T13" fmla="*/ 2147483647 h 648"/>
                <a:gd name="T14" fmla="*/ 2147483647 w 635"/>
                <a:gd name="T15" fmla="*/ 2147483647 h 648"/>
                <a:gd name="T16" fmla="*/ 2147483647 w 635"/>
                <a:gd name="T17" fmla="*/ 2147483647 h 648"/>
                <a:gd name="T18" fmla="*/ 2147483647 w 635"/>
                <a:gd name="T19" fmla="*/ 2147483647 h 648"/>
                <a:gd name="T20" fmla="*/ 2147483647 w 635"/>
                <a:gd name="T21" fmla="*/ 2147483647 h 648"/>
                <a:gd name="T22" fmla="*/ 2147483647 w 635"/>
                <a:gd name="T23" fmla="*/ 2147483647 h 648"/>
                <a:gd name="T24" fmla="*/ 2147483647 w 635"/>
                <a:gd name="T25" fmla="*/ 2147483647 h 648"/>
                <a:gd name="T26" fmla="*/ 2147483647 w 635"/>
                <a:gd name="T27" fmla="*/ 2147483647 h 648"/>
                <a:gd name="T28" fmla="*/ 2147483647 w 635"/>
                <a:gd name="T29" fmla="*/ 2147483647 h 648"/>
                <a:gd name="T30" fmla="*/ 2147483647 w 635"/>
                <a:gd name="T31" fmla="*/ 2147483647 h 648"/>
                <a:gd name="T32" fmla="*/ 2147483647 w 635"/>
                <a:gd name="T33" fmla="*/ 2147483647 h 648"/>
                <a:gd name="T34" fmla="*/ 2147483647 w 635"/>
                <a:gd name="T35" fmla="*/ 2147483647 h 648"/>
                <a:gd name="T36" fmla="*/ 2147483647 w 635"/>
                <a:gd name="T37" fmla="*/ 2147483647 h 648"/>
                <a:gd name="T38" fmla="*/ 2147483647 w 635"/>
                <a:gd name="T39" fmla="*/ 2147483647 h 648"/>
                <a:gd name="T40" fmla="*/ 2147483647 w 635"/>
                <a:gd name="T41" fmla="*/ 2147483647 h 648"/>
                <a:gd name="T42" fmla="*/ 2147483647 w 635"/>
                <a:gd name="T43" fmla="*/ 0 h 648"/>
                <a:gd name="T44" fmla="*/ 2147483647 w 635"/>
                <a:gd name="T45" fmla="*/ 2147483647 h 648"/>
                <a:gd name="T46" fmla="*/ 2147483647 w 635"/>
                <a:gd name="T47" fmla="*/ 2147483647 h 648"/>
                <a:gd name="T48" fmla="*/ 2147483647 w 635"/>
                <a:gd name="T49" fmla="*/ 2147483647 h 648"/>
                <a:gd name="T50" fmla="*/ 2147483647 w 635"/>
                <a:gd name="T51" fmla="*/ 2147483647 h 648"/>
                <a:gd name="T52" fmla="*/ 2147483647 w 635"/>
                <a:gd name="T53" fmla="*/ 2147483647 h 648"/>
                <a:gd name="T54" fmla="*/ 2147483647 w 635"/>
                <a:gd name="T55" fmla="*/ 2147483647 h 648"/>
                <a:gd name="T56" fmla="*/ 2147483647 w 635"/>
                <a:gd name="T57" fmla="*/ 2147483647 h 648"/>
                <a:gd name="T58" fmla="*/ 2147483647 w 635"/>
                <a:gd name="T59" fmla="*/ 2147483647 h 648"/>
                <a:gd name="T60" fmla="*/ 2147483647 w 635"/>
                <a:gd name="T61" fmla="*/ 2147483647 h 648"/>
                <a:gd name="T62" fmla="*/ 2147483647 w 635"/>
                <a:gd name="T63" fmla="*/ 2147483647 h 648"/>
                <a:gd name="T64" fmla="*/ 2147483647 w 635"/>
                <a:gd name="T65" fmla="*/ 2147483647 h 648"/>
                <a:gd name="T66" fmla="*/ 2147483647 w 635"/>
                <a:gd name="T67" fmla="*/ 2147483647 h 648"/>
                <a:gd name="T68" fmla="*/ 2147483647 w 635"/>
                <a:gd name="T69" fmla="*/ 2147483647 h 6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35"/>
                <a:gd name="T106" fmla="*/ 0 h 648"/>
                <a:gd name="T107" fmla="*/ 635 w 635"/>
                <a:gd name="T108" fmla="*/ 648 h 6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89" name="Freeform 116">
              <a:extLst>
                <a:ext uri="{FF2B5EF4-FFF2-40B4-BE49-F238E27FC236}">
                  <a16:creationId xmlns:a16="http://schemas.microsoft.com/office/drawing/2014/main" id="{298FB5EC-F52C-8344-94CA-5BBD4A771440}"/>
                </a:ext>
              </a:extLst>
            </p:cNvPr>
            <p:cNvSpPr>
              <a:spLocks/>
            </p:cNvSpPr>
            <p:nvPr>
              <p:custDataLst>
                <p:tags r:id="rId82"/>
              </p:custDataLst>
            </p:nvPr>
          </p:nvSpPr>
          <p:spPr bwMode="auto">
            <a:xfrm>
              <a:off x="6177579" y="4677043"/>
              <a:ext cx="228678" cy="206979"/>
            </a:xfrm>
            <a:custGeom>
              <a:avLst/>
              <a:gdLst>
                <a:gd name="T0" fmla="*/ 2147483647 w 372"/>
                <a:gd name="T1" fmla="*/ 2147483647 h 366"/>
                <a:gd name="T2" fmla="*/ 2147483647 w 372"/>
                <a:gd name="T3" fmla="*/ 2147483647 h 366"/>
                <a:gd name="T4" fmla="*/ 2147483647 w 372"/>
                <a:gd name="T5" fmla="*/ 2147483647 h 366"/>
                <a:gd name="T6" fmla="*/ 2147483647 w 372"/>
                <a:gd name="T7" fmla="*/ 2147483647 h 366"/>
                <a:gd name="T8" fmla="*/ 2147483647 w 372"/>
                <a:gd name="T9" fmla="*/ 2147483647 h 366"/>
                <a:gd name="T10" fmla="*/ 2147483647 w 372"/>
                <a:gd name="T11" fmla="*/ 2147483647 h 366"/>
                <a:gd name="T12" fmla="*/ 2147483647 w 372"/>
                <a:gd name="T13" fmla="*/ 2147483647 h 366"/>
                <a:gd name="T14" fmla="*/ 2147483647 w 372"/>
                <a:gd name="T15" fmla="*/ 2147483647 h 366"/>
                <a:gd name="T16" fmla="*/ 2147483647 w 372"/>
                <a:gd name="T17" fmla="*/ 2147483647 h 366"/>
                <a:gd name="T18" fmla="*/ 2147483647 w 372"/>
                <a:gd name="T19" fmla="*/ 2147483647 h 366"/>
                <a:gd name="T20" fmla="*/ 2147483647 w 372"/>
                <a:gd name="T21" fmla="*/ 2147483647 h 366"/>
                <a:gd name="T22" fmla="*/ 2147483647 w 372"/>
                <a:gd name="T23" fmla="*/ 2147483647 h 366"/>
                <a:gd name="T24" fmla="*/ 2147483647 w 372"/>
                <a:gd name="T25" fmla="*/ 2147483647 h 366"/>
                <a:gd name="T26" fmla="*/ 2147483647 w 372"/>
                <a:gd name="T27" fmla="*/ 2147483647 h 366"/>
                <a:gd name="T28" fmla="*/ 2147483647 w 372"/>
                <a:gd name="T29" fmla="*/ 2147483647 h 366"/>
                <a:gd name="T30" fmla="*/ 2147483647 w 372"/>
                <a:gd name="T31" fmla="*/ 2147483647 h 366"/>
                <a:gd name="T32" fmla="*/ 2147483647 w 372"/>
                <a:gd name="T33" fmla="*/ 2147483647 h 366"/>
                <a:gd name="T34" fmla="*/ 2147483647 w 372"/>
                <a:gd name="T35" fmla="*/ 2147483647 h 366"/>
                <a:gd name="T36" fmla="*/ 2147483647 w 372"/>
                <a:gd name="T37" fmla="*/ 2147483647 h 366"/>
                <a:gd name="T38" fmla="*/ 2147483647 w 372"/>
                <a:gd name="T39" fmla="*/ 2147483647 h 366"/>
                <a:gd name="T40" fmla="*/ 2147483647 w 372"/>
                <a:gd name="T41" fmla="*/ 2147483647 h 366"/>
                <a:gd name="T42" fmla="*/ 2147483647 w 372"/>
                <a:gd name="T43" fmla="*/ 2147483647 h 366"/>
                <a:gd name="T44" fmla="*/ 2147483647 w 372"/>
                <a:gd name="T45" fmla="*/ 2147483647 h 366"/>
                <a:gd name="T46" fmla="*/ 2147483647 w 372"/>
                <a:gd name="T47" fmla="*/ 2147483647 h 366"/>
                <a:gd name="T48" fmla="*/ 2147483647 w 372"/>
                <a:gd name="T49" fmla="*/ 2147483647 h 366"/>
                <a:gd name="T50" fmla="*/ 2147483647 w 372"/>
                <a:gd name="T51" fmla="*/ 2147483647 h 366"/>
                <a:gd name="T52" fmla="*/ 2147483647 w 372"/>
                <a:gd name="T53" fmla="*/ 2147483647 h 366"/>
                <a:gd name="T54" fmla="*/ 2147483647 w 372"/>
                <a:gd name="T55" fmla="*/ 2147483647 h 366"/>
                <a:gd name="T56" fmla="*/ 2147483647 w 372"/>
                <a:gd name="T57" fmla="*/ 2147483647 h 366"/>
                <a:gd name="T58" fmla="*/ 2147483647 w 372"/>
                <a:gd name="T59" fmla="*/ 2147483647 h 366"/>
                <a:gd name="T60" fmla="*/ 2147483647 w 372"/>
                <a:gd name="T61" fmla="*/ 2147483647 h 366"/>
                <a:gd name="T62" fmla="*/ 2147483647 w 372"/>
                <a:gd name="T63" fmla="*/ 2147483647 h 366"/>
                <a:gd name="T64" fmla="*/ 2147483647 w 372"/>
                <a:gd name="T65" fmla="*/ 2147483647 h 366"/>
                <a:gd name="T66" fmla="*/ 2147483647 w 372"/>
                <a:gd name="T67" fmla="*/ 2147483647 h 366"/>
                <a:gd name="T68" fmla="*/ 2147483647 w 372"/>
                <a:gd name="T69" fmla="*/ 2147483647 h 366"/>
                <a:gd name="T70" fmla="*/ 2147483647 w 372"/>
                <a:gd name="T71" fmla="*/ 2147483647 h 366"/>
                <a:gd name="T72" fmla="*/ 2147483647 w 372"/>
                <a:gd name="T73" fmla="*/ 2147483647 h 366"/>
                <a:gd name="T74" fmla="*/ 2147483647 w 372"/>
                <a:gd name="T75" fmla="*/ 2147483647 h 366"/>
                <a:gd name="T76" fmla="*/ 2147483647 w 372"/>
                <a:gd name="T77" fmla="*/ 2147483647 h 366"/>
                <a:gd name="T78" fmla="*/ 2147483647 w 372"/>
                <a:gd name="T79" fmla="*/ 2147483647 h 366"/>
                <a:gd name="T80" fmla="*/ 2147483647 w 372"/>
                <a:gd name="T81" fmla="*/ 2147483647 h 366"/>
                <a:gd name="T82" fmla="*/ 2147483647 w 372"/>
                <a:gd name="T83" fmla="*/ 2147483647 h 366"/>
                <a:gd name="T84" fmla="*/ 2147483647 w 372"/>
                <a:gd name="T85" fmla="*/ 2147483647 h 366"/>
                <a:gd name="T86" fmla="*/ 2147483647 w 372"/>
                <a:gd name="T87" fmla="*/ 2147483647 h 366"/>
                <a:gd name="T88" fmla="*/ 2147483647 w 372"/>
                <a:gd name="T89" fmla="*/ 2147483647 h 366"/>
                <a:gd name="T90" fmla="*/ 2147483647 w 372"/>
                <a:gd name="T91" fmla="*/ 2147483647 h 366"/>
                <a:gd name="T92" fmla="*/ 2147483647 w 372"/>
                <a:gd name="T93" fmla="*/ 2147483647 h 366"/>
                <a:gd name="T94" fmla="*/ 2147483647 w 372"/>
                <a:gd name="T95" fmla="*/ 2147483647 h 366"/>
                <a:gd name="T96" fmla="*/ 2147483647 w 372"/>
                <a:gd name="T97" fmla="*/ 2147483647 h 366"/>
                <a:gd name="T98" fmla="*/ 2147483647 w 372"/>
                <a:gd name="T99" fmla="*/ 2147483647 h 366"/>
                <a:gd name="T100" fmla="*/ 2147483647 w 372"/>
                <a:gd name="T101" fmla="*/ 2147483647 h 366"/>
                <a:gd name="T102" fmla="*/ 2147483647 w 372"/>
                <a:gd name="T103" fmla="*/ 2147483647 h 366"/>
                <a:gd name="T104" fmla="*/ 2147483647 w 372"/>
                <a:gd name="T105" fmla="*/ 2147483647 h 366"/>
                <a:gd name="T106" fmla="*/ 2147483647 w 372"/>
                <a:gd name="T107" fmla="*/ 2147483647 h 366"/>
                <a:gd name="T108" fmla="*/ 2147483647 w 372"/>
                <a:gd name="T109" fmla="*/ 2147483647 h 366"/>
                <a:gd name="T110" fmla="*/ 2147483647 w 372"/>
                <a:gd name="T111" fmla="*/ 2147483647 h 366"/>
                <a:gd name="T112" fmla="*/ 2147483647 w 372"/>
                <a:gd name="T113" fmla="*/ 2147483647 h 366"/>
                <a:gd name="T114" fmla="*/ 2147483647 w 372"/>
                <a:gd name="T115" fmla="*/ 2147483647 h 366"/>
                <a:gd name="T116" fmla="*/ 0 w 372"/>
                <a:gd name="T117" fmla="*/ 2147483647 h 366"/>
                <a:gd name="T118" fmla="*/ 2147483647 w 372"/>
                <a:gd name="T119" fmla="*/ 2147483647 h 366"/>
                <a:gd name="T120" fmla="*/ 2147483647 w 372"/>
                <a:gd name="T121" fmla="*/ 2147483647 h 3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2"/>
                <a:gd name="T184" fmla="*/ 0 h 366"/>
                <a:gd name="T185" fmla="*/ 372 w 372"/>
                <a:gd name="T186" fmla="*/ 366 h 36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90" name="Freeform 117">
              <a:extLst>
                <a:ext uri="{FF2B5EF4-FFF2-40B4-BE49-F238E27FC236}">
                  <a16:creationId xmlns:a16="http://schemas.microsoft.com/office/drawing/2014/main" id="{6B0E48C7-B8E1-4547-A2DE-CEC130293A85}"/>
                </a:ext>
              </a:extLst>
            </p:cNvPr>
            <p:cNvSpPr>
              <a:spLocks/>
            </p:cNvSpPr>
            <p:nvPr>
              <p:custDataLst>
                <p:tags r:id="rId83"/>
              </p:custDataLst>
            </p:nvPr>
          </p:nvSpPr>
          <p:spPr bwMode="auto">
            <a:xfrm>
              <a:off x="6020674" y="4742141"/>
              <a:ext cx="267070" cy="275417"/>
            </a:xfrm>
            <a:custGeom>
              <a:avLst/>
              <a:gdLst>
                <a:gd name="T0" fmla="*/ 0 w 433"/>
                <a:gd name="T1" fmla="*/ 2147483647 h 490"/>
                <a:gd name="T2" fmla="*/ 2147483647 w 433"/>
                <a:gd name="T3" fmla="*/ 2147483647 h 490"/>
                <a:gd name="T4" fmla="*/ 2147483647 w 433"/>
                <a:gd name="T5" fmla="*/ 2147483647 h 490"/>
                <a:gd name="T6" fmla="*/ 2147483647 w 433"/>
                <a:gd name="T7" fmla="*/ 2147483647 h 490"/>
                <a:gd name="T8" fmla="*/ 2147483647 w 433"/>
                <a:gd name="T9" fmla="*/ 2147483647 h 490"/>
                <a:gd name="T10" fmla="*/ 2147483647 w 433"/>
                <a:gd name="T11" fmla="*/ 2147483647 h 490"/>
                <a:gd name="T12" fmla="*/ 2147483647 w 433"/>
                <a:gd name="T13" fmla="*/ 2147483647 h 490"/>
                <a:gd name="T14" fmla="*/ 2147483647 w 433"/>
                <a:gd name="T15" fmla="*/ 2147483647 h 490"/>
                <a:gd name="T16" fmla="*/ 2147483647 w 433"/>
                <a:gd name="T17" fmla="*/ 2147483647 h 490"/>
                <a:gd name="T18" fmla="*/ 2147483647 w 433"/>
                <a:gd name="T19" fmla="*/ 2147483647 h 490"/>
                <a:gd name="T20" fmla="*/ 2147483647 w 433"/>
                <a:gd name="T21" fmla="*/ 2147483647 h 490"/>
                <a:gd name="T22" fmla="*/ 2147483647 w 433"/>
                <a:gd name="T23" fmla="*/ 2147483647 h 490"/>
                <a:gd name="T24" fmla="*/ 2147483647 w 433"/>
                <a:gd name="T25" fmla="*/ 2147483647 h 490"/>
                <a:gd name="T26" fmla="*/ 2147483647 w 433"/>
                <a:gd name="T27" fmla="*/ 2147483647 h 490"/>
                <a:gd name="T28" fmla="*/ 2147483647 w 433"/>
                <a:gd name="T29" fmla="*/ 2147483647 h 490"/>
                <a:gd name="T30" fmla="*/ 2147483647 w 433"/>
                <a:gd name="T31" fmla="*/ 2147483647 h 490"/>
                <a:gd name="T32" fmla="*/ 2147483647 w 433"/>
                <a:gd name="T33" fmla="*/ 2147483647 h 490"/>
                <a:gd name="T34" fmla="*/ 2147483647 w 433"/>
                <a:gd name="T35" fmla="*/ 2147483647 h 490"/>
                <a:gd name="T36" fmla="*/ 2147483647 w 433"/>
                <a:gd name="T37" fmla="*/ 2147483647 h 490"/>
                <a:gd name="T38" fmla="*/ 2147483647 w 433"/>
                <a:gd name="T39" fmla="*/ 2147483647 h 490"/>
                <a:gd name="T40" fmla="*/ 2147483647 w 433"/>
                <a:gd name="T41" fmla="*/ 2147483647 h 490"/>
                <a:gd name="T42" fmla="*/ 2147483647 w 433"/>
                <a:gd name="T43" fmla="*/ 2147483647 h 490"/>
                <a:gd name="T44" fmla="*/ 2147483647 w 433"/>
                <a:gd name="T45" fmla="*/ 2147483647 h 490"/>
                <a:gd name="T46" fmla="*/ 2147483647 w 433"/>
                <a:gd name="T47" fmla="*/ 2147483647 h 490"/>
                <a:gd name="T48" fmla="*/ 2147483647 w 433"/>
                <a:gd name="T49" fmla="*/ 2147483647 h 490"/>
                <a:gd name="T50" fmla="*/ 2147483647 w 433"/>
                <a:gd name="T51" fmla="*/ 2147483647 h 490"/>
                <a:gd name="T52" fmla="*/ 2147483647 w 433"/>
                <a:gd name="T53" fmla="*/ 2147483647 h 490"/>
                <a:gd name="T54" fmla="*/ 2147483647 w 433"/>
                <a:gd name="T55" fmla="*/ 2147483647 h 490"/>
                <a:gd name="T56" fmla="*/ 2147483647 w 433"/>
                <a:gd name="T57" fmla="*/ 2147483647 h 490"/>
                <a:gd name="T58" fmla="*/ 2147483647 w 433"/>
                <a:gd name="T59" fmla="*/ 2147483647 h 490"/>
                <a:gd name="T60" fmla="*/ 2147483647 w 433"/>
                <a:gd name="T61" fmla="*/ 2147483647 h 490"/>
                <a:gd name="T62" fmla="*/ 2147483647 w 433"/>
                <a:gd name="T63" fmla="*/ 2147483647 h 490"/>
                <a:gd name="T64" fmla="*/ 2147483647 w 433"/>
                <a:gd name="T65" fmla="*/ 2147483647 h 490"/>
                <a:gd name="T66" fmla="*/ 2147483647 w 433"/>
                <a:gd name="T67" fmla="*/ 2147483647 h 490"/>
                <a:gd name="T68" fmla="*/ 2147483647 w 433"/>
                <a:gd name="T69" fmla="*/ 2147483647 h 490"/>
                <a:gd name="T70" fmla="*/ 2147483647 w 433"/>
                <a:gd name="T71" fmla="*/ 2147483647 h 490"/>
                <a:gd name="T72" fmla="*/ 2147483647 w 433"/>
                <a:gd name="T73" fmla="*/ 2147483647 h 490"/>
                <a:gd name="T74" fmla="*/ 2147483647 w 433"/>
                <a:gd name="T75" fmla="*/ 2147483647 h 490"/>
                <a:gd name="T76" fmla="*/ 2147483647 w 433"/>
                <a:gd name="T77" fmla="*/ 2147483647 h 490"/>
                <a:gd name="T78" fmla="*/ 2147483647 w 433"/>
                <a:gd name="T79" fmla="*/ 2147483647 h 490"/>
                <a:gd name="T80" fmla="*/ 2147483647 w 433"/>
                <a:gd name="T81" fmla="*/ 2147483647 h 490"/>
                <a:gd name="T82" fmla="*/ 2147483647 w 433"/>
                <a:gd name="T83" fmla="*/ 2147483647 h 490"/>
                <a:gd name="T84" fmla="*/ 2147483647 w 433"/>
                <a:gd name="T85" fmla="*/ 2147483647 h 490"/>
                <a:gd name="T86" fmla="*/ 2147483647 w 433"/>
                <a:gd name="T87" fmla="*/ 2147483647 h 490"/>
                <a:gd name="T88" fmla="*/ 2147483647 w 433"/>
                <a:gd name="T89" fmla="*/ 0 h 490"/>
                <a:gd name="T90" fmla="*/ 2147483647 w 433"/>
                <a:gd name="T91" fmla="*/ 2147483647 h 490"/>
                <a:gd name="T92" fmla="*/ 2147483647 w 433"/>
                <a:gd name="T93" fmla="*/ 2147483647 h 490"/>
                <a:gd name="T94" fmla="*/ 2147483647 w 433"/>
                <a:gd name="T95" fmla="*/ 2147483647 h 490"/>
                <a:gd name="T96" fmla="*/ 2147483647 w 433"/>
                <a:gd name="T97" fmla="*/ 2147483647 h 490"/>
                <a:gd name="T98" fmla="*/ 2147483647 w 433"/>
                <a:gd name="T99" fmla="*/ 2147483647 h 490"/>
                <a:gd name="T100" fmla="*/ 2147483647 w 433"/>
                <a:gd name="T101" fmla="*/ 2147483647 h 490"/>
                <a:gd name="T102" fmla="*/ 2147483647 w 433"/>
                <a:gd name="T103" fmla="*/ 2147483647 h 490"/>
                <a:gd name="T104" fmla="*/ 2147483647 w 433"/>
                <a:gd name="T105" fmla="*/ 2147483647 h 490"/>
                <a:gd name="T106" fmla="*/ 2147483647 w 433"/>
                <a:gd name="T107" fmla="*/ 2147483647 h 490"/>
                <a:gd name="T108" fmla="*/ 2147483647 w 433"/>
                <a:gd name="T109" fmla="*/ 2147483647 h 490"/>
                <a:gd name="T110" fmla="*/ 2147483647 w 433"/>
                <a:gd name="T111" fmla="*/ 2147483647 h 490"/>
                <a:gd name="T112" fmla="*/ 2147483647 w 433"/>
                <a:gd name="T113" fmla="*/ 2147483647 h 490"/>
                <a:gd name="T114" fmla="*/ 2147483647 w 433"/>
                <a:gd name="T115" fmla="*/ 2147483647 h 490"/>
                <a:gd name="T116" fmla="*/ 2147483647 w 433"/>
                <a:gd name="T117" fmla="*/ 2147483647 h 490"/>
                <a:gd name="T118" fmla="*/ 0 w 433"/>
                <a:gd name="T119" fmla="*/ 2147483647 h 4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33"/>
                <a:gd name="T181" fmla="*/ 0 h 490"/>
                <a:gd name="T182" fmla="*/ 433 w 433"/>
                <a:gd name="T183" fmla="*/ 490 h 4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91" name="Freeform 118">
              <a:extLst>
                <a:ext uri="{FF2B5EF4-FFF2-40B4-BE49-F238E27FC236}">
                  <a16:creationId xmlns:a16="http://schemas.microsoft.com/office/drawing/2014/main" id="{21EA07A0-AAA5-8443-AB04-EA9EFAA563A4}"/>
                </a:ext>
              </a:extLst>
            </p:cNvPr>
            <p:cNvSpPr>
              <a:spLocks/>
            </p:cNvSpPr>
            <p:nvPr>
              <p:custDataLst>
                <p:tags r:id="rId84"/>
              </p:custDataLst>
            </p:nvPr>
          </p:nvSpPr>
          <p:spPr bwMode="auto">
            <a:xfrm>
              <a:off x="6649958" y="3849124"/>
              <a:ext cx="297116" cy="412290"/>
            </a:xfrm>
            <a:custGeom>
              <a:avLst/>
              <a:gdLst>
                <a:gd name="T0" fmla="*/ 2147483647 w 480"/>
                <a:gd name="T1" fmla="*/ 2147483647 h 739"/>
                <a:gd name="T2" fmla="*/ 2147483647 w 480"/>
                <a:gd name="T3" fmla="*/ 2147483647 h 739"/>
                <a:gd name="T4" fmla="*/ 2147483647 w 480"/>
                <a:gd name="T5" fmla="*/ 2147483647 h 739"/>
                <a:gd name="T6" fmla="*/ 2147483647 w 480"/>
                <a:gd name="T7" fmla="*/ 2147483647 h 739"/>
                <a:gd name="T8" fmla="*/ 2147483647 w 480"/>
                <a:gd name="T9" fmla="*/ 2147483647 h 739"/>
                <a:gd name="T10" fmla="*/ 2147483647 w 480"/>
                <a:gd name="T11" fmla="*/ 2147483647 h 739"/>
                <a:gd name="T12" fmla="*/ 2147483647 w 480"/>
                <a:gd name="T13" fmla="*/ 2147483647 h 739"/>
                <a:gd name="T14" fmla="*/ 2147483647 w 480"/>
                <a:gd name="T15" fmla="*/ 2147483647 h 739"/>
                <a:gd name="T16" fmla="*/ 2147483647 w 480"/>
                <a:gd name="T17" fmla="*/ 2147483647 h 739"/>
                <a:gd name="T18" fmla="*/ 2147483647 w 480"/>
                <a:gd name="T19" fmla="*/ 2147483647 h 739"/>
                <a:gd name="T20" fmla="*/ 2147483647 w 480"/>
                <a:gd name="T21" fmla="*/ 2147483647 h 739"/>
                <a:gd name="T22" fmla="*/ 2147483647 w 480"/>
                <a:gd name="T23" fmla="*/ 2147483647 h 739"/>
                <a:gd name="T24" fmla="*/ 2147483647 w 480"/>
                <a:gd name="T25" fmla="*/ 2147483647 h 739"/>
                <a:gd name="T26" fmla="*/ 2147483647 w 480"/>
                <a:gd name="T27" fmla="*/ 2147483647 h 739"/>
                <a:gd name="T28" fmla="*/ 2147483647 w 480"/>
                <a:gd name="T29" fmla="*/ 2147483647 h 739"/>
                <a:gd name="T30" fmla="*/ 2147483647 w 480"/>
                <a:gd name="T31" fmla="*/ 2147483647 h 739"/>
                <a:gd name="T32" fmla="*/ 2147483647 w 480"/>
                <a:gd name="T33" fmla="*/ 2147483647 h 739"/>
                <a:gd name="T34" fmla="*/ 2147483647 w 480"/>
                <a:gd name="T35" fmla="*/ 2147483647 h 739"/>
                <a:gd name="T36" fmla="*/ 0 w 480"/>
                <a:gd name="T37" fmla="*/ 2147483647 h 739"/>
                <a:gd name="T38" fmla="*/ 2147483647 w 480"/>
                <a:gd name="T39" fmla="*/ 2147483647 h 739"/>
                <a:gd name="T40" fmla="*/ 2147483647 w 480"/>
                <a:gd name="T41" fmla="*/ 2147483647 h 739"/>
                <a:gd name="T42" fmla="*/ 2147483647 w 480"/>
                <a:gd name="T43" fmla="*/ 2147483647 h 739"/>
                <a:gd name="T44" fmla="*/ 2147483647 w 480"/>
                <a:gd name="T45" fmla="*/ 2147483647 h 739"/>
                <a:gd name="T46" fmla="*/ 2147483647 w 480"/>
                <a:gd name="T47" fmla="*/ 2147483647 h 739"/>
                <a:gd name="T48" fmla="*/ 2147483647 w 480"/>
                <a:gd name="T49" fmla="*/ 2147483647 h 739"/>
                <a:gd name="T50" fmla="*/ 2147483647 w 480"/>
                <a:gd name="T51" fmla="*/ 2147483647 h 739"/>
                <a:gd name="T52" fmla="*/ 2147483647 w 480"/>
                <a:gd name="T53" fmla="*/ 2147483647 h 739"/>
                <a:gd name="T54" fmla="*/ 2147483647 w 480"/>
                <a:gd name="T55" fmla="*/ 2147483647 h 739"/>
                <a:gd name="T56" fmla="*/ 2147483647 w 480"/>
                <a:gd name="T57" fmla="*/ 2147483647 h 739"/>
                <a:gd name="T58" fmla="*/ 2147483647 w 480"/>
                <a:gd name="T59" fmla="*/ 2147483647 h 739"/>
                <a:gd name="T60" fmla="*/ 2147483647 w 480"/>
                <a:gd name="T61" fmla="*/ 2147483647 h 739"/>
                <a:gd name="T62" fmla="*/ 2147483647 w 480"/>
                <a:gd name="T63" fmla="*/ 2147483647 h 739"/>
                <a:gd name="T64" fmla="*/ 2147483647 w 480"/>
                <a:gd name="T65" fmla="*/ 2147483647 h 739"/>
                <a:gd name="T66" fmla="*/ 2147483647 w 480"/>
                <a:gd name="T67" fmla="*/ 2147483647 h 739"/>
                <a:gd name="T68" fmla="*/ 2147483647 w 480"/>
                <a:gd name="T69" fmla="*/ 2147483647 h 739"/>
                <a:gd name="T70" fmla="*/ 2147483647 w 480"/>
                <a:gd name="T71" fmla="*/ 2147483647 h 739"/>
                <a:gd name="T72" fmla="*/ 2147483647 w 480"/>
                <a:gd name="T73" fmla="*/ 2147483647 h 739"/>
                <a:gd name="T74" fmla="*/ 2147483647 w 480"/>
                <a:gd name="T75" fmla="*/ 2147483647 h 739"/>
                <a:gd name="T76" fmla="*/ 2147483647 w 480"/>
                <a:gd name="T77" fmla="*/ 2147483647 h 739"/>
                <a:gd name="T78" fmla="*/ 2147483647 w 480"/>
                <a:gd name="T79" fmla="*/ 0 h 739"/>
                <a:gd name="T80" fmla="*/ 2147483647 w 480"/>
                <a:gd name="T81" fmla="*/ 2147483647 h 739"/>
                <a:gd name="T82" fmla="*/ 2147483647 w 480"/>
                <a:gd name="T83" fmla="*/ 2147483647 h 739"/>
                <a:gd name="T84" fmla="*/ 2147483647 w 480"/>
                <a:gd name="T85" fmla="*/ 2147483647 h 739"/>
                <a:gd name="T86" fmla="*/ 2147483647 w 480"/>
                <a:gd name="T87" fmla="*/ 2147483647 h 739"/>
                <a:gd name="T88" fmla="*/ 2147483647 w 480"/>
                <a:gd name="T89" fmla="*/ 2147483647 h 739"/>
                <a:gd name="T90" fmla="*/ 2147483647 w 480"/>
                <a:gd name="T91" fmla="*/ 2147483647 h 739"/>
                <a:gd name="T92" fmla="*/ 2147483647 w 480"/>
                <a:gd name="T93" fmla="*/ 2147483647 h 739"/>
                <a:gd name="T94" fmla="*/ 2147483647 w 480"/>
                <a:gd name="T95" fmla="*/ 2147483647 h 739"/>
                <a:gd name="T96" fmla="*/ 2147483647 w 480"/>
                <a:gd name="T97" fmla="*/ 2147483647 h 739"/>
                <a:gd name="T98" fmla="*/ 2147483647 w 480"/>
                <a:gd name="T99" fmla="*/ 2147483647 h 739"/>
                <a:gd name="T100" fmla="*/ 2147483647 w 480"/>
                <a:gd name="T101" fmla="*/ 2147483647 h 739"/>
                <a:gd name="T102" fmla="*/ 2147483647 w 480"/>
                <a:gd name="T103" fmla="*/ 2147483647 h 739"/>
                <a:gd name="T104" fmla="*/ 2147483647 w 480"/>
                <a:gd name="T105" fmla="*/ 2147483647 h 73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0"/>
                <a:gd name="T160" fmla="*/ 0 h 739"/>
                <a:gd name="T161" fmla="*/ 480 w 480"/>
                <a:gd name="T162" fmla="*/ 739 h 73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92" name="Freeform 119">
              <a:extLst>
                <a:ext uri="{FF2B5EF4-FFF2-40B4-BE49-F238E27FC236}">
                  <a16:creationId xmlns:a16="http://schemas.microsoft.com/office/drawing/2014/main" id="{94B59869-52D4-5441-A893-F5B012C5B4D4}"/>
                </a:ext>
              </a:extLst>
            </p:cNvPr>
            <p:cNvSpPr>
              <a:spLocks/>
            </p:cNvSpPr>
            <p:nvPr>
              <p:custDataLst>
                <p:tags r:id="rId85"/>
              </p:custDataLst>
            </p:nvPr>
          </p:nvSpPr>
          <p:spPr bwMode="auto">
            <a:xfrm>
              <a:off x="6664983" y="3827424"/>
              <a:ext cx="51745" cy="53415"/>
            </a:xfrm>
            <a:custGeom>
              <a:avLst/>
              <a:gdLst>
                <a:gd name="T0" fmla="*/ 2147483647 w 85"/>
                <a:gd name="T1" fmla="*/ 2147483647 h 95"/>
                <a:gd name="T2" fmla="*/ 2147483647 w 85"/>
                <a:gd name="T3" fmla="*/ 2147483647 h 95"/>
                <a:gd name="T4" fmla="*/ 2147483647 w 85"/>
                <a:gd name="T5" fmla="*/ 2147483647 h 95"/>
                <a:gd name="T6" fmla="*/ 0 w 85"/>
                <a:gd name="T7" fmla="*/ 2147483647 h 95"/>
                <a:gd name="T8" fmla="*/ 2147483647 w 85"/>
                <a:gd name="T9" fmla="*/ 2147483647 h 95"/>
                <a:gd name="T10" fmla="*/ 2147483647 w 85"/>
                <a:gd name="T11" fmla="*/ 2147483647 h 95"/>
                <a:gd name="T12" fmla="*/ 2147483647 w 85"/>
                <a:gd name="T13" fmla="*/ 2147483647 h 95"/>
                <a:gd name="T14" fmla="*/ 2147483647 w 85"/>
                <a:gd name="T15" fmla="*/ 2147483647 h 95"/>
                <a:gd name="T16" fmla="*/ 2147483647 w 85"/>
                <a:gd name="T17" fmla="*/ 2147483647 h 95"/>
                <a:gd name="T18" fmla="*/ 2147483647 w 85"/>
                <a:gd name="T19" fmla="*/ 2147483647 h 95"/>
                <a:gd name="T20" fmla="*/ 2147483647 w 85"/>
                <a:gd name="T21" fmla="*/ 2147483647 h 95"/>
                <a:gd name="T22" fmla="*/ 2147483647 w 85"/>
                <a:gd name="T23" fmla="*/ 2147483647 h 95"/>
                <a:gd name="T24" fmla="*/ 2147483647 w 85"/>
                <a:gd name="T25" fmla="*/ 2147483647 h 95"/>
                <a:gd name="T26" fmla="*/ 2147483647 w 85"/>
                <a:gd name="T27" fmla="*/ 2147483647 h 95"/>
                <a:gd name="T28" fmla="*/ 2147483647 w 85"/>
                <a:gd name="T29" fmla="*/ 0 h 95"/>
                <a:gd name="T30" fmla="*/ 2147483647 w 85"/>
                <a:gd name="T31" fmla="*/ 2147483647 h 95"/>
                <a:gd name="T32" fmla="*/ 2147483647 w 85"/>
                <a:gd name="T33" fmla="*/ 2147483647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5"/>
                <a:gd name="T52" fmla="*/ 0 h 95"/>
                <a:gd name="T53" fmla="*/ 85 w 85"/>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93" name="Freeform 120">
              <a:extLst>
                <a:ext uri="{FF2B5EF4-FFF2-40B4-BE49-F238E27FC236}">
                  <a16:creationId xmlns:a16="http://schemas.microsoft.com/office/drawing/2014/main" id="{4CB430EC-B4E0-9E4C-8E64-306EB6DB8745}"/>
                </a:ext>
              </a:extLst>
            </p:cNvPr>
            <p:cNvSpPr>
              <a:spLocks/>
            </p:cNvSpPr>
            <p:nvPr>
              <p:custDataLst>
                <p:tags r:id="rId86"/>
              </p:custDataLst>
            </p:nvPr>
          </p:nvSpPr>
          <p:spPr bwMode="auto">
            <a:xfrm>
              <a:off x="6506408" y="3667182"/>
              <a:ext cx="196965" cy="170258"/>
            </a:xfrm>
            <a:custGeom>
              <a:avLst/>
              <a:gdLst>
                <a:gd name="T0" fmla="*/ 2147483647 w 320"/>
                <a:gd name="T1" fmla="*/ 2147483647 h 305"/>
                <a:gd name="T2" fmla="*/ 2147483647 w 320"/>
                <a:gd name="T3" fmla="*/ 2147483647 h 305"/>
                <a:gd name="T4" fmla="*/ 2147483647 w 320"/>
                <a:gd name="T5" fmla="*/ 2147483647 h 305"/>
                <a:gd name="T6" fmla="*/ 2147483647 w 320"/>
                <a:gd name="T7" fmla="*/ 2147483647 h 305"/>
                <a:gd name="T8" fmla="*/ 2147483647 w 320"/>
                <a:gd name="T9" fmla="*/ 2147483647 h 305"/>
                <a:gd name="T10" fmla="*/ 2147483647 w 320"/>
                <a:gd name="T11" fmla="*/ 2147483647 h 305"/>
                <a:gd name="T12" fmla="*/ 2147483647 w 320"/>
                <a:gd name="T13" fmla="*/ 2147483647 h 305"/>
                <a:gd name="T14" fmla="*/ 2147483647 w 320"/>
                <a:gd name="T15" fmla="*/ 2147483647 h 305"/>
                <a:gd name="T16" fmla="*/ 2147483647 w 320"/>
                <a:gd name="T17" fmla="*/ 2147483647 h 305"/>
                <a:gd name="T18" fmla="*/ 2147483647 w 320"/>
                <a:gd name="T19" fmla="*/ 2147483647 h 305"/>
                <a:gd name="T20" fmla="*/ 2147483647 w 320"/>
                <a:gd name="T21" fmla="*/ 2147483647 h 305"/>
                <a:gd name="T22" fmla="*/ 2147483647 w 320"/>
                <a:gd name="T23" fmla="*/ 2147483647 h 305"/>
                <a:gd name="T24" fmla="*/ 2147483647 w 320"/>
                <a:gd name="T25" fmla="*/ 2147483647 h 305"/>
                <a:gd name="T26" fmla="*/ 2147483647 w 320"/>
                <a:gd name="T27" fmla="*/ 2147483647 h 305"/>
                <a:gd name="T28" fmla="*/ 2147483647 w 320"/>
                <a:gd name="T29" fmla="*/ 2147483647 h 305"/>
                <a:gd name="T30" fmla="*/ 2147483647 w 320"/>
                <a:gd name="T31" fmla="*/ 2147483647 h 305"/>
                <a:gd name="T32" fmla="*/ 2147483647 w 320"/>
                <a:gd name="T33" fmla="*/ 2147483647 h 305"/>
                <a:gd name="T34" fmla="*/ 2147483647 w 320"/>
                <a:gd name="T35" fmla="*/ 2147483647 h 305"/>
                <a:gd name="T36" fmla="*/ 2147483647 w 320"/>
                <a:gd name="T37" fmla="*/ 2147483647 h 305"/>
                <a:gd name="T38" fmla="*/ 2147483647 w 320"/>
                <a:gd name="T39" fmla="*/ 2147483647 h 305"/>
                <a:gd name="T40" fmla="*/ 2147483647 w 320"/>
                <a:gd name="T41" fmla="*/ 2147483647 h 305"/>
                <a:gd name="T42" fmla="*/ 2147483647 w 320"/>
                <a:gd name="T43" fmla="*/ 2147483647 h 305"/>
                <a:gd name="T44" fmla="*/ 2147483647 w 320"/>
                <a:gd name="T45" fmla="*/ 2147483647 h 305"/>
                <a:gd name="T46" fmla="*/ 2147483647 w 320"/>
                <a:gd name="T47" fmla="*/ 2147483647 h 305"/>
                <a:gd name="T48" fmla="*/ 2147483647 w 320"/>
                <a:gd name="T49" fmla="*/ 2147483647 h 305"/>
                <a:gd name="T50" fmla="*/ 2147483647 w 320"/>
                <a:gd name="T51" fmla="*/ 2147483647 h 305"/>
                <a:gd name="T52" fmla="*/ 2147483647 w 320"/>
                <a:gd name="T53" fmla="*/ 2147483647 h 305"/>
                <a:gd name="T54" fmla="*/ 2147483647 w 320"/>
                <a:gd name="T55" fmla="*/ 2147483647 h 305"/>
                <a:gd name="T56" fmla="*/ 2147483647 w 320"/>
                <a:gd name="T57" fmla="*/ 2147483647 h 305"/>
                <a:gd name="T58" fmla="*/ 2147483647 w 320"/>
                <a:gd name="T59" fmla="*/ 2147483647 h 305"/>
                <a:gd name="T60" fmla="*/ 2147483647 w 320"/>
                <a:gd name="T61" fmla="*/ 2147483647 h 305"/>
                <a:gd name="T62" fmla="*/ 2147483647 w 320"/>
                <a:gd name="T63" fmla="*/ 2147483647 h 305"/>
                <a:gd name="T64" fmla="*/ 2147483647 w 320"/>
                <a:gd name="T65" fmla="*/ 2147483647 h 305"/>
                <a:gd name="T66" fmla="*/ 2147483647 w 320"/>
                <a:gd name="T67" fmla="*/ 2147483647 h 305"/>
                <a:gd name="T68" fmla="*/ 2147483647 w 320"/>
                <a:gd name="T69" fmla="*/ 2147483647 h 305"/>
                <a:gd name="T70" fmla="*/ 2147483647 w 320"/>
                <a:gd name="T71" fmla="*/ 2147483647 h 305"/>
                <a:gd name="T72" fmla="*/ 2147483647 w 320"/>
                <a:gd name="T73" fmla="*/ 2147483647 h 305"/>
                <a:gd name="T74" fmla="*/ 2147483647 w 320"/>
                <a:gd name="T75" fmla="*/ 2147483647 h 305"/>
                <a:gd name="T76" fmla="*/ 2147483647 w 320"/>
                <a:gd name="T77" fmla="*/ 2147483647 h 305"/>
                <a:gd name="T78" fmla="*/ 2147483647 w 320"/>
                <a:gd name="T79" fmla="*/ 2147483647 h 305"/>
                <a:gd name="T80" fmla="*/ 2147483647 w 320"/>
                <a:gd name="T81" fmla="*/ 2147483647 h 305"/>
                <a:gd name="T82" fmla="*/ 2147483647 w 320"/>
                <a:gd name="T83" fmla="*/ 2147483647 h 305"/>
                <a:gd name="T84" fmla="*/ 2147483647 w 320"/>
                <a:gd name="T85" fmla="*/ 2147483647 h 305"/>
                <a:gd name="T86" fmla="*/ 2147483647 w 320"/>
                <a:gd name="T87" fmla="*/ 2147483647 h 305"/>
                <a:gd name="T88" fmla="*/ 2147483647 w 320"/>
                <a:gd name="T89" fmla="*/ 2147483647 h 305"/>
                <a:gd name="T90" fmla="*/ 2147483647 w 320"/>
                <a:gd name="T91" fmla="*/ 2147483647 h 305"/>
                <a:gd name="T92" fmla="*/ 2147483647 w 320"/>
                <a:gd name="T93" fmla="*/ 0 h 305"/>
                <a:gd name="T94" fmla="*/ 2147483647 w 320"/>
                <a:gd name="T95" fmla="*/ 2147483647 h 305"/>
                <a:gd name="T96" fmla="*/ 2147483647 w 320"/>
                <a:gd name="T97" fmla="*/ 2147483647 h 30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0"/>
                <a:gd name="T148" fmla="*/ 0 h 305"/>
                <a:gd name="T149" fmla="*/ 320 w 320"/>
                <a:gd name="T150" fmla="*/ 305 h 30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94" name="Freeform 121">
              <a:extLst>
                <a:ext uri="{FF2B5EF4-FFF2-40B4-BE49-F238E27FC236}">
                  <a16:creationId xmlns:a16="http://schemas.microsoft.com/office/drawing/2014/main" id="{D0370623-19F5-144B-A702-788BF1AE5FD2}"/>
                </a:ext>
              </a:extLst>
            </p:cNvPr>
            <p:cNvSpPr>
              <a:spLocks/>
            </p:cNvSpPr>
            <p:nvPr>
              <p:custDataLst>
                <p:tags r:id="rId87"/>
              </p:custDataLst>
            </p:nvPr>
          </p:nvSpPr>
          <p:spPr bwMode="auto">
            <a:xfrm>
              <a:off x="6411266" y="3762326"/>
              <a:ext cx="440666" cy="343854"/>
            </a:xfrm>
            <a:custGeom>
              <a:avLst/>
              <a:gdLst>
                <a:gd name="T0" fmla="*/ 2147483647 w 709"/>
                <a:gd name="T1" fmla="*/ 2147483647 h 615"/>
                <a:gd name="T2" fmla="*/ 2147483647 w 709"/>
                <a:gd name="T3" fmla="*/ 2147483647 h 615"/>
                <a:gd name="T4" fmla="*/ 2147483647 w 709"/>
                <a:gd name="T5" fmla="*/ 2147483647 h 615"/>
                <a:gd name="T6" fmla="*/ 2147483647 w 709"/>
                <a:gd name="T7" fmla="*/ 2147483647 h 615"/>
                <a:gd name="T8" fmla="*/ 2147483647 w 709"/>
                <a:gd name="T9" fmla="*/ 2147483647 h 615"/>
                <a:gd name="T10" fmla="*/ 2147483647 w 709"/>
                <a:gd name="T11" fmla="*/ 2147483647 h 615"/>
                <a:gd name="T12" fmla="*/ 2147483647 w 709"/>
                <a:gd name="T13" fmla="*/ 2147483647 h 615"/>
                <a:gd name="T14" fmla="*/ 2147483647 w 709"/>
                <a:gd name="T15" fmla="*/ 2147483647 h 615"/>
                <a:gd name="T16" fmla="*/ 2147483647 w 709"/>
                <a:gd name="T17" fmla="*/ 2147483647 h 615"/>
                <a:gd name="T18" fmla="*/ 2147483647 w 709"/>
                <a:gd name="T19" fmla="*/ 2147483647 h 615"/>
                <a:gd name="T20" fmla="*/ 2147483647 w 709"/>
                <a:gd name="T21" fmla="*/ 2147483647 h 615"/>
                <a:gd name="T22" fmla="*/ 2147483647 w 709"/>
                <a:gd name="T23" fmla="*/ 2147483647 h 615"/>
                <a:gd name="T24" fmla="*/ 2147483647 w 709"/>
                <a:gd name="T25" fmla="*/ 2147483647 h 615"/>
                <a:gd name="T26" fmla="*/ 2147483647 w 709"/>
                <a:gd name="T27" fmla="*/ 2147483647 h 615"/>
                <a:gd name="T28" fmla="*/ 2147483647 w 709"/>
                <a:gd name="T29" fmla="*/ 2147483647 h 615"/>
                <a:gd name="T30" fmla="*/ 2147483647 w 709"/>
                <a:gd name="T31" fmla="*/ 2147483647 h 615"/>
                <a:gd name="T32" fmla="*/ 2147483647 w 709"/>
                <a:gd name="T33" fmla="*/ 2147483647 h 615"/>
                <a:gd name="T34" fmla="*/ 2147483647 w 709"/>
                <a:gd name="T35" fmla="*/ 2147483647 h 615"/>
                <a:gd name="T36" fmla="*/ 2147483647 w 709"/>
                <a:gd name="T37" fmla="*/ 2147483647 h 615"/>
                <a:gd name="T38" fmla="*/ 2147483647 w 709"/>
                <a:gd name="T39" fmla="*/ 2147483647 h 615"/>
                <a:gd name="T40" fmla="*/ 2147483647 w 709"/>
                <a:gd name="T41" fmla="*/ 2147483647 h 615"/>
                <a:gd name="T42" fmla="*/ 2147483647 w 709"/>
                <a:gd name="T43" fmla="*/ 2147483647 h 615"/>
                <a:gd name="T44" fmla="*/ 2147483647 w 709"/>
                <a:gd name="T45" fmla="*/ 2147483647 h 615"/>
                <a:gd name="T46" fmla="*/ 2147483647 w 709"/>
                <a:gd name="T47" fmla="*/ 2147483647 h 615"/>
                <a:gd name="T48" fmla="*/ 2147483647 w 709"/>
                <a:gd name="T49" fmla="*/ 2147483647 h 615"/>
                <a:gd name="T50" fmla="*/ 2147483647 w 709"/>
                <a:gd name="T51" fmla="*/ 2147483647 h 615"/>
                <a:gd name="T52" fmla="*/ 2147483647 w 709"/>
                <a:gd name="T53" fmla="*/ 2147483647 h 615"/>
                <a:gd name="T54" fmla="*/ 2147483647 w 709"/>
                <a:gd name="T55" fmla="*/ 2147483647 h 615"/>
                <a:gd name="T56" fmla="*/ 2147483647 w 709"/>
                <a:gd name="T57" fmla="*/ 2147483647 h 615"/>
                <a:gd name="T58" fmla="*/ 2147483647 w 709"/>
                <a:gd name="T59" fmla="*/ 0 h 615"/>
                <a:gd name="T60" fmla="*/ 2147483647 w 709"/>
                <a:gd name="T61" fmla="*/ 2147483647 h 615"/>
                <a:gd name="T62" fmla="*/ 2147483647 w 709"/>
                <a:gd name="T63" fmla="*/ 2147483647 h 615"/>
                <a:gd name="T64" fmla="*/ 2147483647 w 709"/>
                <a:gd name="T65" fmla="*/ 2147483647 h 615"/>
                <a:gd name="T66" fmla="*/ 2147483647 w 709"/>
                <a:gd name="T67" fmla="*/ 2147483647 h 615"/>
                <a:gd name="T68" fmla="*/ 2147483647 w 709"/>
                <a:gd name="T69" fmla="*/ 2147483647 h 615"/>
                <a:gd name="T70" fmla="*/ 2147483647 w 709"/>
                <a:gd name="T71" fmla="*/ 2147483647 h 615"/>
                <a:gd name="T72" fmla="*/ 2147483647 w 709"/>
                <a:gd name="T73" fmla="*/ 2147483647 h 615"/>
                <a:gd name="T74" fmla="*/ 2147483647 w 709"/>
                <a:gd name="T75" fmla="*/ 2147483647 h 615"/>
                <a:gd name="T76" fmla="*/ 2147483647 w 709"/>
                <a:gd name="T77" fmla="*/ 2147483647 h 615"/>
                <a:gd name="T78" fmla="*/ 2147483647 w 709"/>
                <a:gd name="T79" fmla="*/ 2147483647 h 615"/>
                <a:gd name="T80" fmla="*/ 2147483647 w 709"/>
                <a:gd name="T81" fmla="*/ 2147483647 h 615"/>
                <a:gd name="T82" fmla="*/ 2147483647 w 709"/>
                <a:gd name="T83" fmla="*/ 2147483647 h 615"/>
                <a:gd name="T84" fmla="*/ 2147483647 w 709"/>
                <a:gd name="T85" fmla="*/ 2147483647 h 615"/>
                <a:gd name="T86" fmla="*/ 2147483647 w 709"/>
                <a:gd name="T87" fmla="*/ 2147483647 h 61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9"/>
                <a:gd name="T133" fmla="*/ 0 h 615"/>
                <a:gd name="T134" fmla="*/ 709 w 709"/>
                <a:gd name="T135" fmla="*/ 615 h 61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95" name="Freeform 122">
              <a:extLst>
                <a:ext uri="{FF2B5EF4-FFF2-40B4-BE49-F238E27FC236}">
                  <a16:creationId xmlns:a16="http://schemas.microsoft.com/office/drawing/2014/main" id="{FE38B77E-866D-0848-B4FB-C7BB7DC337DD}"/>
                </a:ext>
              </a:extLst>
            </p:cNvPr>
            <p:cNvSpPr>
              <a:spLocks/>
            </p:cNvSpPr>
            <p:nvPr>
              <p:custDataLst>
                <p:tags r:id="rId88"/>
              </p:custDataLst>
            </p:nvPr>
          </p:nvSpPr>
          <p:spPr bwMode="auto">
            <a:xfrm>
              <a:off x="6152541" y="3256562"/>
              <a:ext cx="327161" cy="307131"/>
            </a:xfrm>
            <a:custGeom>
              <a:avLst/>
              <a:gdLst>
                <a:gd name="T0" fmla="*/ 2147483647 w 530"/>
                <a:gd name="T1" fmla="*/ 2147483647 h 546"/>
                <a:gd name="T2" fmla="*/ 2147483647 w 530"/>
                <a:gd name="T3" fmla="*/ 2147483647 h 546"/>
                <a:gd name="T4" fmla="*/ 2147483647 w 530"/>
                <a:gd name="T5" fmla="*/ 2147483647 h 546"/>
                <a:gd name="T6" fmla="*/ 2147483647 w 530"/>
                <a:gd name="T7" fmla="*/ 2147483647 h 546"/>
                <a:gd name="T8" fmla="*/ 2147483647 w 530"/>
                <a:gd name="T9" fmla="*/ 2147483647 h 546"/>
                <a:gd name="T10" fmla="*/ 2147483647 w 530"/>
                <a:gd name="T11" fmla="*/ 2147483647 h 546"/>
                <a:gd name="T12" fmla="*/ 2147483647 w 530"/>
                <a:gd name="T13" fmla="*/ 2147483647 h 546"/>
                <a:gd name="T14" fmla="*/ 2147483647 w 530"/>
                <a:gd name="T15" fmla="*/ 2147483647 h 546"/>
                <a:gd name="T16" fmla="*/ 2147483647 w 530"/>
                <a:gd name="T17" fmla="*/ 2147483647 h 546"/>
                <a:gd name="T18" fmla="*/ 2147483647 w 530"/>
                <a:gd name="T19" fmla="*/ 2147483647 h 546"/>
                <a:gd name="T20" fmla="*/ 2147483647 w 530"/>
                <a:gd name="T21" fmla="*/ 2147483647 h 546"/>
                <a:gd name="T22" fmla="*/ 2147483647 w 530"/>
                <a:gd name="T23" fmla="*/ 2147483647 h 546"/>
                <a:gd name="T24" fmla="*/ 2147483647 w 530"/>
                <a:gd name="T25" fmla="*/ 2147483647 h 546"/>
                <a:gd name="T26" fmla="*/ 2147483647 w 530"/>
                <a:gd name="T27" fmla="*/ 2147483647 h 546"/>
                <a:gd name="T28" fmla="*/ 2147483647 w 530"/>
                <a:gd name="T29" fmla="*/ 2147483647 h 546"/>
                <a:gd name="T30" fmla="*/ 2147483647 w 530"/>
                <a:gd name="T31" fmla="*/ 2147483647 h 546"/>
                <a:gd name="T32" fmla="*/ 2147483647 w 530"/>
                <a:gd name="T33" fmla="*/ 2147483647 h 546"/>
                <a:gd name="T34" fmla="*/ 2147483647 w 530"/>
                <a:gd name="T35" fmla="*/ 2147483647 h 546"/>
                <a:gd name="T36" fmla="*/ 2147483647 w 530"/>
                <a:gd name="T37" fmla="*/ 2147483647 h 546"/>
                <a:gd name="T38" fmla="*/ 2147483647 w 530"/>
                <a:gd name="T39" fmla="*/ 2147483647 h 546"/>
                <a:gd name="T40" fmla="*/ 2147483647 w 530"/>
                <a:gd name="T41" fmla="*/ 2147483647 h 546"/>
                <a:gd name="T42" fmla="*/ 2147483647 w 530"/>
                <a:gd name="T43" fmla="*/ 2147483647 h 546"/>
                <a:gd name="T44" fmla="*/ 2147483647 w 530"/>
                <a:gd name="T45" fmla="*/ 2147483647 h 546"/>
                <a:gd name="T46" fmla="*/ 2147483647 w 530"/>
                <a:gd name="T47" fmla="*/ 2147483647 h 546"/>
                <a:gd name="T48" fmla="*/ 2147483647 w 530"/>
                <a:gd name="T49" fmla="*/ 2147483647 h 546"/>
                <a:gd name="T50" fmla="*/ 2147483647 w 530"/>
                <a:gd name="T51" fmla="*/ 2147483647 h 546"/>
                <a:gd name="T52" fmla="*/ 2147483647 w 530"/>
                <a:gd name="T53" fmla="*/ 2147483647 h 546"/>
                <a:gd name="T54" fmla="*/ 2147483647 w 530"/>
                <a:gd name="T55" fmla="*/ 2147483647 h 546"/>
                <a:gd name="T56" fmla="*/ 2147483647 w 530"/>
                <a:gd name="T57" fmla="*/ 2147483647 h 546"/>
                <a:gd name="T58" fmla="*/ 2147483647 w 530"/>
                <a:gd name="T59" fmla="*/ 2147483647 h 546"/>
                <a:gd name="T60" fmla="*/ 2147483647 w 530"/>
                <a:gd name="T61" fmla="*/ 2147483647 h 546"/>
                <a:gd name="T62" fmla="*/ 2147483647 w 530"/>
                <a:gd name="T63" fmla="*/ 2147483647 h 546"/>
                <a:gd name="T64" fmla="*/ 2147483647 w 530"/>
                <a:gd name="T65" fmla="*/ 2147483647 h 546"/>
                <a:gd name="T66" fmla="*/ 2147483647 w 530"/>
                <a:gd name="T67" fmla="*/ 2147483647 h 546"/>
                <a:gd name="T68" fmla="*/ 2147483647 w 530"/>
                <a:gd name="T69" fmla="*/ 2147483647 h 546"/>
                <a:gd name="T70" fmla="*/ 2147483647 w 530"/>
                <a:gd name="T71" fmla="*/ 2147483647 h 546"/>
                <a:gd name="T72" fmla="*/ 2147483647 w 530"/>
                <a:gd name="T73" fmla="*/ 2147483647 h 546"/>
                <a:gd name="T74" fmla="*/ 2147483647 w 530"/>
                <a:gd name="T75" fmla="*/ 2147483647 h 546"/>
                <a:gd name="T76" fmla="*/ 2147483647 w 530"/>
                <a:gd name="T77" fmla="*/ 2147483647 h 546"/>
                <a:gd name="T78" fmla="*/ 2147483647 w 530"/>
                <a:gd name="T79" fmla="*/ 2147483647 h 546"/>
                <a:gd name="T80" fmla="*/ 2147483647 w 530"/>
                <a:gd name="T81" fmla="*/ 2147483647 h 546"/>
                <a:gd name="T82" fmla="*/ 2147483647 w 530"/>
                <a:gd name="T83" fmla="*/ 2147483647 h 546"/>
                <a:gd name="T84" fmla="*/ 2147483647 w 530"/>
                <a:gd name="T85" fmla="*/ 2147483647 h 546"/>
                <a:gd name="T86" fmla="*/ 2147483647 w 530"/>
                <a:gd name="T87" fmla="*/ 2147483647 h 546"/>
                <a:gd name="T88" fmla="*/ 2147483647 w 530"/>
                <a:gd name="T89" fmla="*/ 2147483647 h 546"/>
                <a:gd name="T90" fmla="*/ 2147483647 w 530"/>
                <a:gd name="T91" fmla="*/ 2147483647 h 546"/>
                <a:gd name="T92" fmla="*/ 2147483647 w 530"/>
                <a:gd name="T93" fmla="*/ 2147483647 h 546"/>
                <a:gd name="T94" fmla="*/ 2147483647 w 530"/>
                <a:gd name="T95" fmla="*/ 2147483647 h 546"/>
                <a:gd name="T96" fmla="*/ 2147483647 w 530"/>
                <a:gd name="T97" fmla="*/ 2147483647 h 546"/>
                <a:gd name="T98" fmla="*/ 2147483647 w 530"/>
                <a:gd name="T99" fmla="*/ 2147483647 h 546"/>
                <a:gd name="T100" fmla="*/ 2147483647 w 530"/>
                <a:gd name="T101" fmla="*/ 2147483647 h 546"/>
                <a:gd name="T102" fmla="*/ 2147483647 w 530"/>
                <a:gd name="T103" fmla="*/ 2147483647 h 546"/>
                <a:gd name="T104" fmla="*/ 2147483647 w 530"/>
                <a:gd name="T105" fmla="*/ 2147483647 h 546"/>
                <a:gd name="T106" fmla="*/ 2147483647 w 530"/>
                <a:gd name="T107" fmla="*/ 2147483647 h 546"/>
                <a:gd name="T108" fmla="*/ 2147483647 w 530"/>
                <a:gd name="T109" fmla="*/ 2147483647 h 546"/>
                <a:gd name="T110" fmla="*/ 2147483647 w 530"/>
                <a:gd name="T111" fmla="*/ 0 h 546"/>
                <a:gd name="T112" fmla="*/ 2147483647 w 530"/>
                <a:gd name="T113" fmla="*/ 2147483647 h 54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30"/>
                <a:gd name="T172" fmla="*/ 0 h 546"/>
                <a:gd name="T173" fmla="*/ 530 w 530"/>
                <a:gd name="T174" fmla="*/ 546 h 54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96" name="Freeform 123">
              <a:extLst>
                <a:ext uri="{FF2B5EF4-FFF2-40B4-BE49-F238E27FC236}">
                  <a16:creationId xmlns:a16="http://schemas.microsoft.com/office/drawing/2014/main" id="{5BA0B864-EC18-4D4F-851D-6D71B4FF7318}"/>
                </a:ext>
              </a:extLst>
            </p:cNvPr>
            <p:cNvSpPr>
              <a:spLocks/>
            </p:cNvSpPr>
            <p:nvPr>
              <p:custDataLst>
                <p:tags r:id="rId89"/>
              </p:custDataLst>
            </p:nvPr>
          </p:nvSpPr>
          <p:spPr bwMode="auto">
            <a:xfrm>
              <a:off x="5696852" y="3815740"/>
              <a:ext cx="225341" cy="343854"/>
            </a:xfrm>
            <a:custGeom>
              <a:avLst/>
              <a:gdLst>
                <a:gd name="T0" fmla="*/ 2147483647 w 363"/>
                <a:gd name="T1" fmla="*/ 0 h 614"/>
                <a:gd name="T2" fmla="*/ 2147483647 w 363"/>
                <a:gd name="T3" fmla="*/ 2147483647 h 614"/>
                <a:gd name="T4" fmla="*/ 2147483647 w 363"/>
                <a:gd name="T5" fmla="*/ 2147483647 h 614"/>
                <a:gd name="T6" fmla="*/ 2147483647 w 363"/>
                <a:gd name="T7" fmla="*/ 2147483647 h 614"/>
                <a:gd name="T8" fmla="*/ 2147483647 w 363"/>
                <a:gd name="T9" fmla="*/ 2147483647 h 614"/>
                <a:gd name="T10" fmla="*/ 2147483647 w 363"/>
                <a:gd name="T11" fmla="*/ 2147483647 h 614"/>
                <a:gd name="T12" fmla="*/ 2147483647 w 363"/>
                <a:gd name="T13" fmla="*/ 2147483647 h 614"/>
                <a:gd name="T14" fmla="*/ 2147483647 w 363"/>
                <a:gd name="T15" fmla="*/ 2147483647 h 614"/>
                <a:gd name="T16" fmla="*/ 2147483647 w 363"/>
                <a:gd name="T17" fmla="*/ 2147483647 h 614"/>
                <a:gd name="T18" fmla="*/ 2147483647 w 363"/>
                <a:gd name="T19" fmla="*/ 2147483647 h 614"/>
                <a:gd name="T20" fmla="*/ 2147483647 w 363"/>
                <a:gd name="T21" fmla="*/ 2147483647 h 614"/>
                <a:gd name="T22" fmla="*/ 2147483647 w 363"/>
                <a:gd name="T23" fmla="*/ 2147483647 h 614"/>
                <a:gd name="T24" fmla="*/ 2147483647 w 363"/>
                <a:gd name="T25" fmla="*/ 2147483647 h 614"/>
                <a:gd name="T26" fmla="*/ 2147483647 w 363"/>
                <a:gd name="T27" fmla="*/ 2147483647 h 614"/>
                <a:gd name="T28" fmla="*/ 2147483647 w 363"/>
                <a:gd name="T29" fmla="*/ 2147483647 h 614"/>
                <a:gd name="T30" fmla="*/ 2147483647 w 363"/>
                <a:gd name="T31" fmla="*/ 2147483647 h 614"/>
                <a:gd name="T32" fmla="*/ 2147483647 w 363"/>
                <a:gd name="T33" fmla="*/ 2147483647 h 614"/>
                <a:gd name="T34" fmla="*/ 2147483647 w 363"/>
                <a:gd name="T35" fmla="*/ 2147483647 h 614"/>
                <a:gd name="T36" fmla="*/ 2147483647 w 363"/>
                <a:gd name="T37" fmla="*/ 2147483647 h 614"/>
                <a:gd name="T38" fmla="*/ 2147483647 w 363"/>
                <a:gd name="T39" fmla="*/ 2147483647 h 614"/>
                <a:gd name="T40" fmla="*/ 2147483647 w 363"/>
                <a:gd name="T41" fmla="*/ 2147483647 h 614"/>
                <a:gd name="T42" fmla="*/ 2147483647 w 363"/>
                <a:gd name="T43" fmla="*/ 2147483647 h 614"/>
                <a:gd name="T44" fmla="*/ 2147483647 w 363"/>
                <a:gd name="T45" fmla="*/ 2147483647 h 614"/>
                <a:gd name="T46" fmla="*/ 2147483647 w 363"/>
                <a:gd name="T47" fmla="*/ 2147483647 h 614"/>
                <a:gd name="T48" fmla="*/ 2147483647 w 363"/>
                <a:gd name="T49" fmla="*/ 2147483647 h 614"/>
                <a:gd name="T50" fmla="*/ 2147483647 w 363"/>
                <a:gd name="T51" fmla="*/ 2147483647 h 614"/>
                <a:gd name="T52" fmla="*/ 2147483647 w 363"/>
                <a:gd name="T53" fmla="*/ 2147483647 h 614"/>
                <a:gd name="T54" fmla="*/ 2147483647 w 363"/>
                <a:gd name="T55" fmla="*/ 2147483647 h 614"/>
                <a:gd name="T56" fmla="*/ 2147483647 w 363"/>
                <a:gd name="T57" fmla="*/ 2147483647 h 614"/>
                <a:gd name="T58" fmla="*/ 2147483647 w 363"/>
                <a:gd name="T59" fmla="*/ 2147483647 h 614"/>
                <a:gd name="T60" fmla="*/ 2147483647 w 363"/>
                <a:gd name="T61" fmla="*/ 2147483647 h 614"/>
                <a:gd name="T62" fmla="*/ 2147483647 w 363"/>
                <a:gd name="T63" fmla="*/ 2147483647 h 614"/>
                <a:gd name="T64" fmla="*/ 2147483647 w 363"/>
                <a:gd name="T65" fmla="*/ 2147483647 h 614"/>
                <a:gd name="T66" fmla="*/ 2147483647 w 363"/>
                <a:gd name="T67" fmla="*/ 2147483647 h 614"/>
                <a:gd name="T68" fmla="*/ 2147483647 w 363"/>
                <a:gd name="T69" fmla="*/ 2147483647 h 614"/>
                <a:gd name="T70" fmla="*/ 2147483647 w 363"/>
                <a:gd name="T71" fmla="*/ 2147483647 h 614"/>
                <a:gd name="T72" fmla="*/ 2147483647 w 363"/>
                <a:gd name="T73" fmla="*/ 2147483647 h 614"/>
                <a:gd name="T74" fmla="*/ 2147483647 w 363"/>
                <a:gd name="T75" fmla="*/ 2147483647 h 614"/>
                <a:gd name="T76" fmla="*/ 2147483647 w 363"/>
                <a:gd name="T77" fmla="*/ 2147483647 h 614"/>
                <a:gd name="T78" fmla="*/ 2147483647 w 363"/>
                <a:gd name="T79" fmla="*/ 2147483647 h 614"/>
                <a:gd name="T80" fmla="*/ 2147483647 w 363"/>
                <a:gd name="T81" fmla="*/ 2147483647 h 614"/>
                <a:gd name="T82" fmla="*/ 2147483647 w 363"/>
                <a:gd name="T83" fmla="*/ 2147483647 h 6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14"/>
                <a:gd name="T128" fmla="*/ 363 w 363"/>
                <a:gd name="T129" fmla="*/ 614 h 6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97" name="Freeform 124">
              <a:extLst>
                <a:ext uri="{FF2B5EF4-FFF2-40B4-BE49-F238E27FC236}">
                  <a16:creationId xmlns:a16="http://schemas.microsoft.com/office/drawing/2014/main" id="{D414A798-CF7B-5348-8417-42A05273E498}"/>
                </a:ext>
              </a:extLst>
            </p:cNvPr>
            <p:cNvSpPr>
              <a:spLocks/>
            </p:cNvSpPr>
            <p:nvPr>
              <p:custDataLst>
                <p:tags r:id="rId90"/>
              </p:custDataLst>
            </p:nvPr>
          </p:nvSpPr>
          <p:spPr bwMode="auto">
            <a:xfrm>
              <a:off x="5080920" y="3129703"/>
              <a:ext cx="348861" cy="248710"/>
            </a:xfrm>
            <a:custGeom>
              <a:avLst/>
              <a:gdLst>
                <a:gd name="T0" fmla="*/ 2147483647 w 565"/>
                <a:gd name="T1" fmla="*/ 2147483647 h 438"/>
                <a:gd name="T2" fmla="*/ 2147483647 w 565"/>
                <a:gd name="T3" fmla="*/ 2147483647 h 438"/>
                <a:gd name="T4" fmla="*/ 2147483647 w 565"/>
                <a:gd name="T5" fmla="*/ 2147483647 h 438"/>
                <a:gd name="T6" fmla="*/ 2147483647 w 565"/>
                <a:gd name="T7" fmla="*/ 2147483647 h 438"/>
                <a:gd name="T8" fmla="*/ 2147483647 w 565"/>
                <a:gd name="T9" fmla="*/ 2147483647 h 438"/>
                <a:gd name="T10" fmla="*/ 2147483647 w 565"/>
                <a:gd name="T11" fmla="*/ 2147483647 h 438"/>
                <a:gd name="T12" fmla="*/ 2147483647 w 565"/>
                <a:gd name="T13" fmla="*/ 2147483647 h 438"/>
                <a:gd name="T14" fmla="*/ 2147483647 w 565"/>
                <a:gd name="T15" fmla="*/ 2147483647 h 438"/>
                <a:gd name="T16" fmla="*/ 2147483647 w 565"/>
                <a:gd name="T17" fmla="*/ 2147483647 h 438"/>
                <a:gd name="T18" fmla="*/ 2147483647 w 565"/>
                <a:gd name="T19" fmla="*/ 2147483647 h 438"/>
                <a:gd name="T20" fmla="*/ 2147483647 w 565"/>
                <a:gd name="T21" fmla="*/ 2147483647 h 438"/>
                <a:gd name="T22" fmla="*/ 2147483647 w 565"/>
                <a:gd name="T23" fmla="*/ 2147483647 h 438"/>
                <a:gd name="T24" fmla="*/ 2147483647 w 565"/>
                <a:gd name="T25" fmla="*/ 2147483647 h 438"/>
                <a:gd name="T26" fmla="*/ 2147483647 w 565"/>
                <a:gd name="T27" fmla="*/ 2147483647 h 438"/>
                <a:gd name="T28" fmla="*/ 2147483647 w 565"/>
                <a:gd name="T29" fmla="*/ 0 h 438"/>
                <a:gd name="T30" fmla="*/ 2147483647 w 565"/>
                <a:gd name="T31" fmla="*/ 2147483647 h 438"/>
                <a:gd name="T32" fmla="*/ 2147483647 w 565"/>
                <a:gd name="T33" fmla="*/ 2147483647 h 438"/>
                <a:gd name="T34" fmla="*/ 2147483647 w 565"/>
                <a:gd name="T35" fmla="*/ 2147483647 h 438"/>
                <a:gd name="T36" fmla="*/ 2147483647 w 565"/>
                <a:gd name="T37" fmla="*/ 2147483647 h 438"/>
                <a:gd name="T38" fmla="*/ 2147483647 w 565"/>
                <a:gd name="T39" fmla="*/ 2147483647 h 438"/>
                <a:gd name="T40" fmla="*/ 2147483647 w 565"/>
                <a:gd name="T41" fmla="*/ 2147483647 h 438"/>
                <a:gd name="T42" fmla="*/ 2147483647 w 565"/>
                <a:gd name="T43" fmla="*/ 2147483647 h 438"/>
                <a:gd name="T44" fmla="*/ 2147483647 w 565"/>
                <a:gd name="T45" fmla="*/ 2147483647 h 438"/>
                <a:gd name="T46" fmla="*/ 2147483647 w 565"/>
                <a:gd name="T47" fmla="*/ 2147483647 h 438"/>
                <a:gd name="T48" fmla="*/ 2147483647 w 565"/>
                <a:gd name="T49" fmla="*/ 2147483647 h 438"/>
                <a:gd name="T50" fmla="*/ 2147483647 w 565"/>
                <a:gd name="T51" fmla="*/ 2147483647 h 438"/>
                <a:gd name="T52" fmla="*/ 2147483647 w 565"/>
                <a:gd name="T53" fmla="*/ 2147483647 h 438"/>
                <a:gd name="T54" fmla="*/ 2147483647 w 565"/>
                <a:gd name="T55" fmla="*/ 2147483647 h 438"/>
                <a:gd name="T56" fmla="*/ 2147483647 w 565"/>
                <a:gd name="T57" fmla="*/ 2147483647 h 438"/>
                <a:gd name="T58" fmla="*/ 2147483647 w 565"/>
                <a:gd name="T59" fmla="*/ 2147483647 h 438"/>
                <a:gd name="T60" fmla="*/ 2147483647 w 565"/>
                <a:gd name="T61" fmla="*/ 2147483647 h 438"/>
                <a:gd name="T62" fmla="*/ 2147483647 w 565"/>
                <a:gd name="T63" fmla="*/ 2147483647 h 438"/>
                <a:gd name="T64" fmla="*/ 2147483647 w 565"/>
                <a:gd name="T65" fmla="*/ 2147483647 h 438"/>
                <a:gd name="T66" fmla="*/ 2147483647 w 565"/>
                <a:gd name="T67" fmla="*/ 2147483647 h 438"/>
                <a:gd name="T68" fmla="*/ 2147483647 w 565"/>
                <a:gd name="T69" fmla="*/ 2147483647 h 438"/>
                <a:gd name="T70" fmla="*/ 0 w 565"/>
                <a:gd name="T71" fmla="*/ 2147483647 h 438"/>
                <a:gd name="T72" fmla="*/ 2147483647 w 565"/>
                <a:gd name="T73" fmla="*/ 2147483647 h 438"/>
                <a:gd name="T74" fmla="*/ 2147483647 w 565"/>
                <a:gd name="T75" fmla="*/ 2147483647 h 438"/>
                <a:gd name="T76" fmla="*/ 2147483647 w 565"/>
                <a:gd name="T77" fmla="*/ 2147483647 h 438"/>
                <a:gd name="T78" fmla="*/ 2147483647 w 565"/>
                <a:gd name="T79" fmla="*/ 2147483647 h 438"/>
                <a:gd name="T80" fmla="*/ 2147483647 w 565"/>
                <a:gd name="T81" fmla="*/ 2147483647 h 438"/>
                <a:gd name="T82" fmla="*/ 2147483647 w 565"/>
                <a:gd name="T83" fmla="*/ 2147483647 h 438"/>
                <a:gd name="T84" fmla="*/ 2147483647 w 565"/>
                <a:gd name="T85" fmla="*/ 2147483647 h 438"/>
                <a:gd name="T86" fmla="*/ 2147483647 w 565"/>
                <a:gd name="T87" fmla="*/ 2147483647 h 438"/>
                <a:gd name="T88" fmla="*/ 2147483647 w 565"/>
                <a:gd name="T89" fmla="*/ 2147483647 h 438"/>
                <a:gd name="T90" fmla="*/ 2147483647 w 565"/>
                <a:gd name="T91" fmla="*/ 2147483647 h 438"/>
                <a:gd name="T92" fmla="*/ 2147483647 w 565"/>
                <a:gd name="T93" fmla="*/ 2147483647 h 438"/>
                <a:gd name="T94" fmla="*/ 2147483647 w 565"/>
                <a:gd name="T95" fmla="*/ 2147483647 h 438"/>
                <a:gd name="T96" fmla="*/ 2147483647 w 565"/>
                <a:gd name="T97" fmla="*/ 2147483647 h 438"/>
                <a:gd name="T98" fmla="*/ 2147483647 w 565"/>
                <a:gd name="T99" fmla="*/ 2147483647 h 438"/>
                <a:gd name="T100" fmla="*/ 2147483647 w 565"/>
                <a:gd name="T101" fmla="*/ 2147483647 h 438"/>
                <a:gd name="T102" fmla="*/ 2147483647 w 565"/>
                <a:gd name="T103" fmla="*/ 2147483647 h 438"/>
                <a:gd name="T104" fmla="*/ 2147483647 w 565"/>
                <a:gd name="T105" fmla="*/ 2147483647 h 438"/>
                <a:gd name="T106" fmla="*/ 2147483647 w 565"/>
                <a:gd name="T107" fmla="*/ 2147483647 h 438"/>
                <a:gd name="T108" fmla="*/ 2147483647 w 565"/>
                <a:gd name="T109" fmla="*/ 2147483647 h 438"/>
                <a:gd name="T110" fmla="*/ 2147483647 w 565"/>
                <a:gd name="T111" fmla="*/ 2147483647 h 438"/>
                <a:gd name="T112" fmla="*/ 2147483647 w 565"/>
                <a:gd name="T113" fmla="*/ 2147483647 h 438"/>
                <a:gd name="T114" fmla="*/ 2147483647 w 565"/>
                <a:gd name="T115" fmla="*/ 2147483647 h 438"/>
                <a:gd name="T116" fmla="*/ 2147483647 w 565"/>
                <a:gd name="T117" fmla="*/ 2147483647 h 438"/>
                <a:gd name="T118" fmla="*/ 2147483647 w 565"/>
                <a:gd name="T119" fmla="*/ 2147483647 h 438"/>
                <a:gd name="T120" fmla="*/ 2147483647 w 565"/>
                <a:gd name="T121" fmla="*/ 2147483647 h 438"/>
                <a:gd name="T122" fmla="*/ 2147483647 w 565"/>
                <a:gd name="T123" fmla="*/ 2147483647 h 438"/>
                <a:gd name="T124" fmla="*/ 2147483647 w 565"/>
                <a:gd name="T125" fmla="*/ 2147483647 h 4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5"/>
                <a:gd name="T190" fmla="*/ 0 h 438"/>
                <a:gd name="T191" fmla="*/ 565 w 565"/>
                <a:gd name="T192" fmla="*/ 438 h 4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98" name="Freeform 125">
              <a:extLst>
                <a:ext uri="{FF2B5EF4-FFF2-40B4-BE49-F238E27FC236}">
                  <a16:creationId xmlns:a16="http://schemas.microsoft.com/office/drawing/2014/main" id="{03732D10-D320-EF43-826B-62E4E914EEE7}"/>
                </a:ext>
              </a:extLst>
            </p:cNvPr>
            <p:cNvSpPr>
              <a:spLocks/>
            </p:cNvSpPr>
            <p:nvPr>
              <p:custDataLst>
                <p:tags r:id="rId91"/>
              </p:custDataLst>
            </p:nvPr>
          </p:nvSpPr>
          <p:spPr bwMode="auto">
            <a:xfrm>
              <a:off x="5670144" y="3081297"/>
              <a:ext cx="115173" cy="218664"/>
            </a:xfrm>
            <a:custGeom>
              <a:avLst/>
              <a:gdLst>
                <a:gd name="T0" fmla="*/ 2147483647 w 187"/>
                <a:gd name="T1" fmla="*/ 2147483647 h 387"/>
                <a:gd name="T2" fmla="*/ 2147483647 w 187"/>
                <a:gd name="T3" fmla="*/ 2147483647 h 387"/>
                <a:gd name="T4" fmla="*/ 2147483647 w 187"/>
                <a:gd name="T5" fmla="*/ 2147483647 h 387"/>
                <a:gd name="T6" fmla="*/ 2147483647 w 187"/>
                <a:gd name="T7" fmla="*/ 2147483647 h 387"/>
                <a:gd name="T8" fmla="*/ 2147483647 w 187"/>
                <a:gd name="T9" fmla="*/ 2147483647 h 387"/>
                <a:gd name="T10" fmla="*/ 2147483647 w 187"/>
                <a:gd name="T11" fmla="*/ 2147483647 h 387"/>
                <a:gd name="T12" fmla="*/ 0 w 187"/>
                <a:gd name="T13" fmla="*/ 2147483647 h 387"/>
                <a:gd name="T14" fmla="*/ 0 w 187"/>
                <a:gd name="T15" fmla="*/ 2147483647 h 387"/>
                <a:gd name="T16" fmla="*/ 2147483647 w 187"/>
                <a:gd name="T17" fmla="*/ 2147483647 h 387"/>
                <a:gd name="T18" fmla="*/ 2147483647 w 187"/>
                <a:gd name="T19" fmla="*/ 2147483647 h 387"/>
                <a:gd name="T20" fmla="*/ 2147483647 w 187"/>
                <a:gd name="T21" fmla="*/ 2147483647 h 387"/>
                <a:gd name="T22" fmla="*/ 2147483647 w 187"/>
                <a:gd name="T23" fmla="*/ 2147483647 h 387"/>
                <a:gd name="T24" fmla="*/ 2147483647 w 187"/>
                <a:gd name="T25" fmla="*/ 2147483647 h 387"/>
                <a:gd name="T26" fmla="*/ 2147483647 w 187"/>
                <a:gd name="T27" fmla="*/ 2147483647 h 387"/>
                <a:gd name="T28" fmla="*/ 2147483647 w 187"/>
                <a:gd name="T29" fmla="*/ 2147483647 h 387"/>
                <a:gd name="T30" fmla="*/ 2147483647 w 187"/>
                <a:gd name="T31" fmla="*/ 2147483647 h 387"/>
                <a:gd name="T32" fmla="*/ 2147483647 w 187"/>
                <a:gd name="T33" fmla="*/ 2147483647 h 387"/>
                <a:gd name="T34" fmla="*/ 2147483647 w 187"/>
                <a:gd name="T35" fmla="*/ 2147483647 h 387"/>
                <a:gd name="T36" fmla="*/ 2147483647 w 187"/>
                <a:gd name="T37" fmla="*/ 2147483647 h 387"/>
                <a:gd name="T38" fmla="*/ 2147483647 w 187"/>
                <a:gd name="T39" fmla="*/ 2147483647 h 387"/>
                <a:gd name="T40" fmla="*/ 2147483647 w 187"/>
                <a:gd name="T41" fmla="*/ 2147483647 h 387"/>
                <a:gd name="T42" fmla="*/ 2147483647 w 187"/>
                <a:gd name="T43" fmla="*/ 2147483647 h 387"/>
                <a:gd name="T44" fmla="*/ 2147483647 w 187"/>
                <a:gd name="T45" fmla="*/ 2147483647 h 387"/>
                <a:gd name="T46" fmla="*/ 2147483647 w 187"/>
                <a:gd name="T47" fmla="*/ 2147483647 h 387"/>
                <a:gd name="T48" fmla="*/ 2147483647 w 187"/>
                <a:gd name="T49" fmla="*/ 2147483647 h 387"/>
                <a:gd name="T50" fmla="*/ 2147483647 w 187"/>
                <a:gd name="T51" fmla="*/ 2147483647 h 387"/>
                <a:gd name="T52" fmla="*/ 2147483647 w 187"/>
                <a:gd name="T53" fmla="*/ 2147483647 h 387"/>
                <a:gd name="T54" fmla="*/ 2147483647 w 187"/>
                <a:gd name="T55" fmla="*/ 2147483647 h 387"/>
                <a:gd name="T56" fmla="*/ 2147483647 w 187"/>
                <a:gd name="T57" fmla="*/ 2147483647 h 387"/>
                <a:gd name="T58" fmla="*/ 2147483647 w 187"/>
                <a:gd name="T59" fmla="*/ 2147483647 h 387"/>
                <a:gd name="T60" fmla="*/ 2147483647 w 187"/>
                <a:gd name="T61" fmla="*/ 2147483647 h 387"/>
                <a:gd name="T62" fmla="*/ 2147483647 w 187"/>
                <a:gd name="T63" fmla="*/ 2147483647 h 387"/>
                <a:gd name="T64" fmla="*/ 2147483647 w 187"/>
                <a:gd name="T65" fmla="*/ 2147483647 h 387"/>
                <a:gd name="T66" fmla="*/ 2147483647 w 187"/>
                <a:gd name="T67" fmla="*/ 2147483647 h 387"/>
                <a:gd name="T68" fmla="*/ 2147483647 w 187"/>
                <a:gd name="T69" fmla="*/ 2147483647 h 387"/>
                <a:gd name="T70" fmla="*/ 2147483647 w 187"/>
                <a:gd name="T71" fmla="*/ 2147483647 h 387"/>
                <a:gd name="T72" fmla="*/ 2147483647 w 187"/>
                <a:gd name="T73" fmla="*/ 2147483647 h 387"/>
                <a:gd name="T74" fmla="*/ 2147483647 w 187"/>
                <a:gd name="T75" fmla="*/ 2147483647 h 387"/>
                <a:gd name="T76" fmla="*/ 2147483647 w 187"/>
                <a:gd name="T77" fmla="*/ 2147483647 h 387"/>
                <a:gd name="T78" fmla="*/ 2147483647 w 187"/>
                <a:gd name="T79" fmla="*/ 2147483647 h 3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387"/>
                <a:gd name="T122" fmla="*/ 187 w 187"/>
                <a:gd name="T123" fmla="*/ 387 h 38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99" name="Freeform 126">
              <a:extLst>
                <a:ext uri="{FF2B5EF4-FFF2-40B4-BE49-F238E27FC236}">
                  <a16:creationId xmlns:a16="http://schemas.microsoft.com/office/drawing/2014/main" id="{6E00A86C-918A-724E-A324-71B63BAF7685}"/>
                </a:ext>
              </a:extLst>
            </p:cNvPr>
            <p:cNvSpPr>
              <a:spLocks/>
            </p:cNvSpPr>
            <p:nvPr>
              <p:custDataLst>
                <p:tags r:id="rId92"/>
              </p:custDataLst>
            </p:nvPr>
          </p:nvSpPr>
          <p:spPr bwMode="auto">
            <a:xfrm>
              <a:off x="5347990" y="3877500"/>
              <a:ext cx="131867" cy="195296"/>
            </a:xfrm>
            <a:custGeom>
              <a:avLst/>
              <a:gdLst>
                <a:gd name="T0" fmla="*/ 2147483647 w 213"/>
                <a:gd name="T1" fmla="*/ 2147483647 h 349"/>
                <a:gd name="T2" fmla="*/ 2147483647 w 213"/>
                <a:gd name="T3" fmla="*/ 2147483647 h 349"/>
                <a:gd name="T4" fmla="*/ 2147483647 w 213"/>
                <a:gd name="T5" fmla="*/ 2147483647 h 349"/>
                <a:gd name="T6" fmla="*/ 2147483647 w 213"/>
                <a:gd name="T7" fmla="*/ 2147483647 h 349"/>
                <a:gd name="T8" fmla="*/ 2147483647 w 213"/>
                <a:gd name="T9" fmla="*/ 2147483647 h 349"/>
                <a:gd name="T10" fmla="*/ 2147483647 w 213"/>
                <a:gd name="T11" fmla="*/ 2147483647 h 349"/>
                <a:gd name="T12" fmla="*/ 2147483647 w 213"/>
                <a:gd name="T13" fmla="*/ 2147483647 h 349"/>
                <a:gd name="T14" fmla="*/ 2147483647 w 213"/>
                <a:gd name="T15" fmla="*/ 2147483647 h 349"/>
                <a:gd name="T16" fmla="*/ 2147483647 w 213"/>
                <a:gd name="T17" fmla="*/ 2147483647 h 349"/>
                <a:gd name="T18" fmla="*/ 2147483647 w 213"/>
                <a:gd name="T19" fmla="*/ 2147483647 h 349"/>
                <a:gd name="T20" fmla="*/ 2147483647 w 213"/>
                <a:gd name="T21" fmla="*/ 2147483647 h 349"/>
                <a:gd name="T22" fmla="*/ 2147483647 w 213"/>
                <a:gd name="T23" fmla="*/ 2147483647 h 349"/>
                <a:gd name="T24" fmla="*/ 2147483647 w 213"/>
                <a:gd name="T25" fmla="*/ 2147483647 h 349"/>
                <a:gd name="T26" fmla="*/ 2147483647 w 213"/>
                <a:gd name="T27" fmla="*/ 2147483647 h 349"/>
                <a:gd name="T28" fmla="*/ 2147483647 w 213"/>
                <a:gd name="T29" fmla="*/ 2147483647 h 349"/>
                <a:gd name="T30" fmla="*/ 2147483647 w 213"/>
                <a:gd name="T31" fmla="*/ 0 h 349"/>
                <a:gd name="T32" fmla="*/ 2147483647 w 213"/>
                <a:gd name="T33" fmla="*/ 2147483647 h 349"/>
                <a:gd name="T34" fmla="*/ 2147483647 w 213"/>
                <a:gd name="T35" fmla="*/ 2147483647 h 349"/>
                <a:gd name="T36" fmla="*/ 2147483647 w 213"/>
                <a:gd name="T37" fmla="*/ 2147483647 h 349"/>
                <a:gd name="T38" fmla="*/ 2147483647 w 213"/>
                <a:gd name="T39" fmla="*/ 2147483647 h 349"/>
                <a:gd name="T40" fmla="*/ 2147483647 w 213"/>
                <a:gd name="T41" fmla="*/ 2147483647 h 349"/>
                <a:gd name="T42" fmla="*/ 2147483647 w 213"/>
                <a:gd name="T43" fmla="*/ 2147483647 h 349"/>
                <a:gd name="T44" fmla="*/ 2147483647 w 213"/>
                <a:gd name="T45" fmla="*/ 2147483647 h 349"/>
                <a:gd name="T46" fmla="*/ 2147483647 w 213"/>
                <a:gd name="T47" fmla="*/ 2147483647 h 349"/>
                <a:gd name="T48" fmla="*/ 2147483647 w 213"/>
                <a:gd name="T49" fmla="*/ 2147483647 h 349"/>
                <a:gd name="T50" fmla="*/ 2147483647 w 213"/>
                <a:gd name="T51" fmla="*/ 2147483647 h 349"/>
                <a:gd name="T52" fmla="*/ 2147483647 w 213"/>
                <a:gd name="T53" fmla="*/ 2147483647 h 349"/>
                <a:gd name="T54" fmla="*/ 2147483647 w 213"/>
                <a:gd name="T55" fmla="*/ 2147483647 h 349"/>
                <a:gd name="T56" fmla="*/ 2147483647 w 213"/>
                <a:gd name="T57" fmla="*/ 2147483647 h 349"/>
                <a:gd name="T58" fmla="*/ 2147483647 w 213"/>
                <a:gd name="T59" fmla="*/ 2147483647 h 349"/>
                <a:gd name="T60" fmla="*/ 2147483647 w 213"/>
                <a:gd name="T61" fmla="*/ 2147483647 h 349"/>
                <a:gd name="T62" fmla="*/ 2147483647 w 213"/>
                <a:gd name="T63" fmla="*/ 2147483647 h 349"/>
                <a:gd name="T64" fmla="*/ 0 w 213"/>
                <a:gd name="T65" fmla="*/ 2147483647 h 349"/>
                <a:gd name="T66" fmla="*/ 2147483647 w 213"/>
                <a:gd name="T67" fmla="*/ 2147483647 h 349"/>
                <a:gd name="T68" fmla="*/ 2147483647 w 213"/>
                <a:gd name="T69" fmla="*/ 2147483647 h 349"/>
                <a:gd name="T70" fmla="*/ 2147483647 w 213"/>
                <a:gd name="T71" fmla="*/ 2147483647 h 349"/>
                <a:gd name="T72" fmla="*/ 2147483647 w 213"/>
                <a:gd name="T73" fmla="*/ 2147483647 h 349"/>
                <a:gd name="T74" fmla="*/ 2147483647 w 213"/>
                <a:gd name="T75" fmla="*/ 2147483647 h 349"/>
                <a:gd name="T76" fmla="*/ 2147483647 w 213"/>
                <a:gd name="T77" fmla="*/ 2147483647 h 349"/>
                <a:gd name="T78" fmla="*/ 2147483647 w 213"/>
                <a:gd name="T79" fmla="*/ 2147483647 h 349"/>
                <a:gd name="T80" fmla="*/ 2147483647 w 213"/>
                <a:gd name="T81" fmla="*/ 2147483647 h 349"/>
                <a:gd name="T82" fmla="*/ 2147483647 w 213"/>
                <a:gd name="T83" fmla="*/ 2147483647 h 349"/>
                <a:gd name="T84" fmla="*/ 2147483647 w 213"/>
                <a:gd name="T85" fmla="*/ 2147483647 h 349"/>
                <a:gd name="T86" fmla="*/ 2147483647 w 213"/>
                <a:gd name="T87" fmla="*/ 2147483647 h 349"/>
                <a:gd name="T88" fmla="*/ 2147483647 w 213"/>
                <a:gd name="T89" fmla="*/ 2147483647 h 349"/>
                <a:gd name="T90" fmla="*/ 2147483647 w 213"/>
                <a:gd name="T91" fmla="*/ 2147483647 h 349"/>
                <a:gd name="T92" fmla="*/ 2147483647 w 213"/>
                <a:gd name="T93" fmla="*/ 2147483647 h 3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3"/>
                <a:gd name="T142" fmla="*/ 0 h 349"/>
                <a:gd name="T143" fmla="*/ 213 w 213"/>
                <a:gd name="T144" fmla="*/ 349 h 3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00" name="Freeform 127">
              <a:extLst>
                <a:ext uri="{FF2B5EF4-FFF2-40B4-BE49-F238E27FC236}">
                  <a16:creationId xmlns:a16="http://schemas.microsoft.com/office/drawing/2014/main" id="{69E57B4E-F363-AD4C-9833-EC84ED1B1DCD}"/>
                </a:ext>
              </a:extLst>
            </p:cNvPr>
            <p:cNvSpPr>
              <a:spLocks/>
            </p:cNvSpPr>
            <p:nvPr>
              <p:custDataLst>
                <p:tags r:id="rId93"/>
              </p:custDataLst>
            </p:nvPr>
          </p:nvSpPr>
          <p:spPr bwMode="auto">
            <a:xfrm>
              <a:off x="5443134" y="3877500"/>
              <a:ext cx="58421" cy="150227"/>
            </a:xfrm>
            <a:custGeom>
              <a:avLst/>
              <a:gdLst>
                <a:gd name="T0" fmla="*/ 2147483647 w 91"/>
                <a:gd name="T1" fmla="*/ 2147483647 h 270"/>
                <a:gd name="T2" fmla="*/ 2147483647 w 91"/>
                <a:gd name="T3" fmla="*/ 2147483647 h 270"/>
                <a:gd name="T4" fmla="*/ 2147483647 w 91"/>
                <a:gd name="T5" fmla="*/ 2147483647 h 270"/>
                <a:gd name="T6" fmla="*/ 2147483647 w 91"/>
                <a:gd name="T7" fmla="*/ 2147483647 h 270"/>
                <a:gd name="T8" fmla="*/ 2147483647 w 91"/>
                <a:gd name="T9" fmla="*/ 2147483647 h 270"/>
                <a:gd name="T10" fmla="*/ 2147483647 w 91"/>
                <a:gd name="T11" fmla="*/ 2147483647 h 270"/>
                <a:gd name="T12" fmla="*/ 2147483647 w 91"/>
                <a:gd name="T13" fmla="*/ 2147483647 h 270"/>
                <a:gd name="T14" fmla="*/ 2147483647 w 91"/>
                <a:gd name="T15" fmla="*/ 2147483647 h 270"/>
                <a:gd name="T16" fmla="*/ 2147483647 w 91"/>
                <a:gd name="T17" fmla="*/ 2147483647 h 270"/>
                <a:gd name="T18" fmla="*/ 2147483647 w 91"/>
                <a:gd name="T19" fmla="*/ 2147483647 h 270"/>
                <a:gd name="T20" fmla="*/ 2147483647 w 91"/>
                <a:gd name="T21" fmla="*/ 2147483647 h 270"/>
                <a:gd name="T22" fmla="*/ 2147483647 w 91"/>
                <a:gd name="T23" fmla="*/ 2147483647 h 270"/>
                <a:gd name="T24" fmla="*/ 2147483647 w 91"/>
                <a:gd name="T25" fmla="*/ 2147483647 h 270"/>
                <a:gd name="T26" fmla="*/ 2147483647 w 91"/>
                <a:gd name="T27" fmla="*/ 0 h 270"/>
                <a:gd name="T28" fmla="*/ 2147483647 w 91"/>
                <a:gd name="T29" fmla="*/ 2147483647 h 270"/>
                <a:gd name="T30" fmla="*/ 2147483647 w 91"/>
                <a:gd name="T31" fmla="*/ 2147483647 h 270"/>
                <a:gd name="T32" fmla="*/ 0 w 91"/>
                <a:gd name="T33" fmla="*/ 2147483647 h 270"/>
                <a:gd name="T34" fmla="*/ 2147483647 w 91"/>
                <a:gd name="T35" fmla="*/ 2147483647 h 270"/>
                <a:gd name="T36" fmla="*/ 2147483647 w 91"/>
                <a:gd name="T37" fmla="*/ 2147483647 h 270"/>
                <a:gd name="T38" fmla="*/ 2147483647 w 91"/>
                <a:gd name="T39" fmla="*/ 2147483647 h 270"/>
                <a:gd name="T40" fmla="*/ 2147483647 w 91"/>
                <a:gd name="T41" fmla="*/ 2147483647 h 270"/>
                <a:gd name="T42" fmla="*/ 2147483647 w 91"/>
                <a:gd name="T43" fmla="*/ 2147483647 h 270"/>
                <a:gd name="T44" fmla="*/ 2147483647 w 91"/>
                <a:gd name="T45" fmla="*/ 2147483647 h 270"/>
                <a:gd name="T46" fmla="*/ 2147483647 w 91"/>
                <a:gd name="T47" fmla="*/ 2147483647 h 270"/>
                <a:gd name="T48" fmla="*/ 2147483647 w 91"/>
                <a:gd name="T49" fmla="*/ 2147483647 h 270"/>
                <a:gd name="T50" fmla="*/ 2147483647 w 91"/>
                <a:gd name="T51" fmla="*/ 2147483647 h 270"/>
                <a:gd name="T52" fmla="*/ 2147483647 w 91"/>
                <a:gd name="T53" fmla="*/ 2147483647 h 270"/>
                <a:gd name="T54" fmla="*/ 2147483647 w 91"/>
                <a:gd name="T55" fmla="*/ 2147483647 h 270"/>
                <a:gd name="T56" fmla="*/ 2147483647 w 91"/>
                <a:gd name="T57" fmla="*/ 2147483647 h 270"/>
                <a:gd name="T58" fmla="*/ 2147483647 w 91"/>
                <a:gd name="T59" fmla="*/ 2147483647 h 270"/>
                <a:gd name="T60" fmla="*/ 2147483647 w 91"/>
                <a:gd name="T61" fmla="*/ 2147483647 h 270"/>
                <a:gd name="T62" fmla="*/ 2147483647 w 91"/>
                <a:gd name="T63" fmla="*/ 2147483647 h 270"/>
                <a:gd name="T64" fmla="*/ 2147483647 w 91"/>
                <a:gd name="T65" fmla="*/ 2147483647 h 270"/>
                <a:gd name="T66" fmla="*/ 2147483647 w 91"/>
                <a:gd name="T67" fmla="*/ 2147483647 h 2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1"/>
                <a:gd name="T103" fmla="*/ 0 h 270"/>
                <a:gd name="T104" fmla="*/ 91 w 91"/>
                <a:gd name="T105" fmla="*/ 270 h 2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01" name="Freeform 128">
              <a:extLst>
                <a:ext uri="{FF2B5EF4-FFF2-40B4-BE49-F238E27FC236}">
                  <a16:creationId xmlns:a16="http://schemas.microsoft.com/office/drawing/2014/main" id="{4F9D60EB-4E16-7B4D-BE27-A6090551CCDD}"/>
                </a:ext>
              </a:extLst>
            </p:cNvPr>
            <p:cNvSpPr>
              <a:spLocks/>
            </p:cNvSpPr>
            <p:nvPr>
              <p:custDataLst>
                <p:tags r:id="rId94"/>
              </p:custDataLst>
            </p:nvPr>
          </p:nvSpPr>
          <p:spPr bwMode="auto">
            <a:xfrm>
              <a:off x="5469842" y="3837439"/>
              <a:ext cx="93475" cy="186949"/>
            </a:xfrm>
            <a:custGeom>
              <a:avLst/>
              <a:gdLst>
                <a:gd name="T0" fmla="*/ 2147483647 w 150"/>
                <a:gd name="T1" fmla="*/ 2147483647 h 332"/>
                <a:gd name="T2" fmla="*/ 2147483647 w 150"/>
                <a:gd name="T3" fmla="*/ 2147483647 h 332"/>
                <a:gd name="T4" fmla="*/ 2147483647 w 150"/>
                <a:gd name="T5" fmla="*/ 2147483647 h 332"/>
                <a:gd name="T6" fmla="*/ 2147483647 w 150"/>
                <a:gd name="T7" fmla="*/ 2147483647 h 332"/>
                <a:gd name="T8" fmla="*/ 2147483647 w 150"/>
                <a:gd name="T9" fmla="*/ 2147483647 h 332"/>
                <a:gd name="T10" fmla="*/ 2147483647 w 150"/>
                <a:gd name="T11" fmla="*/ 2147483647 h 332"/>
                <a:gd name="T12" fmla="*/ 2147483647 w 150"/>
                <a:gd name="T13" fmla="*/ 2147483647 h 332"/>
                <a:gd name="T14" fmla="*/ 2147483647 w 150"/>
                <a:gd name="T15" fmla="*/ 2147483647 h 332"/>
                <a:gd name="T16" fmla="*/ 2147483647 w 150"/>
                <a:gd name="T17" fmla="*/ 2147483647 h 332"/>
                <a:gd name="T18" fmla="*/ 2147483647 w 150"/>
                <a:gd name="T19" fmla="*/ 2147483647 h 332"/>
                <a:gd name="T20" fmla="*/ 2147483647 w 150"/>
                <a:gd name="T21" fmla="*/ 2147483647 h 332"/>
                <a:gd name="T22" fmla="*/ 2147483647 w 150"/>
                <a:gd name="T23" fmla="*/ 2147483647 h 332"/>
                <a:gd name="T24" fmla="*/ 2147483647 w 150"/>
                <a:gd name="T25" fmla="*/ 2147483647 h 332"/>
                <a:gd name="T26" fmla="*/ 2147483647 w 150"/>
                <a:gd name="T27" fmla="*/ 2147483647 h 332"/>
                <a:gd name="T28" fmla="*/ 2147483647 w 150"/>
                <a:gd name="T29" fmla="*/ 0 h 332"/>
                <a:gd name="T30" fmla="*/ 2147483647 w 150"/>
                <a:gd name="T31" fmla="*/ 2147483647 h 332"/>
                <a:gd name="T32" fmla="*/ 2147483647 w 150"/>
                <a:gd name="T33" fmla="*/ 2147483647 h 332"/>
                <a:gd name="T34" fmla="*/ 2147483647 w 150"/>
                <a:gd name="T35" fmla="*/ 2147483647 h 332"/>
                <a:gd name="T36" fmla="*/ 2147483647 w 150"/>
                <a:gd name="T37" fmla="*/ 2147483647 h 332"/>
                <a:gd name="T38" fmla="*/ 2147483647 w 150"/>
                <a:gd name="T39" fmla="*/ 2147483647 h 332"/>
                <a:gd name="T40" fmla="*/ 2147483647 w 150"/>
                <a:gd name="T41" fmla="*/ 2147483647 h 332"/>
                <a:gd name="T42" fmla="*/ 2147483647 w 150"/>
                <a:gd name="T43" fmla="*/ 2147483647 h 332"/>
                <a:gd name="T44" fmla="*/ 2147483647 w 150"/>
                <a:gd name="T45" fmla="*/ 2147483647 h 332"/>
                <a:gd name="T46" fmla="*/ 2147483647 w 150"/>
                <a:gd name="T47" fmla="*/ 2147483647 h 332"/>
                <a:gd name="T48" fmla="*/ 2147483647 w 150"/>
                <a:gd name="T49" fmla="*/ 2147483647 h 332"/>
                <a:gd name="T50" fmla="*/ 2147483647 w 150"/>
                <a:gd name="T51" fmla="*/ 2147483647 h 332"/>
                <a:gd name="T52" fmla="*/ 0 w 150"/>
                <a:gd name="T53" fmla="*/ 2147483647 h 332"/>
                <a:gd name="T54" fmla="*/ 2147483647 w 150"/>
                <a:gd name="T55" fmla="*/ 2147483647 h 332"/>
                <a:gd name="T56" fmla="*/ 2147483647 w 150"/>
                <a:gd name="T57" fmla="*/ 2147483647 h 332"/>
                <a:gd name="T58" fmla="*/ 2147483647 w 150"/>
                <a:gd name="T59" fmla="*/ 2147483647 h 332"/>
                <a:gd name="T60" fmla="*/ 2147483647 w 150"/>
                <a:gd name="T61" fmla="*/ 2147483647 h 332"/>
                <a:gd name="T62" fmla="*/ 2147483647 w 150"/>
                <a:gd name="T63" fmla="*/ 2147483647 h 332"/>
                <a:gd name="T64" fmla="*/ 2147483647 w 150"/>
                <a:gd name="T65" fmla="*/ 2147483647 h 332"/>
                <a:gd name="T66" fmla="*/ 2147483647 w 150"/>
                <a:gd name="T67" fmla="*/ 2147483647 h 332"/>
                <a:gd name="T68" fmla="*/ 2147483647 w 150"/>
                <a:gd name="T69" fmla="*/ 2147483647 h 332"/>
                <a:gd name="T70" fmla="*/ 2147483647 w 150"/>
                <a:gd name="T71" fmla="*/ 2147483647 h 332"/>
                <a:gd name="T72" fmla="*/ 2147483647 w 150"/>
                <a:gd name="T73" fmla="*/ 2147483647 h 332"/>
                <a:gd name="T74" fmla="*/ 2147483647 w 150"/>
                <a:gd name="T75" fmla="*/ 2147483647 h 332"/>
                <a:gd name="T76" fmla="*/ 2147483647 w 150"/>
                <a:gd name="T77" fmla="*/ 2147483647 h 332"/>
                <a:gd name="T78" fmla="*/ 2147483647 w 150"/>
                <a:gd name="T79" fmla="*/ 2147483647 h 332"/>
                <a:gd name="T80" fmla="*/ 2147483647 w 150"/>
                <a:gd name="T81" fmla="*/ 2147483647 h 332"/>
                <a:gd name="T82" fmla="*/ 2147483647 w 150"/>
                <a:gd name="T83" fmla="*/ 2147483647 h 332"/>
                <a:gd name="T84" fmla="*/ 2147483647 w 150"/>
                <a:gd name="T85" fmla="*/ 2147483647 h 332"/>
                <a:gd name="T86" fmla="*/ 2147483647 w 150"/>
                <a:gd name="T87" fmla="*/ 2147483647 h 33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0"/>
                <a:gd name="T133" fmla="*/ 0 h 332"/>
                <a:gd name="T134" fmla="*/ 150 w 150"/>
                <a:gd name="T135" fmla="*/ 332 h 33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02" name="Freeform 129">
              <a:extLst>
                <a:ext uri="{FF2B5EF4-FFF2-40B4-BE49-F238E27FC236}">
                  <a16:creationId xmlns:a16="http://schemas.microsoft.com/office/drawing/2014/main" id="{81B99C57-D23A-4549-AC75-C61735FE2E0A}"/>
                </a:ext>
              </a:extLst>
            </p:cNvPr>
            <p:cNvSpPr>
              <a:spLocks/>
            </p:cNvSpPr>
            <p:nvPr>
              <p:custDataLst>
                <p:tags r:id="rId95"/>
              </p:custDataLst>
            </p:nvPr>
          </p:nvSpPr>
          <p:spPr bwMode="auto">
            <a:xfrm>
              <a:off x="5526594" y="3794041"/>
              <a:ext cx="350529" cy="285432"/>
            </a:xfrm>
            <a:custGeom>
              <a:avLst/>
              <a:gdLst>
                <a:gd name="T0" fmla="*/ 2147483647 w 567"/>
                <a:gd name="T1" fmla="*/ 2147483647 h 511"/>
                <a:gd name="T2" fmla="*/ 2147483647 w 567"/>
                <a:gd name="T3" fmla="*/ 2147483647 h 511"/>
                <a:gd name="T4" fmla="*/ 2147483647 w 567"/>
                <a:gd name="T5" fmla="*/ 2147483647 h 511"/>
                <a:gd name="T6" fmla="*/ 2147483647 w 567"/>
                <a:gd name="T7" fmla="*/ 2147483647 h 511"/>
                <a:gd name="T8" fmla="*/ 2147483647 w 567"/>
                <a:gd name="T9" fmla="*/ 2147483647 h 511"/>
                <a:gd name="T10" fmla="*/ 2147483647 w 567"/>
                <a:gd name="T11" fmla="*/ 2147483647 h 511"/>
                <a:gd name="T12" fmla="*/ 2147483647 w 567"/>
                <a:gd name="T13" fmla="*/ 2147483647 h 511"/>
                <a:gd name="T14" fmla="*/ 2147483647 w 567"/>
                <a:gd name="T15" fmla="*/ 2147483647 h 511"/>
                <a:gd name="T16" fmla="*/ 2147483647 w 567"/>
                <a:gd name="T17" fmla="*/ 2147483647 h 511"/>
                <a:gd name="T18" fmla="*/ 2147483647 w 567"/>
                <a:gd name="T19" fmla="*/ 2147483647 h 511"/>
                <a:gd name="T20" fmla="*/ 2147483647 w 567"/>
                <a:gd name="T21" fmla="*/ 2147483647 h 511"/>
                <a:gd name="T22" fmla="*/ 2147483647 w 567"/>
                <a:gd name="T23" fmla="*/ 2147483647 h 511"/>
                <a:gd name="T24" fmla="*/ 2147483647 w 567"/>
                <a:gd name="T25" fmla="*/ 2147483647 h 511"/>
                <a:gd name="T26" fmla="*/ 2147483647 w 567"/>
                <a:gd name="T27" fmla="*/ 2147483647 h 511"/>
                <a:gd name="T28" fmla="*/ 2147483647 w 567"/>
                <a:gd name="T29" fmla="*/ 2147483647 h 511"/>
                <a:gd name="T30" fmla="*/ 2147483647 w 567"/>
                <a:gd name="T31" fmla="*/ 2147483647 h 511"/>
                <a:gd name="T32" fmla="*/ 2147483647 w 567"/>
                <a:gd name="T33" fmla="*/ 2147483647 h 511"/>
                <a:gd name="T34" fmla="*/ 2147483647 w 567"/>
                <a:gd name="T35" fmla="*/ 2147483647 h 511"/>
                <a:gd name="T36" fmla="*/ 2147483647 w 567"/>
                <a:gd name="T37" fmla="*/ 2147483647 h 511"/>
                <a:gd name="T38" fmla="*/ 2147483647 w 567"/>
                <a:gd name="T39" fmla="*/ 2147483647 h 511"/>
                <a:gd name="T40" fmla="*/ 2147483647 w 567"/>
                <a:gd name="T41" fmla="*/ 2147483647 h 511"/>
                <a:gd name="T42" fmla="*/ 2147483647 w 567"/>
                <a:gd name="T43" fmla="*/ 2147483647 h 511"/>
                <a:gd name="T44" fmla="*/ 2147483647 w 567"/>
                <a:gd name="T45" fmla="*/ 2147483647 h 511"/>
                <a:gd name="T46" fmla="*/ 2147483647 w 567"/>
                <a:gd name="T47" fmla="*/ 2147483647 h 511"/>
                <a:gd name="T48" fmla="*/ 2147483647 w 567"/>
                <a:gd name="T49" fmla="*/ 2147483647 h 511"/>
                <a:gd name="T50" fmla="*/ 2147483647 w 567"/>
                <a:gd name="T51" fmla="*/ 2147483647 h 511"/>
                <a:gd name="T52" fmla="*/ 2147483647 w 567"/>
                <a:gd name="T53" fmla="*/ 2147483647 h 511"/>
                <a:gd name="T54" fmla="*/ 2147483647 w 567"/>
                <a:gd name="T55" fmla="*/ 2147483647 h 511"/>
                <a:gd name="T56" fmla="*/ 2147483647 w 567"/>
                <a:gd name="T57" fmla="*/ 2147483647 h 511"/>
                <a:gd name="T58" fmla="*/ 2147483647 w 567"/>
                <a:gd name="T59" fmla="*/ 2147483647 h 511"/>
                <a:gd name="T60" fmla="*/ 0 w 567"/>
                <a:gd name="T61" fmla="*/ 2147483647 h 511"/>
                <a:gd name="T62" fmla="*/ 2147483647 w 567"/>
                <a:gd name="T63" fmla="*/ 2147483647 h 511"/>
                <a:gd name="T64" fmla="*/ 2147483647 w 567"/>
                <a:gd name="T65" fmla="*/ 2147483647 h 511"/>
                <a:gd name="T66" fmla="*/ 2147483647 w 567"/>
                <a:gd name="T67" fmla="*/ 2147483647 h 511"/>
                <a:gd name="T68" fmla="*/ 2147483647 w 567"/>
                <a:gd name="T69" fmla="*/ 2147483647 h 511"/>
                <a:gd name="T70" fmla="*/ 2147483647 w 567"/>
                <a:gd name="T71" fmla="*/ 2147483647 h 511"/>
                <a:gd name="T72" fmla="*/ 2147483647 w 567"/>
                <a:gd name="T73" fmla="*/ 2147483647 h 511"/>
                <a:gd name="T74" fmla="*/ 2147483647 w 567"/>
                <a:gd name="T75" fmla="*/ 2147483647 h 511"/>
                <a:gd name="T76" fmla="*/ 2147483647 w 567"/>
                <a:gd name="T77" fmla="*/ 2147483647 h 511"/>
                <a:gd name="T78" fmla="*/ 2147483647 w 567"/>
                <a:gd name="T79" fmla="*/ 2147483647 h 5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7"/>
                <a:gd name="T121" fmla="*/ 0 h 511"/>
                <a:gd name="T122" fmla="*/ 567 w 567"/>
                <a:gd name="T123" fmla="*/ 511 h 51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03" name="Freeform 130">
              <a:extLst>
                <a:ext uri="{FF2B5EF4-FFF2-40B4-BE49-F238E27FC236}">
                  <a16:creationId xmlns:a16="http://schemas.microsoft.com/office/drawing/2014/main" id="{2C5B3371-0656-EE49-A192-4096893D5D24}"/>
                </a:ext>
              </a:extLst>
            </p:cNvPr>
            <p:cNvSpPr>
              <a:spLocks/>
            </p:cNvSpPr>
            <p:nvPr>
              <p:custDataLst>
                <p:tags r:id="rId96"/>
              </p:custDataLst>
            </p:nvPr>
          </p:nvSpPr>
          <p:spPr bwMode="auto">
            <a:xfrm>
              <a:off x="5838732" y="3500263"/>
              <a:ext cx="308801" cy="489073"/>
            </a:xfrm>
            <a:custGeom>
              <a:avLst/>
              <a:gdLst>
                <a:gd name="T0" fmla="*/ 2147483647 w 496"/>
                <a:gd name="T1" fmla="*/ 2147483647 h 866"/>
                <a:gd name="T2" fmla="*/ 2147483647 w 496"/>
                <a:gd name="T3" fmla="*/ 0 h 866"/>
                <a:gd name="T4" fmla="*/ 2147483647 w 496"/>
                <a:gd name="T5" fmla="*/ 2147483647 h 866"/>
                <a:gd name="T6" fmla="*/ 2147483647 w 496"/>
                <a:gd name="T7" fmla="*/ 2147483647 h 866"/>
                <a:gd name="T8" fmla="*/ 2147483647 w 496"/>
                <a:gd name="T9" fmla="*/ 2147483647 h 866"/>
                <a:gd name="T10" fmla="*/ 2147483647 w 496"/>
                <a:gd name="T11" fmla="*/ 2147483647 h 866"/>
                <a:gd name="T12" fmla="*/ 2147483647 w 496"/>
                <a:gd name="T13" fmla="*/ 2147483647 h 866"/>
                <a:gd name="T14" fmla="*/ 2147483647 w 496"/>
                <a:gd name="T15" fmla="*/ 2147483647 h 866"/>
                <a:gd name="T16" fmla="*/ 2147483647 w 496"/>
                <a:gd name="T17" fmla="*/ 2147483647 h 866"/>
                <a:gd name="T18" fmla="*/ 2147483647 w 496"/>
                <a:gd name="T19" fmla="*/ 2147483647 h 866"/>
                <a:gd name="T20" fmla="*/ 2147483647 w 496"/>
                <a:gd name="T21" fmla="*/ 2147483647 h 866"/>
                <a:gd name="T22" fmla="*/ 2147483647 w 496"/>
                <a:gd name="T23" fmla="*/ 2147483647 h 866"/>
                <a:gd name="T24" fmla="*/ 2147483647 w 496"/>
                <a:gd name="T25" fmla="*/ 2147483647 h 866"/>
                <a:gd name="T26" fmla="*/ 2147483647 w 496"/>
                <a:gd name="T27" fmla="*/ 2147483647 h 866"/>
                <a:gd name="T28" fmla="*/ 2147483647 w 496"/>
                <a:gd name="T29" fmla="*/ 2147483647 h 866"/>
                <a:gd name="T30" fmla="*/ 2147483647 w 496"/>
                <a:gd name="T31" fmla="*/ 2147483647 h 866"/>
                <a:gd name="T32" fmla="*/ 2147483647 w 496"/>
                <a:gd name="T33" fmla="*/ 2147483647 h 866"/>
                <a:gd name="T34" fmla="*/ 2147483647 w 496"/>
                <a:gd name="T35" fmla="*/ 2147483647 h 866"/>
                <a:gd name="T36" fmla="*/ 2147483647 w 496"/>
                <a:gd name="T37" fmla="*/ 2147483647 h 866"/>
                <a:gd name="T38" fmla="*/ 2147483647 w 496"/>
                <a:gd name="T39" fmla="*/ 2147483647 h 866"/>
                <a:gd name="T40" fmla="*/ 2147483647 w 496"/>
                <a:gd name="T41" fmla="*/ 2147483647 h 866"/>
                <a:gd name="T42" fmla="*/ 2147483647 w 496"/>
                <a:gd name="T43" fmla="*/ 2147483647 h 866"/>
                <a:gd name="T44" fmla="*/ 2147483647 w 496"/>
                <a:gd name="T45" fmla="*/ 2147483647 h 866"/>
                <a:gd name="T46" fmla="*/ 2147483647 w 496"/>
                <a:gd name="T47" fmla="*/ 2147483647 h 866"/>
                <a:gd name="T48" fmla="*/ 2147483647 w 496"/>
                <a:gd name="T49" fmla="*/ 2147483647 h 866"/>
                <a:gd name="T50" fmla="*/ 2147483647 w 496"/>
                <a:gd name="T51" fmla="*/ 2147483647 h 866"/>
                <a:gd name="T52" fmla="*/ 2147483647 w 496"/>
                <a:gd name="T53" fmla="*/ 2147483647 h 866"/>
                <a:gd name="T54" fmla="*/ 2147483647 w 496"/>
                <a:gd name="T55" fmla="*/ 2147483647 h 866"/>
                <a:gd name="T56" fmla="*/ 2147483647 w 496"/>
                <a:gd name="T57" fmla="*/ 2147483647 h 866"/>
                <a:gd name="T58" fmla="*/ 2147483647 w 496"/>
                <a:gd name="T59" fmla="*/ 2147483647 h 866"/>
                <a:gd name="T60" fmla="*/ 2147483647 w 496"/>
                <a:gd name="T61" fmla="*/ 2147483647 h 866"/>
                <a:gd name="T62" fmla="*/ 2147483647 w 496"/>
                <a:gd name="T63" fmla="*/ 2147483647 h 866"/>
                <a:gd name="T64" fmla="*/ 2147483647 w 496"/>
                <a:gd name="T65" fmla="*/ 2147483647 h 86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866"/>
                <a:gd name="T101" fmla="*/ 496 w 496"/>
                <a:gd name="T102" fmla="*/ 866 h 86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04" name="Freeform 131">
              <a:extLst>
                <a:ext uri="{FF2B5EF4-FFF2-40B4-BE49-F238E27FC236}">
                  <a16:creationId xmlns:a16="http://schemas.microsoft.com/office/drawing/2014/main" id="{EFCFEC42-F0FC-9A4A-A71A-9ECDF297D768}"/>
                </a:ext>
              </a:extLst>
            </p:cNvPr>
            <p:cNvSpPr>
              <a:spLocks/>
            </p:cNvSpPr>
            <p:nvPr>
              <p:custDataLst>
                <p:tags r:id="rId97"/>
              </p:custDataLst>
            </p:nvPr>
          </p:nvSpPr>
          <p:spPr bwMode="auto">
            <a:xfrm>
              <a:off x="5089266" y="3455196"/>
              <a:ext cx="484065" cy="450682"/>
            </a:xfrm>
            <a:custGeom>
              <a:avLst/>
              <a:gdLst>
                <a:gd name="T0" fmla="*/ 2147483647 w 778"/>
                <a:gd name="T1" fmla="*/ 2147483647 h 800"/>
                <a:gd name="T2" fmla="*/ 2147483647 w 778"/>
                <a:gd name="T3" fmla="*/ 2147483647 h 800"/>
                <a:gd name="T4" fmla="*/ 2147483647 w 778"/>
                <a:gd name="T5" fmla="*/ 2147483647 h 800"/>
                <a:gd name="T6" fmla="*/ 2147483647 w 778"/>
                <a:gd name="T7" fmla="*/ 2147483647 h 800"/>
                <a:gd name="T8" fmla="*/ 2147483647 w 778"/>
                <a:gd name="T9" fmla="*/ 2147483647 h 800"/>
                <a:gd name="T10" fmla="*/ 2147483647 w 778"/>
                <a:gd name="T11" fmla="*/ 2147483647 h 800"/>
                <a:gd name="T12" fmla="*/ 2147483647 w 778"/>
                <a:gd name="T13" fmla="*/ 2147483647 h 800"/>
                <a:gd name="T14" fmla="*/ 2147483647 w 778"/>
                <a:gd name="T15" fmla="*/ 2147483647 h 800"/>
                <a:gd name="T16" fmla="*/ 2147483647 w 778"/>
                <a:gd name="T17" fmla="*/ 2147483647 h 800"/>
                <a:gd name="T18" fmla="*/ 2147483647 w 778"/>
                <a:gd name="T19" fmla="*/ 2147483647 h 800"/>
                <a:gd name="T20" fmla="*/ 2147483647 w 778"/>
                <a:gd name="T21" fmla="*/ 2147483647 h 800"/>
                <a:gd name="T22" fmla="*/ 2147483647 w 778"/>
                <a:gd name="T23" fmla="*/ 2147483647 h 800"/>
                <a:gd name="T24" fmla="*/ 2147483647 w 778"/>
                <a:gd name="T25" fmla="*/ 2147483647 h 800"/>
                <a:gd name="T26" fmla="*/ 2147483647 w 778"/>
                <a:gd name="T27" fmla="*/ 2147483647 h 800"/>
                <a:gd name="T28" fmla="*/ 2147483647 w 778"/>
                <a:gd name="T29" fmla="*/ 2147483647 h 800"/>
                <a:gd name="T30" fmla="*/ 2147483647 w 778"/>
                <a:gd name="T31" fmla="*/ 2147483647 h 800"/>
                <a:gd name="T32" fmla="*/ 2147483647 w 778"/>
                <a:gd name="T33" fmla="*/ 2147483647 h 800"/>
                <a:gd name="T34" fmla="*/ 2147483647 w 778"/>
                <a:gd name="T35" fmla="*/ 2147483647 h 800"/>
                <a:gd name="T36" fmla="*/ 2147483647 w 778"/>
                <a:gd name="T37" fmla="*/ 2147483647 h 800"/>
                <a:gd name="T38" fmla="*/ 2147483647 w 778"/>
                <a:gd name="T39" fmla="*/ 2147483647 h 800"/>
                <a:gd name="T40" fmla="*/ 2147483647 w 778"/>
                <a:gd name="T41" fmla="*/ 2147483647 h 800"/>
                <a:gd name="T42" fmla="*/ 2147483647 w 778"/>
                <a:gd name="T43" fmla="*/ 2147483647 h 800"/>
                <a:gd name="T44" fmla="*/ 2147483647 w 778"/>
                <a:gd name="T45" fmla="*/ 2147483647 h 800"/>
                <a:gd name="T46" fmla="*/ 2147483647 w 778"/>
                <a:gd name="T47" fmla="*/ 2147483647 h 800"/>
                <a:gd name="T48" fmla="*/ 0 w 778"/>
                <a:gd name="T49" fmla="*/ 2147483647 h 800"/>
                <a:gd name="T50" fmla="*/ 2147483647 w 778"/>
                <a:gd name="T51" fmla="*/ 2147483647 h 800"/>
                <a:gd name="T52" fmla="*/ 2147483647 w 778"/>
                <a:gd name="T53" fmla="*/ 2147483647 h 800"/>
                <a:gd name="T54" fmla="*/ 2147483647 w 778"/>
                <a:gd name="T55" fmla="*/ 2147483647 h 800"/>
                <a:gd name="T56" fmla="*/ 2147483647 w 778"/>
                <a:gd name="T57" fmla="*/ 2147483647 h 800"/>
                <a:gd name="T58" fmla="*/ 2147483647 w 778"/>
                <a:gd name="T59" fmla="*/ 2147483647 h 800"/>
                <a:gd name="T60" fmla="*/ 2147483647 w 778"/>
                <a:gd name="T61" fmla="*/ 2147483647 h 800"/>
                <a:gd name="T62" fmla="*/ 2147483647 w 778"/>
                <a:gd name="T63" fmla="*/ 2147483647 h 800"/>
                <a:gd name="T64" fmla="*/ 2147483647 w 778"/>
                <a:gd name="T65" fmla="*/ 2147483647 h 800"/>
                <a:gd name="T66" fmla="*/ 2147483647 w 778"/>
                <a:gd name="T67" fmla="*/ 2147483647 h 800"/>
                <a:gd name="T68" fmla="*/ 2147483647 w 778"/>
                <a:gd name="T69" fmla="*/ 2147483647 h 800"/>
                <a:gd name="T70" fmla="*/ 2147483647 w 778"/>
                <a:gd name="T71" fmla="*/ 2147483647 h 800"/>
                <a:gd name="T72" fmla="*/ 2147483647 w 778"/>
                <a:gd name="T73" fmla="*/ 2147483647 h 800"/>
                <a:gd name="T74" fmla="*/ 2147483647 w 778"/>
                <a:gd name="T75" fmla="*/ 2147483647 h 800"/>
                <a:gd name="T76" fmla="*/ 2147483647 w 778"/>
                <a:gd name="T77" fmla="*/ 2147483647 h 800"/>
                <a:gd name="T78" fmla="*/ 2147483647 w 778"/>
                <a:gd name="T79" fmla="*/ 2147483647 h 800"/>
                <a:gd name="T80" fmla="*/ 2147483647 w 778"/>
                <a:gd name="T81" fmla="*/ 2147483647 h 800"/>
                <a:gd name="T82" fmla="*/ 2147483647 w 778"/>
                <a:gd name="T83" fmla="*/ 2147483647 h 800"/>
                <a:gd name="T84" fmla="*/ 2147483647 w 778"/>
                <a:gd name="T85" fmla="*/ 2147483647 h 800"/>
                <a:gd name="T86" fmla="*/ 2147483647 w 778"/>
                <a:gd name="T87" fmla="*/ 2147483647 h 800"/>
                <a:gd name="T88" fmla="*/ 2147483647 w 778"/>
                <a:gd name="T89" fmla="*/ 2147483647 h 800"/>
                <a:gd name="T90" fmla="*/ 2147483647 w 778"/>
                <a:gd name="T91" fmla="*/ 2147483647 h 800"/>
                <a:gd name="T92" fmla="*/ 2147483647 w 778"/>
                <a:gd name="T93" fmla="*/ 2147483647 h 800"/>
                <a:gd name="T94" fmla="*/ 2147483647 w 778"/>
                <a:gd name="T95" fmla="*/ 2147483647 h 8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
                <a:gd name="T145" fmla="*/ 0 h 800"/>
                <a:gd name="T146" fmla="*/ 778 w 778"/>
                <a:gd name="T147" fmla="*/ 800 h 8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05" name="Freeform 132">
              <a:extLst>
                <a:ext uri="{FF2B5EF4-FFF2-40B4-BE49-F238E27FC236}">
                  <a16:creationId xmlns:a16="http://schemas.microsoft.com/office/drawing/2014/main" id="{01911A55-9DD2-9D44-9C3F-32EF7BA3499A}"/>
                </a:ext>
              </a:extLst>
            </p:cNvPr>
            <p:cNvSpPr>
              <a:spLocks/>
            </p:cNvSpPr>
            <p:nvPr>
              <p:custDataLst>
                <p:tags r:id="rId98"/>
              </p:custDataLst>
            </p:nvPr>
          </p:nvSpPr>
          <p:spPr bwMode="auto">
            <a:xfrm>
              <a:off x="4942377" y="3705574"/>
              <a:ext cx="171926" cy="138542"/>
            </a:xfrm>
            <a:custGeom>
              <a:avLst/>
              <a:gdLst>
                <a:gd name="T0" fmla="*/ 2147483647 w 276"/>
                <a:gd name="T1" fmla="*/ 2147483647 h 246"/>
                <a:gd name="T2" fmla="*/ 2147483647 w 276"/>
                <a:gd name="T3" fmla="*/ 2147483647 h 246"/>
                <a:gd name="T4" fmla="*/ 2147483647 w 276"/>
                <a:gd name="T5" fmla="*/ 2147483647 h 246"/>
                <a:gd name="T6" fmla="*/ 2147483647 w 276"/>
                <a:gd name="T7" fmla="*/ 2147483647 h 246"/>
                <a:gd name="T8" fmla="*/ 2147483647 w 276"/>
                <a:gd name="T9" fmla="*/ 2147483647 h 246"/>
                <a:gd name="T10" fmla="*/ 2147483647 w 276"/>
                <a:gd name="T11" fmla="*/ 2147483647 h 246"/>
                <a:gd name="T12" fmla="*/ 2147483647 w 276"/>
                <a:gd name="T13" fmla="*/ 2147483647 h 246"/>
                <a:gd name="T14" fmla="*/ 2147483647 w 276"/>
                <a:gd name="T15" fmla="*/ 2147483647 h 246"/>
                <a:gd name="T16" fmla="*/ 2147483647 w 276"/>
                <a:gd name="T17" fmla="*/ 2147483647 h 246"/>
                <a:gd name="T18" fmla="*/ 2147483647 w 276"/>
                <a:gd name="T19" fmla="*/ 2147483647 h 246"/>
                <a:gd name="T20" fmla="*/ 2147483647 w 276"/>
                <a:gd name="T21" fmla="*/ 2147483647 h 246"/>
                <a:gd name="T22" fmla="*/ 2147483647 w 276"/>
                <a:gd name="T23" fmla="*/ 2147483647 h 246"/>
                <a:gd name="T24" fmla="*/ 2147483647 w 276"/>
                <a:gd name="T25" fmla="*/ 2147483647 h 246"/>
                <a:gd name="T26" fmla="*/ 2147483647 w 276"/>
                <a:gd name="T27" fmla="*/ 2147483647 h 246"/>
                <a:gd name="T28" fmla="*/ 2147483647 w 276"/>
                <a:gd name="T29" fmla="*/ 0 h 246"/>
                <a:gd name="T30" fmla="*/ 2147483647 w 276"/>
                <a:gd name="T31" fmla="*/ 2147483647 h 246"/>
                <a:gd name="T32" fmla="*/ 2147483647 w 276"/>
                <a:gd name="T33" fmla="*/ 2147483647 h 246"/>
                <a:gd name="T34" fmla="*/ 2147483647 w 276"/>
                <a:gd name="T35" fmla="*/ 2147483647 h 246"/>
                <a:gd name="T36" fmla="*/ 2147483647 w 276"/>
                <a:gd name="T37" fmla="*/ 2147483647 h 246"/>
                <a:gd name="T38" fmla="*/ 2147483647 w 276"/>
                <a:gd name="T39" fmla="*/ 2147483647 h 246"/>
                <a:gd name="T40" fmla="*/ 2147483647 w 276"/>
                <a:gd name="T41" fmla="*/ 2147483647 h 246"/>
                <a:gd name="T42" fmla="*/ 2147483647 w 276"/>
                <a:gd name="T43" fmla="*/ 2147483647 h 246"/>
                <a:gd name="T44" fmla="*/ 0 w 276"/>
                <a:gd name="T45" fmla="*/ 2147483647 h 246"/>
                <a:gd name="T46" fmla="*/ 2147483647 w 276"/>
                <a:gd name="T47" fmla="*/ 2147483647 h 246"/>
                <a:gd name="T48" fmla="*/ 2147483647 w 276"/>
                <a:gd name="T49" fmla="*/ 2147483647 h 246"/>
                <a:gd name="T50" fmla="*/ 2147483647 w 276"/>
                <a:gd name="T51" fmla="*/ 2147483647 h 246"/>
                <a:gd name="T52" fmla="*/ 2147483647 w 276"/>
                <a:gd name="T53" fmla="*/ 2147483647 h 246"/>
                <a:gd name="T54" fmla="*/ 2147483647 w 276"/>
                <a:gd name="T55" fmla="*/ 2147483647 h 246"/>
                <a:gd name="T56" fmla="*/ 2147483647 w 276"/>
                <a:gd name="T57" fmla="*/ 2147483647 h 246"/>
                <a:gd name="T58" fmla="*/ 2147483647 w 276"/>
                <a:gd name="T59" fmla="*/ 2147483647 h 246"/>
                <a:gd name="T60" fmla="*/ 2147483647 w 276"/>
                <a:gd name="T61" fmla="*/ 2147483647 h 246"/>
                <a:gd name="T62" fmla="*/ 2147483647 w 276"/>
                <a:gd name="T63" fmla="*/ 2147483647 h 246"/>
                <a:gd name="T64" fmla="*/ 2147483647 w 276"/>
                <a:gd name="T65" fmla="*/ 2147483647 h 246"/>
                <a:gd name="T66" fmla="*/ 2147483647 w 276"/>
                <a:gd name="T67" fmla="*/ 2147483647 h 246"/>
                <a:gd name="T68" fmla="*/ 2147483647 w 276"/>
                <a:gd name="T69" fmla="*/ 2147483647 h 246"/>
                <a:gd name="T70" fmla="*/ 2147483647 w 276"/>
                <a:gd name="T71" fmla="*/ 2147483647 h 246"/>
                <a:gd name="T72" fmla="*/ 2147483647 w 276"/>
                <a:gd name="T73" fmla="*/ 2147483647 h 246"/>
                <a:gd name="T74" fmla="*/ 2147483647 w 276"/>
                <a:gd name="T75" fmla="*/ 2147483647 h 246"/>
                <a:gd name="T76" fmla="*/ 2147483647 w 276"/>
                <a:gd name="T77" fmla="*/ 2147483647 h 246"/>
                <a:gd name="T78" fmla="*/ 2147483647 w 276"/>
                <a:gd name="T79" fmla="*/ 2147483647 h 246"/>
                <a:gd name="T80" fmla="*/ 2147483647 w 276"/>
                <a:gd name="T81" fmla="*/ 2147483647 h 246"/>
                <a:gd name="T82" fmla="*/ 2147483647 w 276"/>
                <a:gd name="T83" fmla="*/ 2147483647 h 246"/>
                <a:gd name="T84" fmla="*/ 2147483647 w 276"/>
                <a:gd name="T85" fmla="*/ 2147483647 h 246"/>
                <a:gd name="T86" fmla="*/ 2147483647 w 276"/>
                <a:gd name="T87" fmla="*/ 2147483647 h 246"/>
                <a:gd name="T88" fmla="*/ 2147483647 w 276"/>
                <a:gd name="T89" fmla="*/ 2147483647 h 246"/>
                <a:gd name="T90" fmla="*/ 2147483647 w 276"/>
                <a:gd name="T91" fmla="*/ 2147483647 h 246"/>
                <a:gd name="T92" fmla="*/ 2147483647 w 276"/>
                <a:gd name="T93" fmla="*/ 2147483647 h 246"/>
                <a:gd name="T94" fmla="*/ 2147483647 w 276"/>
                <a:gd name="T95" fmla="*/ 2147483647 h 246"/>
                <a:gd name="T96" fmla="*/ 2147483647 w 276"/>
                <a:gd name="T97" fmla="*/ 2147483647 h 246"/>
                <a:gd name="T98" fmla="*/ 2147483647 w 276"/>
                <a:gd name="T99" fmla="*/ 2147483647 h 246"/>
                <a:gd name="T100" fmla="*/ 2147483647 w 276"/>
                <a:gd name="T101" fmla="*/ 2147483647 h 246"/>
                <a:gd name="T102" fmla="*/ 2147483647 w 276"/>
                <a:gd name="T103" fmla="*/ 2147483647 h 246"/>
                <a:gd name="T104" fmla="*/ 2147483647 w 276"/>
                <a:gd name="T105" fmla="*/ 2147483647 h 246"/>
                <a:gd name="T106" fmla="*/ 2147483647 w 276"/>
                <a:gd name="T107" fmla="*/ 2147483647 h 246"/>
                <a:gd name="T108" fmla="*/ 2147483647 w 276"/>
                <a:gd name="T109" fmla="*/ 2147483647 h 246"/>
                <a:gd name="T110" fmla="*/ 2147483647 w 276"/>
                <a:gd name="T111" fmla="*/ 2147483647 h 246"/>
                <a:gd name="T112" fmla="*/ 2147483647 w 276"/>
                <a:gd name="T113" fmla="*/ 2147483647 h 246"/>
                <a:gd name="T114" fmla="*/ 2147483647 w 276"/>
                <a:gd name="T115" fmla="*/ 2147483647 h 2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6"/>
                <a:gd name="T175" fmla="*/ 0 h 246"/>
                <a:gd name="T176" fmla="*/ 276 w 276"/>
                <a:gd name="T177" fmla="*/ 246 h 2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06" name="Freeform 133">
              <a:extLst>
                <a:ext uri="{FF2B5EF4-FFF2-40B4-BE49-F238E27FC236}">
                  <a16:creationId xmlns:a16="http://schemas.microsoft.com/office/drawing/2014/main" id="{04D19E71-D3B1-5547-B248-900EDA560D3C}"/>
                </a:ext>
              </a:extLst>
            </p:cNvPr>
            <p:cNvSpPr>
              <a:spLocks/>
            </p:cNvSpPr>
            <p:nvPr>
              <p:custDataLst>
                <p:tags r:id="rId99"/>
              </p:custDataLst>
            </p:nvPr>
          </p:nvSpPr>
          <p:spPr bwMode="auto">
            <a:xfrm>
              <a:off x="5010814" y="3827424"/>
              <a:ext cx="213657" cy="166920"/>
            </a:xfrm>
            <a:custGeom>
              <a:avLst/>
              <a:gdLst>
                <a:gd name="T0" fmla="*/ 2147483647 w 345"/>
                <a:gd name="T1" fmla="*/ 2147483647 h 296"/>
                <a:gd name="T2" fmla="*/ 2147483647 w 345"/>
                <a:gd name="T3" fmla="*/ 2147483647 h 296"/>
                <a:gd name="T4" fmla="*/ 2147483647 w 345"/>
                <a:gd name="T5" fmla="*/ 2147483647 h 296"/>
                <a:gd name="T6" fmla="*/ 0 w 345"/>
                <a:gd name="T7" fmla="*/ 2147483647 h 296"/>
                <a:gd name="T8" fmla="*/ 2147483647 w 345"/>
                <a:gd name="T9" fmla="*/ 2147483647 h 296"/>
                <a:gd name="T10" fmla="*/ 2147483647 w 345"/>
                <a:gd name="T11" fmla="*/ 2147483647 h 296"/>
                <a:gd name="T12" fmla="*/ 2147483647 w 345"/>
                <a:gd name="T13" fmla="*/ 2147483647 h 296"/>
                <a:gd name="T14" fmla="*/ 2147483647 w 345"/>
                <a:gd name="T15" fmla="*/ 2147483647 h 296"/>
                <a:gd name="T16" fmla="*/ 2147483647 w 345"/>
                <a:gd name="T17" fmla="*/ 2147483647 h 296"/>
                <a:gd name="T18" fmla="*/ 2147483647 w 345"/>
                <a:gd name="T19" fmla="*/ 2147483647 h 296"/>
                <a:gd name="T20" fmla="*/ 2147483647 w 345"/>
                <a:gd name="T21" fmla="*/ 2147483647 h 296"/>
                <a:gd name="T22" fmla="*/ 2147483647 w 345"/>
                <a:gd name="T23" fmla="*/ 2147483647 h 296"/>
                <a:gd name="T24" fmla="*/ 2147483647 w 345"/>
                <a:gd name="T25" fmla="*/ 2147483647 h 296"/>
                <a:gd name="T26" fmla="*/ 2147483647 w 345"/>
                <a:gd name="T27" fmla="*/ 2147483647 h 296"/>
                <a:gd name="T28" fmla="*/ 2147483647 w 345"/>
                <a:gd name="T29" fmla="*/ 2147483647 h 296"/>
                <a:gd name="T30" fmla="*/ 2147483647 w 345"/>
                <a:gd name="T31" fmla="*/ 2147483647 h 296"/>
                <a:gd name="T32" fmla="*/ 2147483647 w 345"/>
                <a:gd name="T33" fmla="*/ 2147483647 h 296"/>
                <a:gd name="T34" fmla="*/ 2147483647 w 345"/>
                <a:gd name="T35" fmla="*/ 2147483647 h 296"/>
                <a:gd name="T36" fmla="*/ 2147483647 w 345"/>
                <a:gd name="T37" fmla="*/ 2147483647 h 296"/>
                <a:gd name="T38" fmla="*/ 2147483647 w 345"/>
                <a:gd name="T39" fmla="*/ 2147483647 h 296"/>
                <a:gd name="T40" fmla="*/ 2147483647 w 345"/>
                <a:gd name="T41" fmla="*/ 2147483647 h 296"/>
                <a:gd name="T42" fmla="*/ 2147483647 w 345"/>
                <a:gd name="T43" fmla="*/ 2147483647 h 296"/>
                <a:gd name="T44" fmla="*/ 2147483647 w 345"/>
                <a:gd name="T45" fmla="*/ 2147483647 h 296"/>
                <a:gd name="T46" fmla="*/ 2147483647 w 345"/>
                <a:gd name="T47" fmla="*/ 2147483647 h 296"/>
                <a:gd name="T48" fmla="*/ 2147483647 w 345"/>
                <a:gd name="T49" fmla="*/ 2147483647 h 296"/>
                <a:gd name="T50" fmla="*/ 2147483647 w 345"/>
                <a:gd name="T51" fmla="*/ 2147483647 h 296"/>
                <a:gd name="T52" fmla="*/ 2147483647 w 345"/>
                <a:gd name="T53" fmla="*/ 2147483647 h 296"/>
                <a:gd name="T54" fmla="*/ 2147483647 w 345"/>
                <a:gd name="T55" fmla="*/ 2147483647 h 296"/>
                <a:gd name="T56" fmla="*/ 2147483647 w 345"/>
                <a:gd name="T57" fmla="*/ 2147483647 h 296"/>
                <a:gd name="T58" fmla="*/ 2147483647 w 345"/>
                <a:gd name="T59" fmla="*/ 2147483647 h 296"/>
                <a:gd name="T60" fmla="*/ 2147483647 w 345"/>
                <a:gd name="T61" fmla="*/ 2147483647 h 296"/>
                <a:gd name="T62" fmla="*/ 2147483647 w 345"/>
                <a:gd name="T63" fmla="*/ 2147483647 h 296"/>
                <a:gd name="T64" fmla="*/ 2147483647 w 345"/>
                <a:gd name="T65" fmla="*/ 0 h 29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296"/>
                <a:gd name="T101" fmla="*/ 345 w 345"/>
                <a:gd name="T102" fmla="*/ 296 h 29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07" name="Freeform 134">
              <a:extLst>
                <a:ext uri="{FF2B5EF4-FFF2-40B4-BE49-F238E27FC236}">
                  <a16:creationId xmlns:a16="http://schemas.microsoft.com/office/drawing/2014/main" id="{1AB35278-F678-7F48-924D-C898E2B486AC}"/>
                </a:ext>
              </a:extLst>
            </p:cNvPr>
            <p:cNvSpPr>
              <a:spLocks/>
            </p:cNvSpPr>
            <p:nvPr>
              <p:custDataLst>
                <p:tags r:id="rId100"/>
              </p:custDataLst>
            </p:nvPr>
          </p:nvSpPr>
          <p:spPr bwMode="auto">
            <a:xfrm>
              <a:off x="4962407" y="3391766"/>
              <a:ext cx="353869" cy="373899"/>
            </a:xfrm>
            <a:custGeom>
              <a:avLst/>
              <a:gdLst>
                <a:gd name="T0" fmla="*/ 0 w 572"/>
                <a:gd name="T1" fmla="*/ 2147483647 h 670"/>
                <a:gd name="T2" fmla="*/ 2147483647 w 572"/>
                <a:gd name="T3" fmla="*/ 2147483647 h 670"/>
                <a:gd name="T4" fmla="*/ 2147483647 w 572"/>
                <a:gd name="T5" fmla="*/ 2147483647 h 670"/>
                <a:gd name="T6" fmla="*/ 2147483647 w 572"/>
                <a:gd name="T7" fmla="*/ 2147483647 h 670"/>
                <a:gd name="T8" fmla="*/ 2147483647 w 572"/>
                <a:gd name="T9" fmla="*/ 2147483647 h 670"/>
                <a:gd name="T10" fmla="*/ 2147483647 w 572"/>
                <a:gd name="T11" fmla="*/ 2147483647 h 670"/>
                <a:gd name="T12" fmla="*/ 2147483647 w 572"/>
                <a:gd name="T13" fmla="*/ 2147483647 h 670"/>
                <a:gd name="T14" fmla="*/ 2147483647 w 572"/>
                <a:gd name="T15" fmla="*/ 2147483647 h 670"/>
                <a:gd name="T16" fmla="*/ 2147483647 w 572"/>
                <a:gd name="T17" fmla="*/ 2147483647 h 670"/>
                <a:gd name="T18" fmla="*/ 2147483647 w 572"/>
                <a:gd name="T19" fmla="*/ 2147483647 h 670"/>
                <a:gd name="T20" fmla="*/ 2147483647 w 572"/>
                <a:gd name="T21" fmla="*/ 2147483647 h 670"/>
                <a:gd name="T22" fmla="*/ 2147483647 w 572"/>
                <a:gd name="T23" fmla="*/ 2147483647 h 670"/>
                <a:gd name="T24" fmla="*/ 2147483647 w 572"/>
                <a:gd name="T25" fmla="*/ 2147483647 h 670"/>
                <a:gd name="T26" fmla="*/ 2147483647 w 572"/>
                <a:gd name="T27" fmla="*/ 2147483647 h 670"/>
                <a:gd name="T28" fmla="*/ 2147483647 w 572"/>
                <a:gd name="T29" fmla="*/ 2147483647 h 670"/>
                <a:gd name="T30" fmla="*/ 2147483647 w 572"/>
                <a:gd name="T31" fmla="*/ 2147483647 h 670"/>
                <a:gd name="T32" fmla="*/ 2147483647 w 572"/>
                <a:gd name="T33" fmla="*/ 2147483647 h 670"/>
                <a:gd name="T34" fmla="*/ 2147483647 w 572"/>
                <a:gd name="T35" fmla="*/ 2147483647 h 670"/>
                <a:gd name="T36" fmla="*/ 2147483647 w 572"/>
                <a:gd name="T37" fmla="*/ 2147483647 h 670"/>
                <a:gd name="T38" fmla="*/ 2147483647 w 572"/>
                <a:gd name="T39" fmla="*/ 2147483647 h 670"/>
                <a:gd name="T40" fmla="*/ 2147483647 w 572"/>
                <a:gd name="T41" fmla="*/ 2147483647 h 670"/>
                <a:gd name="T42" fmla="*/ 2147483647 w 572"/>
                <a:gd name="T43" fmla="*/ 2147483647 h 670"/>
                <a:gd name="T44" fmla="*/ 2147483647 w 572"/>
                <a:gd name="T45" fmla="*/ 2147483647 h 670"/>
                <a:gd name="T46" fmla="*/ 2147483647 w 572"/>
                <a:gd name="T47" fmla="*/ 2147483647 h 670"/>
                <a:gd name="T48" fmla="*/ 2147483647 w 572"/>
                <a:gd name="T49" fmla="*/ 2147483647 h 670"/>
                <a:gd name="T50" fmla="*/ 2147483647 w 572"/>
                <a:gd name="T51" fmla="*/ 2147483647 h 670"/>
                <a:gd name="T52" fmla="*/ 2147483647 w 572"/>
                <a:gd name="T53" fmla="*/ 2147483647 h 670"/>
                <a:gd name="T54" fmla="*/ 2147483647 w 572"/>
                <a:gd name="T55" fmla="*/ 2147483647 h 670"/>
                <a:gd name="T56" fmla="*/ 2147483647 w 572"/>
                <a:gd name="T57" fmla="*/ 2147483647 h 670"/>
                <a:gd name="T58" fmla="*/ 2147483647 w 572"/>
                <a:gd name="T59" fmla="*/ 2147483647 h 670"/>
                <a:gd name="T60" fmla="*/ 2147483647 w 572"/>
                <a:gd name="T61" fmla="*/ 2147483647 h 670"/>
                <a:gd name="T62" fmla="*/ 2147483647 w 572"/>
                <a:gd name="T63" fmla="*/ 2147483647 h 670"/>
                <a:gd name="T64" fmla="*/ 2147483647 w 572"/>
                <a:gd name="T65" fmla="*/ 2147483647 h 670"/>
                <a:gd name="T66" fmla="*/ 2147483647 w 572"/>
                <a:gd name="T67" fmla="*/ 2147483647 h 670"/>
                <a:gd name="T68" fmla="*/ 2147483647 w 572"/>
                <a:gd name="T69" fmla="*/ 2147483647 h 670"/>
                <a:gd name="T70" fmla="*/ 2147483647 w 572"/>
                <a:gd name="T71" fmla="*/ 2147483647 h 670"/>
                <a:gd name="T72" fmla="*/ 2147483647 w 572"/>
                <a:gd name="T73" fmla="*/ 2147483647 h 670"/>
                <a:gd name="T74" fmla="*/ 2147483647 w 572"/>
                <a:gd name="T75" fmla="*/ 2147483647 h 670"/>
                <a:gd name="T76" fmla="*/ 2147483647 w 572"/>
                <a:gd name="T77" fmla="*/ 2147483647 h 670"/>
                <a:gd name="T78" fmla="*/ 2147483647 w 572"/>
                <a:gd name="T79" fmla="*/ 2147483647 h 670"/>
                <a:gd name="T80" fmla="*/ 2147483647 w 572"/>
                <a:gd name="T81" fmla="*/ 2147483647 h 670"/>
                <a:gd name="T82" fmla="*/ 2147483647 w 572"/>
                <a:gd name="T83" fmla="*/ 2147483647 h 670"/>
                <a:gd name="T84" fmla="*/ 2147483647 w 572"/>
                <a:gd name="T85" fmla="*/ 2147483647 h 670"/>
                <a:gd name="T86" fmla="*/ 2147483647 w 572"/>
                <a:gd name="T87" fmla="*/ 2147483647 h 670"/>
                <a:gd name="T88" fmla="*/ 2147483647 w 572"/>
                <a:gd name="T89" fmla="*/ 0 h 670"/>
                <a:gd name="T90" fmla="*/ 2147483647 w 572"/>
                <a:gd name="T91" fmla="*/ 2147483647 h 670"/>
                <a:gd name="T92" fmla="*/ 2147483647 w 572"/>
                <a:gd name="T93" fmla="*/ 2147483647 h 670"/>
                <a:gd name="T94" fmla="*/ 2147483647 w 572"/>
                <a:gd name="T95" fmla="*/ 2147483647 h 670"/>
                <a:gd name="T96" fmla="*/ 2147483647 w 572"/>
                <a:gd name="T97" fmla="*/ 2147483647 h 670"/>
                <a:gd name="T98" fmla="*/ 2147483647 w 572"/>
                <a:gd name="T99" fmla="*/ 2147483647 h 670"/>
                <a:gd name="T100" fmla="*/ 2147483647 w 572"/>
                <a:gd name="T101" fmla="*/ 2147483647 h 670"/>
                <a:gd name="T102" fmla="*/ 2147483647 w 572"/>
                <a:gd name="T103" fmla="*/ 2147483647 h 670"/>
                <a:gd name="T104" fmla="*/ 2147483647 w 572"/>
                <a:gd name="T105" fmla="*/ 2147483647 h 670"/>
                <a:gd name="T106" fmla="*/ 2147483647 w 572"/>
                <a:gd name="T107" fmla="*/ 2147483647 h 670"/>
                <a:gd name="T108" fmla="*/ 2147483647 w 572"/>
                <a:gd name="T109" fmla="*/ 2147483647 h 670"/>
                <a:gd name="T110" fmla="*/ 2147483647 w 572"/>
                <a:gd name="T111" fmla="*/ 2147483647 h 670"/>
                <a:gd name="T112" fmla="*/ 0 w 572"/>
                <a:gd name="T113" fmla="*/ 2147483647 h 670"/>
                <a:gd name="T114" fmla="*/ 0 w 572"/>
                <a:gd name="T115" fmla="*/ 2147483647 h 670"/>
                <a:gd name="T116" fmla="*/ 0 w 572"/>
                <a:gd name="T117" fmla="*/ 2147483647 h 6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72"/>
                <a:gd name="T178" fmla="*/ 0 h 670"/>
                <a:gd name="T179" fmla="*/ 572 w 572"/>
                <a:gd name="T180" fmla="*/ 670 h 6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08" name="Freeform 135">
              <a:extLst>
                <a:ext uri="{FF2B5EF4-FFF2-40B4-BE49-F238E27FC236}">
                  <a16:creationId xmlns:a16="http://schemas.microsoft.com/office/drawing/2014/main" id="{8F831C2F-173C-D044-B5FA-20FCB8FC0BEC}"/>
                </a:ext>
              </a:extLst>
            </p:cNvPr>
            <p:cNvSpPr>
              <a:spLocks/>
            </p:cNvSpPr>
            <p:nvPr>
              <p:custDataLst>
                <p:tags r:id="rId101"/>
              </p:custDataLst>
            </p:nvPr>
          </p:nvSpPr>
          <p:spPr bwMode="auto">
            <a:xfrm>
              <a:off x="5284560" y="3755650"/>
              <a:ext cx="237024" cy="168588"/>
            </a:xfrm>
            <a:custGeom>
              <a:avLst/>
              <a:gdLst>
                <a:gd name="T0" fmla="*/ 2147483647 w 382"/>
                <a:gd name="T1" fmla="*/ 2147483647 h 300"/>
                <a:gd name="T2" fmla="*/ 2147483647 w 382"/>
                <a:gd name="T3" fmla="*/ 2147483647 h 300"/>
                <a:gd name="T4" fmla="*/ 2147483647 w 382"/>
                <a:gd name="T5" fmla="*/ 2147483647 h 300"/>
                <a:gd name="T6" fmla="*/ 2147483647 w 382"/>
                <a:gd name="T7" fmla="*/ 2147483647 h 300"/>
                <a:gd name="T8" fmla="*/ 2147483647 w 382"/>
                <a:gd name="T9" fmla="*/ 2147483647 h 300"/>
                <a:gd name="T10" fmla="*/ 2147483647 w 382"/>
                <a:gd name="T11" fmla="*/ 2147483647 h 300"/>
                <a:gd name="T12" fmla="*/ 2147483647 w 382"/>
                <a:gd name="T13" fmla="*/ 2147483647 h 300"/>
                <a:gd name="T14" fmla="*/ 2147483647 w 382"/>
                <a:gd name="T15" fmla="*/ 2147483647 h 300"/>
                <a:gd name="T16" fmla="*/ 2147483647 w 382"/>
                <a:gd name="T17" fmla="*/ 2147483647 h 300"/>
                <a:gd name="T18" fmla="*/ 2147483647 w 382"/>
                <a:gd name="T19" fmla="*/ 2147483647 h 300"/>
                <a:gd name="T20" fmla="*/ 2147483647 w 382"/>
                <a:gd name="T21" fmla="*/ 2147483647 h 300"/>
                <a:gd name="T22" fmla="*/ 2147483647 w 382"/>
                <a:gd name="T23" fmla="*/ 2147483647 h 300"/>
                <a:gd name="T24" fmla="*/ 2147483647 w 382"/>
                <a:gd name="T25" fmla="*/ 2147483647 h 300"/>
                <a:gd name="T26" fmla="*/ 2147483647 w 382"/>
                <a:gd name="T27" fmla="*/ 2147483647 h 300"/>
                <a:gd name="T28" fmla="*/ 2147483647 w 382"/>
                <a:gd name="T29" fmla="*/ 2147483647 h 300"/>
                <a:gd name="T30" fmla="*/ 2147483647 w 382"/>
                <a:gd name="T31" fmla="*/ 2147483647 h 300"/>
                <a:gd name="T32" fmla="*/ 2147483647 w 382"/>
                <a:gd name="T33" fmla="*/ 2147483647 h 300"/>
                <a:gd name="T34" fmla="*/ 2147483647 w 382"/>
                <a:gd name="T35" fmla="*/ 2147483647 h 300"/>
                <a:gd name="T36" fmla="*/ 2147483647 w 382"/>
                <a:gd name="T37" fmla="*/ 2147483647 h 300"/>
                <a:gd name="T38" fmla="*/ 2147483647 w 382"/>
                <a:gd name="T39" fmla="*/ 2147483647 h 300"/>
                <a:gd name="T40" fmla="*/ 2147483647 w 382"/>
                <a:gd name="T41" fmla="*/ 2147483647 h 300"/>
                <a:gd name="T42" fmla="*/ 2147483647 w 382"/>
                <a:gd name="T43" fmla="*/ 2147483647 h 300"/>
                <a:gd name="T44" fmla="*/ 2147483647 w 382"/>
                <a:gd name="T45" fmla="*/ 2147483647 h 300"/>
                <a:gd name="T46" fmla="*/ 2147483647 w 382"/>
                <a:gd name="T47" fmla="*/ 2147483647 h 300"/>
                <a:gd name="T48" fmla="*/ 2147483647 w 382"/>
                <a:gd name="T49" fmla="*/ 2147483647 h 300"/>
                <a:gd name="T50" fmla="*/ 2147483647 w 382"/>
                <a:gd name="T51" fmla="*/ 2147483647 h 300"/>
                <a:gd name="T52" fmla="*/ 2147483647 w 382"/>
                <a:gd name="T53" fmla="*/ 2147483647 h 300"/>
                <a:gd name="T54" fmla="*/ 2147483647 w 382"/>
                <a:gd name="T55" fmla="*/ 2147483647 h 300"/>
                <a:gd name="T56" fmla="*/ 2147483647 w 382"/>
                <a:gd name="T57" fmla="*/ 2147483647 h 300"/>
                <a:gd name="T58" fmla="*/ 2147483647 w 382"/>
                <a:gd name="T59" fmla="*/ 2147483647 h 300"/>
                <a:gd name="T60" fmla="*/ 2147483647 w 382"/>
                <a:gd name="T61" fmla="*/ 2147483647 h 300"/>
                <a:gd name="T62" fmla="*/ 2147483647 w 382"/>
                <a:gd name="T63" fmla="*/ 2147483647 h 300"/>
                <a:gd name="T64" fmla="*/ 2147483647 w 382"/>
                <a:gd name="T65" fmla="*/ 2147483647 h 300"/>
                <a:gd name="T66" fmla="*/ 2147483647 w 382"/>
                <a:gd name="T67" fmla="*/ 2147483647 h 3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82"/>
                <a:gd name="T103" fmla="*/ 0 h 300"/>
                <a:gd name="T104" fmla="*/ 382 w 382"/>
                <a:gd name="T105" fmla="*/ 300 h 3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09" name="Freeform 136">
              <a:extLst>
                <a:ext uri="{FF2B5EF4-FFF2-40B4-BE49-F238E27FC236}">
                  <a16:creationId xmlns:a16="http://schemas.microsoft.com/office/drawing/2014/main" id="{77E89D2E-B3AD-304E-B7BB-3A45A320A057}"/>
                </a:ext>
              </a:extLst>
            </p:cNvPr>
            <p:cNvSpPr>
              <a:spLocks/>
            </p:cNvSpPr>
            <p:nvPr>
              <p:custDataLst>
                <p:tags r:id="rId102"/>
              </p:custDataLst>
            </p:nvPr>
          </p:nvSpPr>
          <p:spPr bwMode="auto">
            <a:xfrm>
              <a:off x="5191086" y="3887516"/>
              <a:ext cx="181942" cy="191957"/>
            </a:xfrm>
            <a:custGeom>
              <a:avLst/>
              <a:gdLst>
                <a:gd name="T0" fmla="*/ 2147483647 w 291"/>
                <a:gd name="T1" fmla="*/ 2147483647 h 343"/>
                <a:gd name="T2" fmla="*/ 2147483647 w 291"/>
                <a:gd name="T3" fmla="*/ 2147483647 h 343"/>
                <a:gd name="T4" fmla="*/ 2147483647 w 291"/>
                <a:gd name="T5" fmla="*/ 2147483647 h 343"/>
                <a:gd name="T6" fmla="*/ 2147483647 w 291"/>
                <a:gd name="T7" fmla="*/ 2147483647 h 343"/>
                <a:gd name="T8" fmla="*/ 2147483647 w 291"/>
                <a:gd name="T9" fmla="*/ 2147483647 h 343"/>
                <a:gd name="T10" fmla="*/ 2147483647 w 291"/>
                <a:gd name="T11" fmla="*/ 2147483647 h 343"/>
                <a:gd name="T12" fmla="*/ 2147483647 w 291"/>
                <a:gd name="T13" fmla="*/ 2147483647 h 343"/>
                <a:gd name="T14" fmla="*/ 2147483647 w 291"/>
                <a:gd name="T15" fmla="*/ 2147483647 h 343"/>
                <a:gd name="T16" fmla="*/ 2147483647 w 291"/>
                <a:gd name="T17" fmla="*/ 2147483647 h 343"/>
                <a:gd name="T18" fmla="*/ 2147483647 w 291"/>
                <a:gd name="T19" fmla="*/ 2147483647 h 343"/>
                <a:gd name="T20" fmla="*/ 2147483647 w 291"/>
                <a:gd name="T21" fmla="*/ 2147483647 h 343"/>
                <a:gd name="T22" fmla="*/ 2147483647 w 291"/>
                <a:gd name="T23" fmla="*/ 2147483647 h 343"/>
                <a:gd name="T24" fmla="*/ 2147483647 w 291"/>
                <a:gd name="T25" fmla="*/ 2147483647 h 343"/>
                <a:gd name="T26" fmla="*/ 2147483647 w 291"/>
                <a:gd name="T27" fmla="*/ 2147483647 h 343"/>
                <a:gd name="T28" fmla="*/ 2147483647 w 291"/>
                <a:gd name="T29" fmla="*/ 2147483647 h 343"/>
                <a:gd name="T30" fmla="*/ 2147483647 w 291"/>
                <a:gd name="T31" fmla="*/ 2147483647 h 343"/>
                <a:gd name="T32" fmla="*/ 2147483647 w 291"/>
                <a:gd name="T33" fmla="*/ 2147483647 h 343"/>
                <a:gd name="T34" fmla="*/ 2147483647 w 291"/>
                <a:gd name="T35" fmla="*/ 0 h 343"/>
                <a:gd name="T36" fmla="*/ 2147483647 w 291"/>
                <a:gd name="T37" fmla="*/ 2147483647 h 343"/>
                <a:gd name="T38" fmla="*/ 2147483647 w 291"/>
                <a:gd name="T39" fmla="*/ 2147483647 h 343"/>
                <a:gd name="T40" fmla="*/ 2147483647 w 291"/>
                <a:gd name="T41" fmla="*/ 2147483647 h 343"/>
                <a:gd name="T42" fmla="*/ 2147483647 w 291"/>
                <a:gd name="T43" fmla="*/ 2147483647 h 343"/>
                <a:gd name="T44" fmla="*/ 2147483647 w 291"/>
                <a:gd name="T45" fmla="*/ 2147483647 h 343"/>
                <a:gd name="T46" fmla="*/ 2147483647 w 291"/>
                <a:gd name="T47" fmla="*/ 2147483647 h 343"/>
                <a:gd name="T48" fmla="*/ 2147483647 w 291"/>
                <a:gd name="T49" fmla="*/ 2147483647 h 343"/>
                <a:gd name="T50" fmla="*/ 2147483647 w 291"/>
                <a:gd name="T51" fmla="*/ 2147483647 h 343"/>
                <a:gd name="T52" fmla="*/ 2147483647 w 291"/>
                <a:gd name="T53" fmla="*/ 2147483647 h 343"/>
                <a:gd name="T54" fmla="*/ 2147483647 w 291"/>
                <a:gd name="T55" fmla="*/ 2147483647 h 343"/>
                <a:gd name="T56" fmla="*/ 2147483647 w 291"/>
                <a:gd name="T57" fmla="*/ 2147483647 h 343"/>
                <a:gd name="T58" fmla="*/ 2147483647 w 291"/>
                <a:gd name="T59" fmla="*/ 2147483647 h 343"/>
                <a:gd name="T60" fmla="*/ 2147483647 w 291"/>
                <a:gd name="T61" fmla="*/ 2147483647 h 343"/>
                <a:gd name="T62" fmla="*/ 2147483647 w 291"/>
                <a:gd name="T63" fmla="*/ 2147483647 h 343"/>
                <a:gd name="T64" fmla="*/ 2147483647 w 291"/>
                <a:gd name="T65" fmla="*/ 2147483647 h 343"/>
                <a:gd name="T66" fmla="*/ 2147483647 w 291"/>
                <a:gd name="T67" fmla="*/ 2147483647 h 343"/>
                <a:gd name="T68" fmla="*/ 2147483647 w 291"/>
                <a:gd name="T69" fmla="*/ 2147483647 h 343"/>
                <a:gd name="T70" fmla="*/ 2147483647 w 291"/>
                <a:gd name="T71" fmla="*/ 2147483647 h 343"/>
                <a:gd name="T72" fmla="*/ 2147483647 w 291"/>
                <a:gd name="T73" fmla="*/ 2147483647 h 343"/>
                <a:gd name="T74" fmla="*/ 2147483647 w 291"/>
                <a:gd name="T75" fmla="*/ 2147483647 h 343"/>
                <a:gd name="T76" fmla="*/ 2147483647 w 291"/>
                <a:gd name="T77" fmla="*/ 2147483647 h 343"/>
                <a:gd name="T78" fmla="*/ 2147483647 w 291"/>
                <a:gd name="T79" fmla="*/ 2147483647 h 343"/>
                <a:gd name="T80" fmla="*/ 2147483647 w 291"/>
                <a:gd name="T81" fmla="*/ 2147483647 h 343"/>
                <a:gd name="T82" fmla="*/ 2147483647 w 291"/>
                <a:gd name="T83" fmla="*/ 2147483647 h 343"/>
                <a:gd name="T84" fmla="*/ 2147483647 w 291"/>
                <a:gd name="T85" fmla="*/ 2147483647 h 343"/>
                <a:gd name="T86" fmla="*/ 2147483647 w 291"/>
                <a:gd name="T87" fmla="*/ 2147483647 h 343"/>
                <a:gd name="T88" fmla="*/ 2147483647 w 291"/>
                <a:gd name="T89" fmla="*/ 2147483647 h 343"/>
                <a:gd name="T90" fmla="*/ 2147483647 w 291"/>
                <a:gd name="T91" fmla="*/ 2147483647 h 343"/>
                <a:gd name="T92" fmla="*/ 2147483647 w 291"/>
                <a:gd name="T93" fmla="*/ 2147483647 h 343"/>
                <a:gd name="T94" fmla="*/ 2147483647 w 291"/>
                <a:gd name="T95" fmla="*/ 2147483647 h 343"/>
                <a:gd name="T96" fmla="*/ 2147483647 w 291"/>
                <a:gd name="T97" fmla="*/ 2147483647 h 343"/>
                <a:gd name="T98" fmla="*/ 2147483647 w 291"/>
                <a:gd name="T99" fmla="*/ 2147483647 h 343"/>
                <a:gd name="T100" fmla="*/ 2147483647 w 291"/>
                <a:gd name="T101" fmla="*/ 2147483647 h 343"/>
                <a:gd name="T102" fmla="*/ 2147483647 w 291"/>
                <a:gd name="T103" fmla="*/ 2147483647 h 343"/>
                <a:gd name="T104" fmla="*/ 2147483647 w 291"/>
                <a:gd name="T105" fmla="*/ 2147483647 h 343"/>
                <a:gd name="T106" fmla="*/ 2147483647 w 291"/>
                <a:gd name="T107" fmla="*/ 2147483647 h 343"/>
                <a:gd name="T108" fmla="*/ 2147483647 w 291"/>
                <a:gd name="T109" fmla="*/ 2147483647 h 343"/>
                <a:gd name="T110" fmla="*/ 2147483647 w 291"/>
                <a:gd name="T111" fmla="*/ 2147483647 h 343"/>
                <a:gd name="T112" fmla="*/ 2147483647 w 291"/>
                <a:gd name="T113" fmla="*/ 2147483647 h 343"/>
                <a:gd name="T114" fmla="*/ 2147483647 w 291"/>
                <a:gd name="T115" fmla="*/ 2147483647 h 343"/>
                <a:gd name="T116" fmla="*/ 2147483647 w 291"/>
                <a:gd name="T117" fmla="*/ 2147483647 h 343"/>
                <a:gd name="T118" fmla="*/ 2147483647 w 291"/>
                <a:gd name="T119" fmla="*/ 2147483647 h 34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1"/>
                <a:gd name="T181" fmla="*/ 0 h 343"/>
                <a:gd name="T182" fmla="*/ 291 w 291"/>
                <a:gd name="T183" fmla="*/ 343 h 34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10" name="Freeform 137">
              <a:extLst>
                <a:ext uri="{FF2B5EF4-FFF2-40B4-BE49-F238E27FC236}">
                  <a16:creationId xmlns:a16="http://schemas.microsoft.com/office/drawing/2014/main" id="{7A325842-89CC-9C43-8D7E-18B5CB9E0BDD}"/>
                </a:ext>
              </a:extLst>
            </p:cNvPr>
            <p:cNvSpPr>
              <a:spLocks/>
            </p:cNvSpPr>
            <p:nvPr>
              <p:custDataLst>
                <p:tags r:id="rId103"/>
              </p:custDataLst>
            </p:nvPr>
          </p:nvSpPr>
          <p:spPr bwMode="auto">
            <a:xfrm>
              <a:off x="5454817" y="3500263"/>
              <a:ext cx="459028" cy="355538"/>
            </a:xfrm>
            <a:custGeom>
              <a:avLst/>
              <a:gdLst>
                <a:gd name="T0" fmla="*/ 2147483647 w 741"/>
                <a:gd name="T1" fmla="*/ 2147483647 h 628"/>
                <a:gd name="T2" fmla="*/ 2147483647 w 741"/>
                <a:gd name="T3" fmla="*/ 2147483647 h 628"/>
                <a:gd name="T4" fmla="*/ 2147483647 w 741"/>
                <a:gd name="T5" fmla="*/ 2147483647 h 628"/>
                <a:gd name="T6" fmla="*/ 2147483647 w 741"/>
                <a:gd name="T7" fmla="*/ 2147483647 h 628"/>
                <a:gd name="T8" fmla="*/ 2147483647 w 741"/>
                <a:gd name="T9" fmla="*/ 2147483647 h 628"/>
                <a:gd name="T10" fmla="*/ 2147483647 w 741"/>
                <a:gd name="T11" fmla="*/ 2147483647 h 628"/>
                <a:gd name="T12" fmla="*/ 2147483647 w 741"/>
                <a:gd name="T13" fmla="*/ 2147483647 h 628"/>
                <a:gd name="T14" fmla="*/ 2147483647 w 741"/>
                <a:gd name="T15" fmla="*/ 2147483647 h 628"/>
                <a:gd name="T16" fmla="*/ 2147483647 w 741"/>
                <a:gd name="T17" fmla="*/ 2147483647 h 628"/>
                <a:gd name="T18" fmla="*/ 2147483647 w 741"/>
                <a:gd name="T19" fmla="*/ 2147483647 h 628"/>
                <a:gd name="T20" fmla="*/ 2147483647 w 741"/>
                <a:gd name="T21" fmla="*/ 2147483647 h 628"/>
                <a:gd name="T22" fmla="*/ 2147483647 w 741"/>
                <a:gd name="T23" fmla="*/ 2147483647 h 628"/>
                <a:gd name="T24" fmla="*/ 2147483647 w 741"/>
                <a:gd name="T25" fmla="*/ 2147483647 h 628"/>
                <a:gd name="T26" fmla="*/ 2147483647 w 741"/>
                <a:gd name="T27" fmla="*/ 2147483647 h 628"/>
                <a:gd name="T28" fmla="*/ 2147483647 w 741"/>
                <a:gd name="T29" fmla="*/ 2147483647 h 628"/>
                <a:gd name="T30" fmla="*/ 2147483647 w 741"/>
                <a:gd name="T31" fmla="*/ 2147483647 h 628"/>
                <a:gd name="T32" fmla="*/ 2147483647 w 741"/>
                <a:gd name="T33" fmla="*/ 2147483647 h 628"/>
                <a:gd name="T34" fmla="*/ 2147483647 w 741"/>
                <a:gd name="T35" fmla="*/ 2147483647 h 628"/>
                <a:gd name="T36" fmla="*/ 2147483647 w 741"/>
                <a:gd name="T37" fmla="*/ 2147483647 h 628"/>
                <a:gd name="T38" fmla="*/ 2147483647 w 741"/>
                <a:gd name="T39" fmla="*/ 2147483647 h 628"/>
                <a:gd name="T40" fmla="*/ 2147483647 w 741"/>
                <a:gd name="T41" fmla="*/ 2147483647 h 628"/>
                <a:gd name="T42" fmla="*/ 2147483647 w 741"/>
                <a:gd name="T43" fmla="*/ 2147483647 h 628"/>
                <a:gd name="T44" fmla="*/ 2147483647 w 741"/>
                <a:gd name="T45" fmla="*/ 2147483647 h 628"/>
                <a:gd name="T46" fmla="*/ 2147483647 w 741"/>
                <a:gd name="T47" fmla="*/ 0 h 628"/>
                <a:gd name="T48" fmla="*/ 2147483647 w 741"/>
                <a:gd name="T49" fmla="*/ 2147483647 h 628"/>
                <a:gd name="T50" fmla="*/ 2147483647 w 741"/>
                <a:gd name="T51" fmla="*/ 2147483647 h 628"/>
                <a:gd name="T52" fmla="*/ 2147483647 w 741"/>
                <a:gd name="T53" fmla="*/ 2147483647 h 628"/>
                <a:gd name="T54" fmla="*/ 2147483647 w 741"/>
                <a:gd name="T55" fmla="*/ 2147483647 h 628"/>
                <a:gd name="T56" fmla="*/ 2147483647 w 741"/>
                <a:gd name="T57" fmla="*/ 2147483647 h 628"/>
                <a:gd name="T58" fmla="*/ 2147483647 w 741"/>
                <a:gd name="T59" fmla="*/ 2147483647 h 628"/>
                <a:gd name="T60" fmla="*/ 2147483647 w 741"/>
                <a:gd name="T61" fmla="*/ 2147483647 h 628"/>
                <a:gd name="T62" fmla="*/ 2147483647 w 741"/>
                <a:gd name="T63" fmla="*/ 2147483647 h 6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41"/>
                <a:gd name="T97" fmla="*/ 0 h 628"/>
                <a:gd name="T98" fmla="*/ 741 w 741"/>
                <a:gd name="T99" fmla="*/ 628 h 6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1"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11" name="Freeform 138">
              <a:extLst>
                <a:ext uri="{FF2B5EF4-FFF2-40B4-BE49-F238E27FC236}">
                  <a16:creationId xmlns:a16="http://schemas.microsoft.com/office/drawing/2014/main" id="{8BEBA49F-8321-234E-B599-6FA4FF8CA9E2}"/>
                </a:ext>
              </a:extLst>
            </p:cNvPr>
            <p:cNvSpPr>
              <a:spLocks/>
            </p:cNvSpPr>
            <p:nvPr>
              <p:custDataLst>
                <p:tags r:id="rId104"/>
              </p:custDataLst>
            </p:nvPr>
          </p:nvSpPr>
          <p:spPr bwMode="auto">
            <a:xfrm>
              <a:off x="5187748" y="3091312"/>
              <a:ext cx="607586" cy="550833"/>
            </a:xfrm>
            <a:custGeom>
              <a:avLst/>
              <a:gdLst>
                <a:gd name="T0" fmla="*/ 2147483647 w 983"/>
                <a:gd name="T1" fmla="*/ 2147483647 h 981"/>
                <a:gd name="T2" fmla="*/ 2147483647 w 983"/>
                <a:gd name="T3" fmla="*/ 2147483647 h 981"/>
                <a:gd name="T4" fmla="*/ 2147483647 w 983"/>
                <a:gd name="T5" fmla="*/ 2147483647 h 981"/>
                <a:gd name="T6" fmla="*/ 2147483647 w 983"/>
                <a:gd name="T7" fmla="*/ 2147483647 h 981"/>
                <a:gd name="T8" fmla="*/ 2147483647 w 983"/>
                <a:gd name="T9" fmla="*/ 2147483647 h 981"/>
                <a:gd name="T10" fmla="*/ 2147483647 w 983"/>
                <a:gd name="T11" fmla="*/ 2147483647 h 981"/>
                <a:gd name="T12" fmla="*/ 2147483647 w 983"/>
                <a:gd name="T13" fmla="*/ 2147483647 h 981"/>
                <a:gd name="T14" fmla="*/ 2147483647 w 983"/>
                <a:gd name="T15" fmla="*/ 2147483647 h 981"/>
                <a:gd name="T16" fmla="*/ 2147483647 w 983"/>
                <a:gd name="T17" fmla="*/ 2147483647 h 981"/>
                <a:gd name="T18" fmla="*/ 2147483647 w 983"/>
                <a:gd name="T19" fmla="*/ 2147483647 h 981"/>
                <a:gd name="T20" fmla="*/ 2147483647 w 983"/>
                <a:gd name="T21" fmla="*/ 2147483647 h 981"/>
                <a:gd name="T22" fmla="*/ 2147483647 w 983"/>
                <a:gd name="T23" fmla="*/ 2147483647 h 981"/>
                <a:gd name="T24" fmla="*/ 2147483647 w 983"/>
                <a:gd name="T25" fmla="*/ 2147483647 h 981"/>
                <a:gd name="T26" fmla="*/ 2147483647 w 983"/>
                <a:gd name="T27" fmla="*/ 2147483647 h 981"/>
                <a:gd name="T28" fmla="*/ 2147483647 w 983"/>
                <a:gd name="T29" fmla="*/ 2147483647 h 981"/>
                <a:gd name="T30" fmla="*/ 2147483647 w 983"/>
                <a:gd name="T31" fmla="*/ 2147483647 h 981"/>
                <a:gd name="T32" fmla="*/ 2147483647 w 983"/>
                <a:gd name="T33" fmla="*/ 2147483647 h 981"/>
                <a:gd name="T34" fmla="*/ 2147483647 w 983"/>
                <a:gd name="T35" fmla="*/ 2147483647 h 981"/>
                <a:gd name="T36" fmla="*/ 2147483647 w 983"/>
                <a:gd name="T37" fmla="*/ 2147483647 h 981"/>
                <a:gd name="T38" fmla="*/ 2147483647 w 983"/>
                <a:gd name="T39" fmla="*/ 2147483647 h 981"/>
                <a:gd name="T40" fmla="*/ 2147483647 w 983"/>
                <a:gd name="T41" fmla="*/ 2147483647 h 981"/>
                <a:gd name="T42" fmla="*/ 2147483647 w 983"/>
                <a:gd name="T43" fmla="*/ 2147483647 h 981"/>
                <a:gd name="T44" fmla="*/ 2147483647 w 983"/>
                <a:gd name="T45" fmla="*/ 2147483647 h 981"/>
                <a:gd name="T46" fmla="*/ 2147483647 w 983"/>
                <a:gd name="T47" fmla="*/ 2147483647 h 981"/>
                <a:gd name="T48" fmla="*/ 2147483647 w 983"/>
                <a:gd name="T49" fmla="*/ 2147483647 h 981"/>
                <a:gd name="T50" fmla="*/ 2147483647 w 983"/>
                <a:gd name="T51" fmla="*/ 2147483647 h 981"/>
                <a:gd name="T52" fmla="*/ 2147483647 w 983"/>
                <a:gd name="T53" fmla="*/ 2147483647 h 981"/>
                <a:gd name="T54" fmla="*/ 2147483647 w 983"/>
                <a:gd name="T55" fmla="*/ 2147483647 h 981"/>
                <a:gd name="T56" fmla="*/ 2147483647 w 983"/>
                <a:gd name="T57" fmla="*/ 2147483647 h 981"/>
                <a:gd name="T58" fmla="*/ 2147483647 w 983"/>
                <a:gd name="T59" fmla="*/ 2147483647 h 981"/>
                <a:gd name="T60" fmla="*/ 2147483647 w 983"/>
                <a:gd name="T61" fmla="*/ 2147483647 h 981"/>
                <a:gd name="T62" fmla="*/ 2147483647 w 983"/>
                <a:gd name="T63" fmla="*/ 2147483647 h 981"/>
                <a:gd name="T64" fmla="*/ 2147483647 w 983"/>
                <a:gd name="T65" fmla="*/ 2147483647 h 981"/>
                <a:gd name="T66" fmla="*/ 2147483647 w 983"/>
                <a:gd name="T67" fmla="*/ 0 h 981"/>
                <a:gd name="T68" fmla="*/ 2147483647 w 983"/>
                <a:gd name="T69" fmla="*/ 2147483647 h 981"/>
                <a:gd name="T70" fmla="*/ 2147483647 w 983"/>
                <a:gd name="T71" fmla="*/ 2147483647 h 981"/>
                <a:gd name="T72" fmla="*/ 2147483647 w 983"/>
                <a:gd name="T73" fmla="*/ 2147483647 h 981"/>
                <a:gd name="T74" fmla="*/ 2147483647 w 983"/>
                <a:gd name="T75" fmla="*/ 2147483647 h 981"/>
                <a:gd name="T76" fmla="*/ 2147483647 w 983"/>
                <a:gd name="T77" fmla="*/ 2147483647 h 981"/>
                <a:gd name="T78" fmla="*/ 2147483647 w 983"/>
                <a:gd name="T79" fmla="*/ 2147483647 h 981"/>
                <a:gd name="T80" fmla="*/ 2147483647 w 983"/>
                <a:gd name="T81" fmla="*/ 2147483647 h 981"/>
                <a:gd name="T82" fmla="*/ 2147483647 w 983"/>
                <a:gd name="T83" fmla="*/ 2147483647 h 981"/>
                <a:gd name="T84" fmla="*/ 2147483647 w 983"/>
                <a:gd name="T85" fmla="*/ 2147483647 h 981"/>
                <a:gd name="T86" fmla="*/ 2147483647 w 983"/>
                <a:gd name="T87" fmla="*/ 2147483647 h 981"/>
                <a:gd name="T88" fmla="*/ 2147483647 w 983"/>
                <a:gd name="T89" fmla="*/ 2147483647 h 981"/>
                <a:gd name="T90" fmla="*/ 2147483647 w 983"/>
                <a:gd name="T91" fmla="*/ 2147483647 h 981"/>
                <a:gd name="T92" fmla="*/ 2147483647 w 983"/>
                <a:gd name="T93" fmla="*/ 2147483647 h 981"/>
                <a:gd name="T94" fmla="*/ 2147483647 w 983"/>
                <a:gd name="T95" fmla="*/ 2147483647 h 981"/>
                <a:gd name="T96" fmla="*/ 2147483647 w 983"/>
                <a:gd name="T97" fmla="*/ 2147483647 h 981"/>
                <a:gd name="T98" fmla="*/ 2147483647 w 983"/>
                <a:gd name="T99" fmla="*/ 2147483647 h 981"/>
                <a:gd name="T100" fmla="*/ 2147483647 w 983"/>
                <a:gd name="T101" fmla="*/ 2147483647 h 98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83"/>
                <a:gd name="T154" fmla="*/ 0 h 981"/>
                <a:gd name="T155" fmla="*/ 983 w 983"/>
                <a:gd name="T156" fmla="*/ 981 h 98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12" name="Freeform 139">
              <a:extLst>
                <a:ext uri="{FF2B5EF4-FFF2-40B4-BE49-F238E27FC236}">
                  <a16:creationId xmlns:a16="http://schemas.microsoft.com/office/drawing/2014/main" id="{8637ED3A-9CD6-BF4F-A217-0D398E187942}"/>
                </a:ext>
              </a:extLst>
            </p:cNvPr>
            <p:cNvSpPr>
              <a:spLocks/>
            </p:cNvSpPr>
            <p:nvPr>
              <p:custDataLst>
                <p:tags r:id="rId105"/>
              </p:custDataLst>
            </p:nvPr>
          </p:nvSpPr>
          <p:spPr bwMode="auto">
            <a:xfrm>
              <a:off x="5721889" y="3211493"/>
              <a:ext cx="450682" cy="412290"/>
            </a:xfrm>
            <a:custGeom>
              <a:avLst/>
              <a:gdLst>
                <a:gd name="T0" fmla="*/ 2147483647 w 731"/>
                <a:gd name="T1" fmla="*/ 2147483647 h 737"/>
                <a:gd name="T2" fmla="*/ 2147483647 w 731"/>
                <a:gd name="T3" fmla="*/ 2147483647 h 737"/>
                <a:gd name="T4" fmla="*/ 2147483647 w 731"/>
                <a:gd name="T5" fmla="*/ 2147483647 h 737"/>
                <a:gd name="T6" fmla="*/ 2147483647 w 731"/>
                <a:gd name="T7" fmla="*/ 2147483647 h 737"/>
                <a:gd name="T8" fmla="*/ 2147483647 w 731"/>
                <a:gd name="T9" fmla="*/ 2147483647 h 737"/>
                <a:gd name="T10" fmla="*/ 2147483647 w 731"/>
                <a:gd name="T11" fmla="*/ 2147483647 h 737"/>
                <a:gd name="T12" fmla="*/ 2147483647 w 731"/>
                <a:gd name="T13" fmla="*/ 2147483647 h 737"/>
                <a:gd name="T14" fmla="*/ 2147483647 w 731"/>
                <a:gd name="T15" fmla="*/ 2147483647 h 737"/>
                <a:gd name="T16" fmla="*/ 2147483647 w 731"/>
                <a:gd name="T17" fmla="*/ 2147483647 h 737"/>
                <a:gd name="T18" fmla="*/ 2147483647 w 731"/>
                <a:gd name="T19" fmla="*/ 2147483647 h 737"/>
                <a:gd name="T20" fmla="*/ 2147483647 w 731"/>
                <a:gd name="T21" fmla="*/ 2147483647 h 737"/>
                <a:gd name="T22" fmla="*/ 2147483647 w 731"/>
                <a:gd name="T23" fmla="*/ 2147483647 h 737"/>
                <a:gd name="T24" fmla="*/ 2147483647 w 731"/>
                <a:gd name="T25" fmla="*/ 2147483647 h 737"/>
                <a:gd name="T26" fmla="*/ 2147483647 w 731"/>
                <a:gd name="T27" fmla="*/ 2147483647 h 737"/>
                <a:gd name="T28" fmla="*/ 2147483647 w 731"/>
                <a:gd name="T29" fmla="*/ 2147483647 h 737"/>
                <a:gd name="T30" fmla="*/ 2147483647 w 731"/>
                <a:gd name="T31" fmla="*/ 2147483647 h 737"/>
                <a:gd name="T32" fmla="*/ 2147483647 w 731"/>
                <a:gd name="T33" fmla="*/ 2147483647 h 737"/>
                <a:gd name="T34" fmla="*/ 2147483647 w 731"/>
                <a:gd name="T35" fmla="*/ 2147483647 h 737"/>
                <a:gd name="T36" fmla="*/ 2147483647 w 731"/>
                <a:gd name="T37" fmla="*/ 2147483647 h 737"/>
                <a:gd name="T38" fmla="*/ 2147483647 w 731"/>
                <a:gd name="T39" fmla="*/ 2147483647 h 737"/>
                <a:gd name="T40" fmla="*/ 2147483647 w 731"/>
                <a:gd name="T41" fmla="*/ 2147483647 h 737"/>
                <a:gd name="T42" fmla="*/ 2147483647 w 731"/>
                <a:gd name="T43" fmla="*/ 2147483647 h 737"/>
                <a:gd name="T44" fmla="*/ 2147483647 w 731"/>
                <a:gd name="T45" fmla="*/ 2147483647 h 737"/>
                <a:gd name="T46" fmla="*/ 2147483647 w 731"/>
                <a:gd name="T47" fmla="*/ 2147483647 h 737"/>
                <a:gd name="T48" fmla="*/ 2147483647 w 731"/>
                <a:gd name="T49" fmla="*/ 2147483647 h 737"/>
                <a:gd name="T50" fmla="*/ 2147483647 w 731"/>
                <a:gd name="T51" fmla="*/ 2147483647 h 737"/>
                <a:gd name="T52" fmla="*/ 2147483647 w 731"/>
                <a:gd name="T53" fmla="*/ 2147483647 h 737"/>
                <a:gd name="T54" fmla="*/ 2147483647 w 731"/>
                <a:gd name="T55" fmla="*/ 2147483647 h 737"/>
                <a:gd name="T56" fmla="*/ 2147483647 w 731"/>
                <a:gd name="T57" fmla="*/ 2147483647 h 737"/>
                <a:gd name="T58" fmla="*/ 2147483647 w 731"/>
                <a:gd name="T59" fmla="*/ 2147483647 h 737"/>
                <a:gd name="T60" fmla="*/ 2147483647 w 731"/>
                <a:gd name="T61" fmla="*/ 2147483647 h 737"/>
                <a:gd name="T62" fmla="*/ 2147483647 w 731"/>
                <a:gd name="T63" fmla="*/ 2147483647 h 737"/>
                <a:gd name="T64" fmla="*/ 2147483647 w 731"/>
                <a:gd name="T65" fmla="*/ 2147483647 h 737"/>
                <a:gd name="T66" fmla="*/ 2147483647 w 731"/>
                <a:gd name="T67" fmla="*/ 2147483647 h 737"/>
                <a:gd name="T68" fmla="*/ 2147483647 w 731"/>
                <a:gd name="T69" fmla="*/ 2147483647 h 737"/>
                <a:gd name="T70" fmla="*/ 2147483647 w 731"/>
                <a:gd name="T71" fmla="*/ 2147483647 h 737"/>
                <a:gd name="T72" fmla="*/ 2147483647 w 731"/>
                <a:gd name="T73" fmla="*/ 2147483647 h 737"/>
                <a:gd name="T74" fmla="*/ 2147483647 w 731"/>
                <a:gd name="T75" fmla="*/ 2147483647 h 737"/>
                <a:gd name="T76" fmla="*/ 2147483647 w 731"/>
                <a:gd name="T77" fmla="*/ 2147483647 h 737"/>
                <a:gd name="T78" fmla="*/ 2147483647 w 731"/>
                <a:gd name="T79" fmla="*/ 2147483647 h 737"/>
                <a:gd name="T80" fmla="*/ 2147483647 w 731"/>
                <a:gd name="T81" fmla="*/ 2147483647 h 737"/>
                <a:gd name="T82" fmla="*/ 2147483647 w 731"/>
                <a:gd name="T83" fmla="*/ 2147483647 h 737"/>
                <a:gd name="T84" fmla="*/ 2147483647 w 731"/>
                <a:gd name="T85" fmla="*/ 2147483647 h 737"/>
                <a:gd name="T86" fmla="*/ 2147483647 w 731"/>
                <a:gd name="T87" fmla="*/ 2147483647 h 737"/>
                <a:gd name="T88" fmla="*/ 2147483647 w 731"/>
                <a:gd name="T89" fmla="*/ 2147483647 h 737"/>
                <a:gd name="T90" fmla="*/ 2147483647 w 731"/>
                <a:gd name="T91" fmla="*/ 2147483647 h 737"/>
                <a:gd name="T92" fmla="*/ 2147483647 w 731"/>
                <a:gd name="T93" fmla="*/ 2147483647 h 737"/>
                <a:gd name="T94" fmla="*/ 2147483647 w 731"/>
                <a:gd name="T95" fmla="*/ 2147483647 h 737"/>
                <a:gd name="T96" fmla="*/ 2147483647 w 731"/>
                <a:gd name="T97" fmla="*/ 2147483647 h 737"/>
                <a:gd name="T98" fmla="*/ 2147483647 w 731"/>
                <a:gd name="T99" fmla="*/ 2147483647 h 737"/>
                <a:gd name="T100" fmla="*/ 2147483647 w 731"/>
                <a:gd name="T101" fmla="*/ 2147483647 h 737"/>
                <a:gd name="T102" fmla="*/ 2147483647 w 731"/>
                <a:gd name="T103" fmla="*/ 2147483647 h 737"/>
                <a:gd name="T104" fmla="*/ 2147483647 w 731"/>
                <a:gd name="T105" fmla="*/ 2147483647 h 737"/>
                <a:gd name="T106" fmla="*/ 2147483647 w 731"/>
                <a:gd name="T107" fmla="*/ 2147483647 h 737"/>
                <a:gd name="T108" fmla="*/ 2147483647 w 731"/>
                <a:gd name="T109" fmla="*/ 2147483647 h 737"/>
                <a:gd name="T110" fmla="*/ 2147483647 w 731"/>
                <a:gd name="T111" fmla="*/ 2147483647 h 737"/>
                <a:gd name="T112" fmla="*/ 2147483647 w 731"/>
                <a:gd name="T113" fmla="*/ 2147483647 h 737"/>
                <a:gd name="T114" fmla="*/ 2147483647 w 731"/>
                <a:gd name="T115" fmla="*/ 0 h 737"/>
                <a:gd name="T116" fmla="*/ 2147483647 w 731"/>
                <a:gd name="T117" fmla="*/ 2147483647 h 737"/>
                <a:gd name="T118" fmla="*/ 2147483647 w 731"/>
                <a:gd name="T119" fmla="*/ 2147483647 h 7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31"/>
                <a:gd name="T181" fmla="*/ 0 h 737"/>
                <a:gd name="T182" fmla="*/ 731 w 731"/>
                <a:gd name="T183" fmla="*/ 737 h 73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13" name="Freeform 140">
              <a:extLst>
                <a:ext uri="{FF2B5EF4-FFF2-40B4-BE49-F238E27FC236}">
                  <a16:creationId xmlns:a16="http://schemas.microsoft.com/office/drawing/2014/main" id="{4314328D-88B9-B04A-9523-8884B8DB1B54}"/>
                </a:ext>
              </a:extLst>
            </p:cNvPr>
            <p:cNvSpPr>
              <a:spLocks noEditPoints="1"/>
            </p:cNvSpPr>
            <p:nvPr>
              <p:custDataLst>
                <p:tags r:id="rId106"/>
              </p:custDataLst>
            </p:nvPr>
          </p:nvSpPr>
          <p:spPr bwMode="auto">
            <a:xfrm>
              <a:off x="5785318" y="4339866"/>
              <a:ext cx="368891" cy="410621"/>
            </a:xfrm>
            <a:custGeom>
              <a:avLst/>
              <a:gdLst>
                <a:gd name="T0" fmla="*/ 2147483647 w 597"/>
                <a:gd name="T1" fmla="*/ 2147483647 h 735"/>
                <a:gd name="T2" fmla="*/ 2147483647 w 597"/>
                <a:gd name="T3" fmla="*/ 2147483647 h 735"/>
                <a:gd name="T4" fmla="*/ 2147483647 w 597"/>
                <a:gd name="T5" fmla="*/ 2147483647 h 735"/>
                <a:gd name="T6" fmla="*/ 2147483647 w 597"/>
                <a:gd name="T7" fmla="*/ 2147483647 h 735"/>
                <a:gd name="T8" fmla="*/ 2147483647 w 597"/>
                <a:gd name="T9" fmla="*/ 2147483647 h 735"/>
                <a:gd name="T10" fmla="*/ 2147483647 w 597"/>
                <a:gd name="T11" fmla="*/ 2147483647 h 735"/>
                <a:gd name="T12" fmla="*/ 2147483647 w 597"/>
                <a:gd name="T13" fmla="*/ 2147483647 h 735"/>
                <a:gd name="T14" fmla="*/ 2147483647 w 597"/>
                <a:gd name="T15" fmla="*/ 2147483647 h 735"/>
                <a:gd name="T16" fmla="*/ 2147483647 w 597"/>
                <a:gd name="T17" fmla="*/ 2147483647 h 735"/>
                <a:gd name="T18" fmla="*/ 2147483647 w 597"/>
                <a:gd name="T19" fmla="*/ 2147483647 h 735"/>
                <a:gd name="T20" fmla="*/ 2147483647 w 597"/>
                <a:gd name="T21" fmla="*/ 2147483647 h 735"/>
                <a:gd name="T22" fmla="*/ 2147483647 w 597"/>
                <a:gd name="T23" fmla="*/ 2147483647 h 735"/>
                <a:gd name="T24" fmla="*/ 2147483647 w 597"/>
                <a:gd name="T25" fmla="*/ 2147483647 h 735"/>
                <a:gd name="T26" fmla="*/ 2147483647 w 597"/>
                <a:gd name="T27" fmla="*/ 2147483647 h 735"/>
                <a:gd name="T28" fmla="*/ 2147483647 w 597"/>
                <a:gd name="T29" fmla="*/ 2147483647 h 735"/>
                <a:gd name="T30" fmla="*/ 2147483647 w 597"/>
                <a:gd name="T31" fmla="*/ 2147483647 h 735"/>
                <a:gd name="T32" fmla="*/ 2147483647 w 597"/>
                <a:gd name="T33" fmla="*/ 2147483647 h 735"/>
                <a:gd name="T34" fmla="*/ 2147483647 w 597"/>
                <a:gd name="T35" fmla="*/ 2147483647 h 735"/>
                <a:gd name="T36" fmla="*/ 2147483647 w 597"/>
                <a:gd name="T37" fmla="*/ 2147483647 h 735"/>
                <a:gd name="T38" fmla="*/ 2147483647 w 597"/>
                <a:gd name="T39" fmla="*/ 2147483647 h 735"/>
                <a:gd name="T40" fmla="*/ 2147483647 w 597"/>
                <a:gd name="T41" fmla="*/ 2147483647 h 735"/>
                <a:gd name="T42" fmla="*/ 2147483647 w 597"/>
                <a:gd name="T43" fmla="*/ 2147483647 h 735"/>
                <a:gd name="T44" fmla="*/ 2147483647 w 597"/>
                <a:gd name="T45" fmla="*/ 2147483647 h 735"/>
                <a:gd name="T46" fmla="*/ 2147483647 w 597"/>
                <a:gd name="T47" fmla="*/ 2147483647 h 735"/>
                <a:gd name="T48" fmla="*/ 2147483647 w 597"/>
                <a:gd name="T49" fmla="*/ 2147483647 h 735"/>
                <a:gd name="T50" fmla="*/ 2147483647 w 597"/>
                <a:gd name="T51" fmla="*/ 2147483647 h 735"/>
                <a:gd name="T52" fmla="*/ 2147483647 w 597"/>
                <a:gd name="T53" fmla="*/ 2147483647 h 735"/>
                <a:gd name="T54" fmla="*/ 2147483647 w 597"/>
                <a:gd name="T55" fmla="*/ 2147483647 h 735"/>
                <a:gd name="T56" fmla="*/ 2147483647 w 597"/>
                <a:gd name="T57" fmla="*/ 2147483647 h 735"/>
                <a:gd name="T58" fmla="*/ 2147483647 w 597"/>
                <a:gd name="T59" fmla="*/ 2147483647 h 735"/>
                <a:gd name="T60" fmla="*/ 2147483647 w 597"/>
                <a:gd name="T61" fmla="*/ 2147483647 h 735"/>
                <a:gd name="T62" fmla="*/ 2147483647 w 597"/>
                <a:gd name="T63" fmla="*/ 2147483647 h 735"/>
                <a:gd name="T64" fmla="*/ 2147483647 w 597"/>
                <a:gd name="T65" fmla="*/ 2147483647 h 735"/>
                <a:gd name="T66" fmla="*/ 2147483647 w 597"/>
                <a:gd name="T67" fmla="*/ 2147483647 h 735"/>
                <a:gd name="T68" fmla="*/ 2147483647 w 597"/>
                <a:gd name="T69" fmla="*/ 2147483647 h 735"/>
                <a:gd name="T70" fmla="*/ 2147483647 w 597"/>
                <a:gd name="T71" fmla="*/ 2147483647 h 735"/>
                <a:gd name="T72" fmla="*/ 2147483647 w 597"/>
                <a:gd name="T73" fmla="*/ 2147483647 h 735"/>
                <a:gd name="T74" fmla="*/ 2147483647 w 597"/>
                <a:gd name="T75" fmla="*/ 2147483647 h 735"/>
                <a:gd name="T76" fmla="*/ 2147483647 w 597"/>
                <a:gd name="T77" fmla="*/ 2147483647 h 735"/>
                <a:gd name="T78" fmla="*/ 2147483647 w 597"/>
                <a:gd name="T79" fmla="*/ 2147483647 h 735"/>
                <a:gd name="T80" fmla="*/ 2147483647 w 597"/>
                <a:gd name="T81" fmla="*/ 2147483647 h 735"/>
                <a:gd name="T82" fmla="*/ 2147483647 w 597"/>
                <a:gd name="T83" fmla="*/ 2147483647 h 735"/>
                <a:gd name="T84" fmla="*/ 2147483647 w 597"/>
                <a:gd name="T85" fmla="*/ 2147483647 h 735"/>
                <a:gd name="T86" fmla="*/ 2147483647 w 597"/>
                <a:gd name="T87" fmla="*/ 2147483647 h 735"/>
                <a:gd name="T88" fmla="*/ 2147483647 w 597"/>
                <a:gd name="T89" fmla="*/ 2147483647 h 735"/>
                <a:gd name="T90" fmla="*/ 2147483647 w 597"/>
                <a:gd name="T91" fmla="*/ 2147483647 h 735"/>
                <a:gd name="T92" fmla="*/ 2147483647 w 597"/>
                <a:gd name="T93" fmla="*/ 2147483647 h 735"/>
                <a:gd name="T94" fmla="*/ 2147483647 w 597"/>
                <a:gd name="T95" fmla="*/ 2147483647 h 735"/>
                <a:gd name="T96" fmla="*/ 2147483647 w 597"/>
                <a:gd name="T97" fmla="*/ 2147483647 h 735"/>
                <a:gd name="T98" fmla="*/ 2147483647 w 597"/>
                <a:gd name="T99" fmla="*/ 2147483647 h 735"/>
                <a:gd name="T100" fmla="*/ 2147483647 w 597"/>
                <a:gd name="T101" fmla="*/ 2147483647 h 735"/>
                <a:gd name="T102" fmla="*/ 2147483647 w 597"/>
                <a:gd name="T103" fmla="*/ 2147483647 h 735"/>
                <a:gd name="T104" fmla="*/ 2147483647 w 597"/>
                <a:gd name="T105" fmla="*/ 2147483647 h 735"/>
                <a:gd name="T106" fmla="*/ 2147483647 w 597"/>
                <a:gd name="T107" fmla="*/ 2147483647 h 735"/>
                <a:gd name="T108" fmla="*/ 2147483647 w 597"/>
                <a:gd name="T109" fmla="*/ 2147483647 h 735"/>
                <a:gd name="T110" fmla="*/ 2147483647 w 597"/>
                <a:gd name="T111" fmla="*/ 2147483647 h 735"/>
                <a:gd name="T112" fmla="*/ 2147483647 w 597"/>
                <a:gd name="T113" fmla="*/ 2147483647 h 735"/>
                <a:gd name="T114" fmla="*/ 2147483647 w 597"/>
                <a:gd name="T115" fmla="*/ 2147483647 h 735"/>
                <a:gd name="T116" fmla="*/ 2147483647 w 597"/>
                <a:gd name="T117" fmla="*/ 2147483647 h 735"/>
                <a:gd name="T118" fmla="*/ 2147483647 w 597"/>
                <a:gd name="T119" fmla="*/ 2147483647 h 73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7"/>
                <a:gd name="T181" fmla="*/ 0 h 735"/>
                <a:gd name="T182" fmla="*/ 597 w 597"/>
                <a:gd name="T183" fmla="*/ 735 h 73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14" name="Freeform 141">
              <a:extLst>
                <a:ext uri="{FF2B5EF4-FFF2-40B4-BE49-F238E27FC236}">
                  <a16:creationId xmlns:a16="http://schemas.microsoft.com/office/drawing/2014/main" id="{C4DA0E00-DD0F-4E43-9418-B2CDE39F0750}"/>
                </a:ext>
              </a:extLst>
            </p:cNvPr>
            <p:cNvSpPr>
              <a:spLocks/>
            </p:cNvSpPr>
            <p:nvPr>
              <p:custDataLst>
                <p:tags r:id="rId107"/>
              </p:custDataLst>
            </p:nvPr>
          </p:nvSpPr>
          <p:spPr bwMode="auto">
            <a:xfrm>
              <a:off x="6289413" y="4243054"/>
              <a:ext cx="63430" cy="53415"/>
            </a:xfrm>
            <a:custGeom>
              <a:avLst/>
              <a:gdLst>
                <a:gd name="T0" fmla="*/ 2147483647 w 104"/>
                <a:gd name="T1" fmla="*/ 2147483647 h 98"/>
                <a:gd name="T2" fmla="*/ 2147483647 w 104"/>
                <a:gd name="T3" fmla="*/ 2147483647 h 98"/>
                <a:gd name="T4" fmla="*/ 2147483647 w 104"/>
                <a:gd name="T5" fmla="*/ 2147483647 h 98"/>
                <a:gd name="T6" fmla="*/ 2147483647 w 104"/>
                <a:gd name="T7" fmla="*/ 2147483647 h 98"/>
                <a:gd name="T8" fmla="*/ 2147483647 w 104"/>
                <a:gd name="T9" fmla="*/ 2147483647 h 98"/>
                <a:gd name="T10" fmla="*/ 2147483647 w 104"/>
                <a:gd name="T11" fmla="*/ 2147483647 h 98"/>
                <a:gd name="T12" fmla="*/ 2147483647 w 104"/>
                <a:gd name="T13" fmla="*/ 2147483647 h 98"/>
                <a:gd name="T14" fmla="*/ 2147483647 w 104"/>
                <a:gd name="T15" fmla="*/ 2147483647 h 98"/>
                <a:gd name="T16" fmla="*/ 2147483647 w 104"/>
                <a:gd name="T17" fmla="*/ 2147483647 h 98"/>
                <a:gd name="T18" fmla="*/ 2147483647 w 104"/>
                <a:gd name="T19" fmla="*/ 0 h 98"/>
                <a:gd name="T20" fmla="*/ 2147483647 w 104"/>
                <a:gd name="T21" fmla="*/ 2147483647 h 98"/>
                <a:gd name="T22" fmla="*/ 2147483647 w 104"/>
                <a:gd name="T23" fmla="*/ 2147483647 h 98"/>
                <a:gd name="T24" fmla="*/ 2147483647 w 104"/>
                <a:gd name="T25" fmla="*/ 2147483647 h 98"/>
                <a:gd name="T26" fmla="*/ 2147483647 w 104"/>
                <a:gd name="T27" fmla="*/ 2147483647 h 98"/>
                <a:gd name="T28" fmla="*/ 2147483647 w 104"/>
                <a:gd name="T29" fmla="*/ 2147483647 h 98"/>
                <a:gd name="T30" fmla="*/ 2147483647 w 104"/>
                <a:gd name="T31" fmla="*/ 2147483647 h 98"/>
                <a:gd name="T32" fmla="*/ 2147483647 w 104"/>
                <a:gd name="T33" fmla="*/ 2147483647 h 98"/>
                <a:gd name="T34" fmla="*/ 2147483647 w 104"/>
                <a:gd name="T35" fmla="*/ 2147483647 h 98"/>
                <a:gd name="T36" fmla="*/ 2147483647 w 104"/>
                <a:gd name="T37" fmla="*/ 2147483647 h 9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98"/>
                <a:gd name="T59" fmla="*/ 104 w 104"/>
                <a:gd name="T60" fmla="*/ 98 h 9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15" name="Freeform 142">
              <a:extLst>
                <a:ext uri="{FF2B5EF4-FFF2-40B4-BE49-F238E27FC236}">
                  <a16:creationId xmlns:a16="http://schemas.microsoft.com/office/drawing/2014/main" id="{E6F43201-A368-3C44-A248-B96477A53BD3}"/>
                </a:ext>
              </a:extLst>
            </p:cNvPr>
            <p:cNvSpPr>
              <a:spLocks/>
            </p:cNvSpPr>
            <p:nvPr>
              <p:custDataLst>
                <p:tags r:id="rId108"/>
              </p:custDataLst>
            </p:nvPr>
          </p:nvSpPr>
          <p:spPr bwMode="auto">
            <a:xfrm>
              <a:off x="5868777" y="3880839"/>
              <a:ext cx="377237" cy="260394"/>
            </a:xfrm>
            <a:custGeom>
              <a:avLst/>
              <a:gdLst>
                <a:gd name="T0" fmla="*/ 2147483647 w 614"/>
                <a:gd name="T1" fmla="*/ 2147483647 h 467"/>
                <a:gd name="T2" fmla="*/ 2147483647 w 614"/>
                <a:gd name="T3" fmla="*/ 2147483647 h 467"/>
                <a:gd name="T4" fmla="*/ 2147483647 w 614"/>
                <a:gd name="T5" fmla="*/ 2147483647 h 467"/>
                <a:gd name="T6" fmla="*/ 2147483647 w 614"/>
                <a:gd name="T7" fmla="*/ 2147483647 h 467"/>
                <a:gd name="T8" fmla="*/ 2147483647 w 614"/>
                <a:gd name="T9" fmla="*/ 2147483647 h 467"/>
                <a:gd name="T10" fmla="*/ 2147483647 w 614"/>
                <a:gd name="T11" fmla="*/ 2147483647 h 467"/>
                <a:gd name="T12" fmla="*/ 2147483647 w 614"/>
                <a:gd name="T13" fmla="*/ 2147483647 h 467"/>
                <a:gd name="T14" fmla="*/ 2147483647 w 614"/>
                <a:gd name="T15" fmla="*/ 2147483647 h 467"/>
                <a:gd name="T16" fmla="*/ 2147483647 w 614"/>
                <a:gd name="T17" fmla="*/ 2147483647 h 467"/>
                <a:gd name="T18" fmla="*/ 2147483647 w 614"/>
                <a:gd name="T19" fmla="*/ 2147483647 h 467"/>
                <a:gd name="T20" fmla="*/ 2147483647 w 614"/>
                <a:gd name="T21" fmla="*/ 0 h 467"/>
                <a:gd name="T22" fmla="*/ 2147483647 w 614"/>
                <a:gd name="T23" fmla="*/ 2147483647 h 467"/>
                <a:gd name="T24" fmla="*/ 2147483647 w 614"/>
                <a:gd name="T25" fmla="*/ 2147483647 h 467"/>
                <a:gd name="T26" fmla="*/ 2147483647 w 614"/>
                <a:gd name="T27" fmla="*/ 2147483647 h 467"/>
                <a:gd name="T28" fmla="*/ 2147483647 w 614"/>
                <a:gd name="T29" fmla="*/ 2147483647 h 467"/>
                <a:gd name="T30" fmla="*/ 2147483647 w 614"/>
                <a:gd name="T31" fmla="*/ 2147483647 h 467"/>
                <a:gd name="T32" fmla="*/ 2147483647 w 614"/>
                <a:gd name="T33" fmla="*/ 2147483647 h 467"/>
                <a:gd name="T34" fmla="*/ 2147483647 w 614"/>
                <a:gd name="T35" fmla="*/ 2147483647 h 467"/>
                <a:gd name="T36" fmla="*/ 2147483647 w 614"/>
                <a:gd name="T37" fmla="*/ 2147483647 h 467"/>
                <a:gd name="T38" fmla="*/ 2147483647 w 614"/>
                <a:gd name="T39" fmla="*/ 2147483647 h 467"/>
                <a:gd name="T40" fmla="*/ 2147483647 w 614"/>
                <a:gd name="T41" fmla="*/ 2147483647 h 467"/>
                <a:gd name="T42" fmla="*/ 2147483647 w 614"/>
                <a:gd name="T43" fmla="*/ 2147483647 h 467"/>
                <a:gd name="T44" fmla="*/ 2147483647 w 614"/>
                <a:gd name="T45" fmla="*/ 2147483647 h 467"/>
                <a:gd name="T46" fmla="*/ 2147483647 w 614"/>
                <a:gd name="T47" fmla="*/ 2147483647 h 467"/>
                <a:gd name="T48" fmla="*/ 2147483647 w 614"/>
                <a:gd name="T49" fmla="*/ 2147483647 h 467"/>
                <a:gd name="T50" fmla="*/ 2147483647 w 614"/>
                <a:gd name="T51" fmla="*/ 2147483647 h 467"/>
                <a:gd name="T52" fmla="*/ 2147483647 w 614"/>
                <a:gd name="T53" fmla="*/ 2147483647 h 467"/>
                <a:gd name="T54" fmla="*/ 2147483647 w 614"/>
                <a:gd name="T55" fmla="*/ 2147483647 h 467"/>
                <a:gd name="T56" fmla="*/ 2147483647 w 614"/>
                <a:gd name="T57" fmla="*/ 2147483647 h 467"/>
                <a:gd name="T58" fmla="*/ 2147483647 w 614"/>
                <a:gd name="T59" fmla="*/ 2147483647 h 467"/>
                <a:gd name="T60" fmla="*/ 2147483647 w 614"/>
                <a:gd name="T61" fmla="*/ 2147483647 h 467"/>
                <a:gd name="T62" fmla="*/ 2147483647 w 614"/>
                <a:gd name="T63" fmla="*/ 2147483647 h 467"/>
                <a:gd name="T64" fmla="*/ 2147483647 w 614"/>
                <a:gd name="T65" fmla="*/ 2147483647 h 467"/>
                <a:gd name="T66" fmla="*/ 2147483647 w 614"/>
                <a:gd name="T67" fmla="*/ 2147483647 h 467"/>
                <a:gd name="T68" fmla="*/ 2147483647 w 614"/>
                <a:gd name="T69" fmla="*/ 2147483647 h 467"/>
                <a:gd name="T70" fmla="*/ 2147483647 w 614"/>
                <a:gd name="T71" fmla="*/ 2147483647 h 467"/>
                <a:gd name="T72" fmla="*/ 2147483647 w 614"/>
                <a:gd name="T73" fmla="*/ 2147483647 h 467"/>
                <a:gd name="T74" fmla="*/ 2147483647 w 614"/>
                <a:gd name="T75" fmla="*/ 2147483647 h 467"/>
                <a:gd name="T76" fmla="*/ 2147483647 w 614"/>
                <a:gd name="T77" fmla="*/ 2147483647 h 467"/>
                <a:gd name="T78" fmla="*/ 2147483647 w 614"/>
                <a:gd name="T79" fmla="*/ 2147483647 h 467"/>
                <a:gd name="T80" fmla="*/ 2147483647 w 614"/>
                <a:gd name="T81" fmla="*/ 2147483647 h 467"/>
                <a:gd name="T82" fmla="*/ 2147483647 w 614"/>
                <a:gd name="T83" fmla="*/ 2147483647 h 467"/>
                <a:gd name="T84" fmla="*/ 2147483647 w 614"/>
                <a:gd name="T85" fmla="*/ 2147483647 h 4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4"/>
                <a:gd name="T130" fmla="*/ 0 h 467"/>
                <a:gd name="T131" fmla="*/ 614 w 614"/>
                <a:gd name="T132" fmla="*/ 467 h 4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16" name="Freeform 143">
              <a:extLst>
                <a:ext uri="{FF2B5EF4-FFF2-40B4-BE49-F238E27FC236}">
                  <a16:creationId xmlns:a16="http://schemas.microsoft.com/office/drawing/2014/main" id="{E412A757-F526-794A-AE37-B491385873B4}"/>
                </a:ext>
              </a:extLst>
            </p:cNvPr>
            <p:cNvSpPr>
              <a:spLocks/>
            </p:cNvSpPr>
            <p:nvPr>
              <p:custDataLst>
                <p:tags r:id="rId109"/>
              </p:custDataLst>
            </p:nvPr>
          </p:nvSpPr>
          <p:spPr bwMode="auto">
            <a:xfrm>
              <a:off x="5770296" y="4099504"/>
              <a:ext cx="222002" cy="260394"/>
            </a:xfrm>
            <a:custGeom>
              <a:avLst/>
              <a:gdLst>
                <a:gd name="T0" fmla="*/ 2147483647 w 356"/>
                <a:gd name="T1" fmla="*/ 2147483647 h 466"/>
                <a:gd name="T2" fmla="*/ 2147483647 w 356"/>
                <a:gd name="T3" fmla="*/ 2147483647 h 466"/>
                <a:gd name="T4" fmla="*/ 2147483647 w 356"/>
                <a:gd name="T5" fmla="*/ 2147483647 h 466"/>
                <a:gd name="T6" fmla="*/ 2147483647 w 356"/>
                <a:gd name="T7" fmla="*/ 2147483647 h 466"/>
                <a:gd name="T8" fmla="*/ 2147483647 w 356"/>
                <a:gd name="T9" fmla="*/ 2147483647 h 466"/>
                <a:gd name="T10" fmla="*/ 2147483647 w 356"/>
                <a:gd name="T11" fmla="*/ 2147483647 h 466"/>
                <a:gd name="T12" fmla="*/ 2147483647 w 356"/>
                <a:gd name="T13" fmla="*/ 2147483647 h 466"/>
                <a:gd name="T14" fmla="*/ 2147483647 w 356"/>
                <a:gd name="T15" fmla="*/ 2147483647 h 466"/>
                <a:gd name="T16" fmla="*/ 2147483647 w 356"/>
                <a:gd name="T17" fmla="*/ 2147483647 h 466"/>
                <a:gd name="T18" fmla="*/ 2147483647 w 356"/>
                <a:gd name="T19" fmla="*/ 2147483647 h 466"/>
                <a:gd name="T20" fmla="*/ 2147483647 w 356"/>
                <a:gd name="T21" fmla="*/ 2147483647 h 466"/>
                <a:gd name="T22" fmla="*/ 2147483647 w 356"/>
                <a:gd name="T23" fmla="*/ 2147483647 h 466"/>
                <a:gd name="T24" fmla="*/ 2147483647 w 356"/>
                <a:gd name="T25" fmla="*/ 2147483647 h 466"/>
                <a:gd name="T26" fmla="*/ 2147483647 w 356"/>
                <a:gd name="T27" fmla="*/ 2147483647 h 466"/>
                <a:gd name="T28" fmla="*/ 2147483647 w 356"/>
                <a:gd name="T29" fmla="*/ 2147483647 h 466"/>
                <a:gd name="T30" fmla="*/ 2147483647 w 356"/>
                <a:gd name="T31" fmla="*/ 2147483647 h 466"/>
                <a:gd name="T32" fmla="*/ 2147483647 w 356"/>
                <a:gd name="T33" fmla="*/ 2147483647 h 466"/>
                <a:gd name="T34" fmla="*/ 2147483647 w 356"/>
                <a:gd name="T35" fmla="*/ 2147483647 h 466"/>
                <a:gd name="T36" fmla="*/ 2147483647 w 356"/>
                <a:gd name="T37" fmla="*/ 2147483647 h 466"/>
                <a:gd name="T38" fmla="*/ 2147483647 w 356"/>
                <a:gd name="T39" fmla="*/ 2147483647 h 466"/>
                <a:gd name="T40" fmla="*/ 2147483647 w 356"/>
                <a:gd name="T41" fmla="*/ 2147483647 h 466"/>
                <a:gd name="T42" fmla="*/ 0 w 356"/>
                <a:gd name="T43" fmla="*/ 2147483647 h 466"/>
                <a:gd name="T44" fmla="*/ 2147483647 w 356"/>
                <a:gd name="T45" fmla="*/ 2147483647 h 466"/>
                <a:gd name="T46" fmla="*/ 2147483647 w 356"/>
                <a:gd name="T47" fmla="*/ 2147483647 h 466"/>
                <a:gd name="T48" fmla="*/ 2147483647 w 356"/>
                <a:gd name="T49" fmla="*/ 2147483647 h 466"/>
                <a:gd name="T50" fmla="*/ 2147483647 w 356"/>
                <a:gd name="T51" fmla="*/ 2147483647 h 466"/>
                <a:gd name="T52" fmla="*/ 2147483647 w 356"/>
                <a:gd name="T53" fmla="*/ 2147483647 h 466"/>
                <a:gd name="T54" fmla="*/ 2147483647 w 356"/>
                <a:gd name="T55" fmla="*/ 2147483647 h 466"/>
                <a:gd name="T56" fmla="*/ 2147483647 w 356"/>
                <a:gd name="T57" fmla="*/ 2147483647 h 466"/>
                <a:gd name="T58" fmla="*/ 2147483647 w 356"/>
                <a:gd name="T59" fmla="*/ 2147483647 h 466"/>
                <a:gd name="T60" fmla="*/ 2147483647 w 356"/>
                <a:gd name="T61" fmla="*/ 2147483647 h 466"/>
                <a:gd name="T62" fmla="*/ 2147483647 w 356"/>
                <a:gd name="T63" fmla="*/ 2147483647 h 466"/>
                <a:gd name="T64" fmla="*/ 2147483647 w 356"/>
                <a:gd name="T65" fmla="*/ 2147483647 h 466"/>
                <a:gd name="T66" fmla="*/ 2147483647 w 356"/>
                <a:gd name="T67" fmla="*/ 2147483647 h 466"/>
                <a:gd name="T68" fmla="*/ 2147483647 w 356"/>
                <a:gd name="T69" fmla="*/ 2147483647 h 466"/>
                <a:gd name="T70" fmla="*/ 2147483647 w 356"/>
                <a:gd name="T71" fmla="*/ 2147483647 h 466"/>
                <a:gd name="T72" fmla="*/ 2147483647 w 356"/>
                <a:gd name="T73" fmla="*/ 2147483647 h 466"/>
                <a:gd name="T74" fmla="*/ 2147483647 w 356"/>
                <a:gd name="T75" fmla="*/ 2147483647 h 466"/>
                <a:gd name="T76" fmla="*/ 2147483647 w 356"/>
                <a:gd name="T77" fmla="*/ 2147483647 h 466"/>
                <a:gd name="T78" fmla="*/ 2147483647 w 356"/>
                <a:gd name="T79" fmla="*/ 2147483647 h 466"/>
                <a:gd name="T80" fmla="*/ 2147483647 w 356"/>
                <a:gd name="T81" fmla="*/ 2147483647 h 4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6"/>
                <a:gd name="T124" fmla="*/ 0 h 466"/>
                <a:gd name="T125" fmla="*/ 356 w 356"/>
                <a:gd name="T126" fmla="*/ 466 h 4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17" name="Freeform 144">
              <a:extLst>
                <a:ext uri="{FF2B5EF4-FFF2-40B4-BE49-F238E27FC236}">
                  <a16:creationId xmlns:a16="http://schemas.microsoft.com/office/drawing/2014/main" id="{082EA517-58AD-164E-B312-DD493A7C51ED}"/>
                </a:ext>
              </a:extLst>
            </p:cNvPr>
            <p:cNvSpPr>
              <a:spLocks/>
            </p:cNvSpPr>
            <p:nvPr>
              <p:custDataLst>
                <p:tags r:id="rId110"/>
              </p:custDataLst>
            </p:nvPr>
          </p:nvSpPr>
          <p:spPr bwMode="auto">
            <a:xfrm>
              <a:off x="6080766" y="3515286"/>
              <a:ext cx="487404" cy="590893"/>
            </a:xfrm>
            <a:custGeom>
              <a:avLst/>
              <a:gdLst>
                <a:gd name="T0" fmla="*/ 2147483647 w 781"/>
                <a:gd name="T1" fmla="*/ 2147483647 h 1054"/>
                <a:gd name="T2" fmla="*/ 2147483647 w 781"/>
                <a:gd name="T3" fmla="*/ 2147483647 h 1054"/>
                <a:gd name="T4" fmla="*/ 2147483647 w 781"/>
                <a:gd name="T5" fmla="*/ 2147483647 h 1054"/>
                <a:gd name="T6" fmla="*/ 2147483647 w 781"/>
                <a:gd name="T7" fmla="*/ 2147483647 h 1054"/>
                <a:gd name="T8" fmla="*/ 2147483647 w 781"/>
                <a:gd name="T9" fmla="*/ 2147483647 h 1054"/>
                <a:gd name="T10" fmla="*/ 2147483647 w 781"/>
                <a:gd name="T11" fmla="*/ 2147483647 h 1054"/>
                <a:gd name="T12" fmla="*/ 2147483647 w 781"/>
                <a:gd name="T13" fmla="*/ 2147483647 h 1054"/>
                <a:gd name="T14" fmla="*/ 2147483647 w 781"/>
                <a:gd name="T15" fmla="*/ 2147483647 h 1054"/>
                <a:gd name="T16" fmla="*/ 2147483647 w 781"/>
                <a:gd name="T17" fmla="*/ 2147483647 h 1054"/>
                <a:gd name="T18" fmla="*/ 2147483647 w 781"/>
                <a:gd name="T19" fmla="*/ 2147483647 h 1054"/>
                <a:gd name="T20" fmla="*/ 2147483647 w 781"/>
                <a:gd name="T21" fmla="*/ 2147483647 h 1054"/>
                <a:gd name="T22" fmla="*/ 2147483647 w 781"/>
                <a:gd name="T23" fmla="*/ 2147483647 h 1054"/>
                <a:gd name="T24" fmla="*/ 2147483647 w 781"/>
                <a:gd name="T25" fmla="*/ 2147483647 h 1054"/>
                <a:gd name="T26" fmla="*/ 2147483647 w 781"/>
                <a:gd name="T27" fmla="*/ 2147483647 h 1054"/>
                <a:gd name="T28" fmla="*/ 2147483647 w 781"/>
                <a:gd name="T29" fmla="*/ 2147483647 h 1054"/>
                <a:gd name="T30" fmla="*/ 2147483647 w 781"/>
                <a:gd name="T31" fmla="*/ 2147483647 h 1054"/>
                <a:gd name="T32" fmla="*/ 2147483647 w 781"/>
                <a:gd name="T33" fmla="*/ 2147483647 h 1054"/>
                <a:gd name="T34" fmla="*/ 2147483647 w 781"/>
                <a:gd name="T35" fmla="*/ 2147483647 h 1054"/>
                <a:gd name="T36" fmla="*/ 2147483647 w 781"/>
                <a:gd name="T37" fmla="*/ 2147483647 h 1054"/>
                <a:gd name="T38" fmla="*/ 2147483647 w 781"/>
                <a:gd name="T39" fmla="*/ 2147483647 h 1054"/>
                <a:gd name="T40" fmla="*/ 2147483647 w 781"/>
                <a:gd name="T41" fmla="*/ 2147483647 h 1054"/>
                <a:gd name="T42" fmla="*/ 2147483647 w 781"/>
                <a:gd name="T43" fmla="*/ 2147483647 h 1054"/>
                <a:gd name="T44" fmla="*/ 2147483647 w 781"/>
                <a:gd name="T45" fmla="*/ 2147483647 h 1054"/>
                <a:gd name="T46" fmla="*/ 2147483647 w 781"/>
                <a:gd name="T47" fmla="*/ 2147483647 h 1054"/>
                <a:gd name="T48" fmla="*/ 2147483647 w 781"/>
                <a:gd name="T49" fmla="*/ 2147483647 h 1054"/>
                <a:gd name="T50" fmla="*/ 2147483647 w 781"/>
                <a:gd name="T51" fmla="*/ 2147483647 h 1054"/>
                <a:gd name="T52" fmla="*/ 2147483647 w 781"/>
                <a:gd name="T53" fmla="*/ 2147483647 h 1054"/>
                <a:gd name="T54" fmla="*/ 2147483647 w 781"/>
                <a:gd name="T55" fmla="*/ 2147483647 h 1054"/>
                <a:gd name="T56" fmla="*/ 2147483647 w 781"/>
                <a:gd name="T57" fmla="*/ 2147483647 h 1054"/>
                <a:gd name="T58" fmla="*/ 2147483647 w 781"/>
                <a:gd name="T59" fmla="*/ 2147483647 h 1054"/>
                <a:gd name="T60" fmla="*/ 2147483647 w 781"/>
                <a:gd name="T61" fmla="*/ 2147483647 h 1054"/>
                <a:gd name="T62" fmla="*/ 2147483647 w 781"/>
                <a:gd name="T63" fmla="*/ 2147483647 h 1054"/>
                <a:gd name="T64" fmla="*/ 2147483647 w 781"/>
                <a:gd name="T65" fmla="*/ 2147483647 h 1054"/>
                <a:gd name="T66" fmla="*/ 2147483647 w 781"/>
                <a:gd name="T67" fmla="*/ 2147483647 h 1054"/>
                <a:gd name="T68" fmla="*/ 2147483647 w 781"/>
                <a:gd name="T69" fmla="*/ 2147483647 h 1054"/>
                <a:gd name="T70" fmla="*/ 2147483647 w 781"/>
                <a:gd name="T71" fmla="*/ 2147483647 h 1054"/>
                <a:gd name="T72" fmla="*/ 2147483647 w 781"/>
                <a:gd name="T73" fmla="*/ 2147483647 h 1054"/>
                <a:gd name="T74" fmla="*/ 2147483647 w 781"/>
                <a:gd name="T75" fmla="*/ 2147483647 h 1054"/>
                <a:gd name="T76" fmla="*/ 2147483647 w 781"/>
                <a:gd name="T77" fmla="*/ 2147483647 h 1054"/>
                <a:gd name="T78" fmla="*/ 2147483647 w 781"/>
                <a:gd name="T79" fmla="*/ 2147483647 h 1054"/>
                <a:gd name="T80" fmla="*/ 2147483647 w 781"/>
                <a:gd name="T81" fmla="*/ 2147483647 h 1054"/>
                <a:gd name="T82" fmla="*/ 2147483647 w 781"/>
                <a:gd name="T83" fmla="*/ 2147483647 h 1054"/>
                <a:gd name="T84" fmla="*/ 2147483647 w 781"/>
                <a:gd name="T85" fmla="*/ 2147483647 h 1054"/>
                <a:gd name="T86" fmla="*/ 2147483647 w 781"/>
                <a:gd name="T87" fmla="*/ 2147483647 h 1054"/>
                <a:gd name="T88" fmla="*/ 2147483647 w 781"/>
                <a:gd name="T89" fmla="*/ 2147483647 h 1054"/>
                <a:gd name="T90" fmla="*/ 2147483647 w 781"/>
                <a:gd name="T91" fmla="*/ 2147483647 h 105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81"/>
                <a:gd name="T139" fmla="*/ 0 h 1054"/>
                <a:gd name="T140" fmla="*/ 781 w 781"/>
                <a:gd name="T141" fmla="*/ 1054 h 105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18" name="Freeform 145">
              <a:extLst>
                <a:ext uri="{FF2B5EF4-FFF2-40B4-BE49-F238E27FC236}">
                  <a16:creationId xmlns:a16="http://schemas.microsoft.com/office/drawing/2014/main" id="{DF704126-CA19-B847-8F9C-3AC34464129C}"/>
                </a:ext>
              </a:extLst>
            </p:cNvPr>
            <p:cNvSpPr>
              <a:spLocks noEditPoints="1"/>
            </p:cNvSpPr>
            <p:nvPr>
              <p:custDataLst>
                <p:tags r:id="rId111"/>
              </p:custDataLst>
            </p:nvPr>
          </p:nvSpPr>
          <p:spPr bwMode="auto">
            <a:xfrm>
              <a:off x="9332351" y="2448672"/>
              <a:ext cx="121850" cy="444005"/>
            </a:xfrm>
            <a:custGeom>
              <a:avLst/>
              <a:gdLst>
                <a:gd name="T0" fmla="*/ 0 w 199"/>
                <a:gd name="T1" fmla="*/ 2147483647 h 794"/>
                <a:gd name="T2" fmla="*/ 2147483647 w 199"/>
                <a:gd name="T3" fmla="*/ 2147483647 h 794"/>
                <a:gd name="T4" fmla="*/ 2147483647 w 199"/>
                <a:gd name="T5" fmla="*/ 2147483647 h 794"/>
                <a:gd name="T6" fmla="*/ 2147483647 w 199"/>
                <a:gd name="T7" fmla="*/ 2147483647 h 794"/>
                <a:gd name="T8" fmla="*/ 0 w 199"/>
                <a:gd name="T9" fmla="*/ 2147483647 h 794"/>
                <a:gd name="T10" fmla="*/ 2147483647 w 199"/>
                <a:gd name="T11" fmla="*/ 2147483647 h 794"/>
                <a:gd name="T12" fmla="*/ 2147483647 w 199"/>
                <a:gd name="T13" fmla="*/ 2147483647 h 794"/>
                <a:gd name="T14" fmla="*/ 2147483647 w 199"/>
                <a:gd name="T15" fmla="*/ 2147483647 h 794"/>
                <a:gd name="T16" fmla="*/ 2147483647 w 199"/>
                <a:gd name="T17" fmla="*/ 2147483647 h 794"/>
                <a:gd name="T18" fmla="*/ 2147483647 w 199"/>
                <a:gd name="T19" fmla="*/ 2147483647 h 794"/>
                <a:gd name="T20" fmla="*/ 2147483647 w 199"/>
                <a:gd name="T21" fmla="*/ 2147483647 h 794"/>
                <a:gd name="T22" fmla="*/ 2147483647 w 199"/>
                <a:gd name="T23" fmla="*/ 2147483647 h 794"/>
                <a:gd name="T24" fmla="*/ 2147483647 w 199"/>
                <a:gd name="T25" fmla="*/ 2147483647 h 794"/>
                <a:gd name="T26" fmla="*/ 2147483647 w 199"/>
                <a:gd name="T27" fmla="*/ 2147483647 h 794"/>
                <a:gd name="T28" fmla="*/ 2147483647 w 199"/>
                <a:gd name="T29" fmla="*/ 2147483647 h 794"/>
                <a:gd name="T30" fmla="*/ 2147483647 w 199"/>
                <a:gd name="T31" fmla="*/ 2147483647 h 794"/>
                <a:gd name="T32" fmla="*/ 2147483647 w 199"/>
                <a:gd name="T33" fmla="*/ 2147483647 h 794"/>
                <a:gd name="T34" fmla="*/ 2147483647 w 199"/>
                <a:gd name="T35" fmla="*/ 2147483647 h 794"/>
                <a:gd name="T36" fmla="*/ 2147483647 w 199"/>
                <a:gd name="T37" fmla="*/ 2147483647 h 794"/>
                <a:gd name="T38" fmla="*/ 2147483647 w 199"/>
                <a:gd name="T39" fmla="*/ 2147483647 h 794"/>
                <a:gd name="T40" fmla="*/ 2147483647 w 199"/>
                <a:gd name="T41" fmla="*/ 2147483647 h 794"/>
                <a:gd name="T42" fmla="*/ 2147483647 w 199"/>
                <a:gd name="T43" fmla="*/ 2147483647 h 794"/>
                <a:gd name="T44" fmla="*/ 2147483647 w 199"/>
                <a:gd name="T45" fmla="*/ 2147483647 h 794"/>
                <a:gd name="T46" fmla="*/ 2147483647 w 199"/>
                <a:gd name="T47" fmla="*/ 2147483647 h 794"/>
                <a:gd name="T48" fmla="*/ 2147483647 w 199"/>
                <a:gd name="T49" fmla="*/ 2147483647 h 794"/>
                <a:gd name="T50" fmla="*/ 2147483647 w 199"/>
                <a:gd name="T51" fmla="*/ 2147483647 h 794"/>
                <a:gd name="T52" fmla="*/ 2147483647 w 199"/>
                <a:gd name="T53" fmla="*/ 2147483647 h 794"/>
                <a:gd name="T54" fmla="*/ 2147483647 w 199"/>
                <a:gd name="T55" fmla="*/ 2147483647 h 794"/>
                <a:gd name="T56" fmla="*/ 2147483647 w 199"/>
                <a:gd name="T57" fmla="*/ 2147483647 h 794"/>
                <a:gd name="T58" fmla="*/ 2147483647 w 199"/>
                <a:gd name="T59" fmla="*/ 2147483647 h 794"/>
                <a:gd name="T60" fmla="*/ 2147483647 w 199"/>
                <a:gd name="T61" fmla="*/ 2147483647 h 794"/>
                <a:gd name="T62" fmla="*/ 2147483647 w 199"/>
                <a:gd name="T63" fmla="*/ 2147483647 h 794"/>
                <a:gd name="T64" fmla="*/ 2147483647 w 199"/>
                <a:gd name="T65" fmla="*/ 2147483647 h 794"/>
                <a:gd name="T66" fmla="*/ 2147483647 w 199"/>
                <a:gd name="T67" fmla="*/ 2147483647 h 794"/>
                <a:gd name="T68" fmla="*/ 2147483647 w 199"/>
                <a:gd name="T69" fmla="*/ 2147483647 h 794"/>
                <a:gd name="T70" fmla="*/ 2147483647 w 199"/>
                <a:gd name="T71" fmla="*/ 2147483647 h 794"/>
                <a:gd name="T72" fmla="*/ 2147483647 w 199"/>
                <a:gd name="T73" fmla="*/ 2147483647 h 794"/>
                <a:gd name="T74" fmla="*/ 2147483647 w 199"/>
                <a:gd name="T75" fmla="*/ 2147483647 h 794"/>
                <a:gd name="T76" fmla="*/ 2147483647 w 199"/>
                <a:gd name="T77" fmla="*/ 2147483647 h 794"/>
                <a:gd name="T78" fmla="*/ 2147483647 w 199"/>
                <a:gd name="T79" fmla="*/ 2147483647 h 794"/>
                <a:gd name="T80" fmla="*/ 2147483647 w 199"/>
                <a:gd name="T81" fmla="*/ 2147483647 h 794"/>
                <a:gd name="T82" fmla="*/ 2147483647 w 199"/>
                <a:gd name="T83" fmla="*/ 0 h 794"/>
                <a:gd name="T84" fmla="*/ 2147483647 w 199"/>
                <a:gd name="T85" fmla="*/ 2147483647 h 79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9"/>
                <a:gd name="T130" fmla="*/ 0 h 794"/>
                <a:gd name="T131" fmla="*/ 199 w 199"/>
                <a:gd name="T132" fmla="*/ 794 h 79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19" name="Freeform 146">
              <a:extLst>
                <a:ext uri="{FF2B5EF4-FFF2-40B4-BE49-F238E27FC236}">
                  <a16:creationId xmlns:a16="http://schemas.microsoft.com/office/drawing/2014/main" id="{5171DDEB-B91D-F146-9424-80785D8FABAC}"/>
                </a:ext>
              </a:extLst>
            </p:cNvPr>
            <p:cNvSpPr>
              <a:spLocks noEditPoints="1"/>
            </p:cNvSpPr>
            <p:nvPr>
              <p:custDataLst>
                <p:tags r:id="rId112"/>
              </p:custDataLst>
            </p:nvPr>
          </p:nvSpPr>
          <p:spPr bwMode="auto">
            <a:xfrm>
              <a:off x="8671350" y="3687212"/>
              <a:ext cx="46738" cy="28376"/>
            </a:xfrm>
            <a:custGeom>
              <a:avLst/>
              <a:gdLst>
                <a:gd name="T0" fmla="*/ 2147483647 w 76"/>
                <a:gd name="T1" fmla="*/ 2147483647 h 52"/>
                <a:gd name="T2" fmla="*/ 2147483647 w 76"/>
                <a:gd name="T3" fmla="*/ 2147483647 h 52"/>
                <a:gd name="T4" fmla="*/ 2147483647 w 76"/>
                <a:gd name="T5" fmla="*/ 2147483647 h 52"/>
                <a:gd name="T6" fmla="*/ 2147483647 w 76"/>
                <a:gd name="T7" fmla="*/ 2147483647 h 52"/>
                <a:gd name="T8" fmla="*/ 2147483647 w 76"/>
                <a:gd name="T9" fmla="*/ 2147483647 h 52"/>
                <a:gd name="T10" fmla="*/ 2147483647 w 76"/>
                <a:gd name="T11" fmla="*/ 2147483647 h 52"/>
                <a:gd name="T12" fmla="*/ 2147483647 w 76"/>
                <a:gd name="T13" fmla="*/ 2147483647 h 52"/>
                <a:gd name="T14" fmla="*/ 2147483647 w 76"/>
                <a:gd name="T15" fmla="*/ 2147483647 h 52"/>
                <a:gd name="T16" fmla="*/ 2147483647 w 76"/>
                <a:gd name="T17" fmla="*/ 2147483647 h 52"/>
                <a:gd name="T18" fmla="*/ 2147483647 w 76"/>
                <a:gd name="T19" fmla="*/ 214748364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2"/>
                <a:gd name="T32" fmla="*/ 76 w 76"/>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20" name="Freeform 147">
              <a:extLst>
                <a:ext uri="{FF2B5EF4-FFF2-40B4-BE49-F238E27FC236}">
                  <a16:creationId xmlns:a16="http://schemas.microsoft.com/office/drawing/2014/main" id="{C0CB1189-19BA-DD47-BB7C-F37C650AA9DF}"/>
                </a:ext>
              </a:extLst>
            </p:cNvPr>
            <p:cNvSpPr>
              <a:spLocks noEditPoints="1"/>
            </p:cNvSpPr>
            <p:nvPr>
              <p:custDataLst>
                <p:tags r:id="rId113"/>
              </p:custDataLst>
            </p:nvPr>
          </p:nvSpPr>
          <p:spPr bwMode="auto">
            <a:xfrm>
              <a:off x="8990165" y="2835925"/>
              <a:ext cx="363885" cy="645977"/>
            </a:xfrm>
            <a:custGeom>
              <a:avLst/>
              <a:gdLst>
                <a:gd name="T0" fmla="*/ 2147483647 w 591"/>
                <a:gd name="T1" fmla="*/ 2147483647 h 1153"/>
                <a:gd name="T2" fmla="*/ 2147483647 w 591"/>
                <a:gd name="T3" fmla="*/ 2147483647 h 1153"/>
                <a:gd name="T4" fmla="*/ 2147483647 w 591"/>
                <a:gd name="T5" fmla="*/ 2147483647 h 1153"/>
                <a:gd name="T6" fmla="*/ 2147483647 w 591"/>
                <a:gd name="T7" fmla="*/ 2147483647 h 1153"/>
                <a:gd name="T8" fmla="*/ 2147483647 w 591"/>
                <a:gd name="T9" fmla="*/ 2147483647 h 1153"/>
                <a:gd name="T10" fmla="*/ 2147483647 w 591"/>
                <a:gd name="T11" fmla="*/ 2147483647 h 1153"/>
                <a:gd name="T12" fmla="*/ 2147483647 w 591"/>
                <a:gd name="T13" fmla="*/ 2147483647 h 1153"/>
                <a:gd name="T14" fmla="*/ 2147483647 w 591"/>
                <a:gd name="T15" fmla="*/ 2147483647 h 1153"/>
                <a:gd name="T16" fmla="*/ 2147483647 w 591"/>
                <a:gd name="T17" fmla="*/ 2147483647 h 1153"/>
                <a:gd name="T18" fmla="*/ 2147483647 w 591"/>
                <a:gd name="T19" fmla="*/ 2147483647 h 1153"/>
                <a:gd name="T20" fmla="*/ 2147483647 w 591"/>
                <a:gd name="T21" fmla="*/ 2147483647 h 1153"/>
                <a:gd name="T22" fmla="*/ 2147483647 w 591"/>
                <a:gd name="T23" fmla="*/ 2147483647 h 1153"/>
                <a:gd name="T24" fmla="*/ 2147483647 w 591"/>
                <a:gd name="T25" fmla="*/ 2147483647 h 1153"/>
                <a:gd name="T26" fmla="*/ 2147483647 w 591"/>
                <a:gd name="T27" fmla="*/ 2147483647 h 1153"/>
                <a:gd name="T28" fmla="*/ 2147483647 w 591"/>
                <a:gd name="T29" fmla="*/ 2147483647 h 1153"/>
                <a:gd name="T30" fmla="*/ 2147483647 w 591"/>
                <a:gd name="T31" fmla="*/ 2147483647 h 1153"/>
                <a:gd name="T32" fmla="*/ 2147483647 w 591"/>
                <a:gd name="T33" fmla="*/ 2147483647 h 1153"/>
                <a:gd name="T34" fmla="*/ 2147483647 w 591"/>
                <a:gd name="T35" fmla="*/ 2147483647 h 1153"/>
                <a:gd name="T36" fmla="*/ 2147483647 w 591"/>
                <a:gd name="T37" fmla="*/ 2147483647 h 1153"/>
                <a:gd name="T38" fmla="*/ 2147483647 w 591"/>
                <a:gd name="T39" fmla="*/ 2147483647 h 1153"/>
                <a:gd name="T40" fmla="*/ 2147483647 w 591"/>
                <a:gd name="T41" fmla="*/ 2147483647 h 1153"/>
                <a:gd name="T42" fmla="*/ 2147483647 w 591"/>
                <a:gd name="T43" fmla="*/ 2147483647 h 1153"/>
                <a:gd name="T44" fmla="*/ 2147483647 w 591"/>
                <a:gd name="T45" fmla="*/ 2147483647 h 1153"/>
                <a:gd name="T46" fmla="*/ 2147483647 w 591"/>
                <a:gd name="T47" fmla="*/ 2147483647 h 1153"/>
                <a:gd name="T48" fmla="*/ 2147483647 w 591"/>
                <a:gd name="T49" fmla="*/ 2147483647 h 1153"/>
                <a:gd name="T50" fmla="*/ 2147483647 w 591"/>
                <a:gd name="T51" fmla="*/ 2147483647 h 1153"/>
                <a:gd name="T52" fmla="*/ 2147483647 w 591"/>
                <a:gd name="T53" fmla="*/ 2147483647 h 1153"/>
                <a:gd name="T54" fmla="*/ 2147483647 w 591"/>
                <a:gd name="T55" fmla="*/ 2147483647 h 1153"/>
                <a:gd name="T56" fmla="*/ 2147483647 w 591"/>
                <a:gd name="T57" fmla="*/ 2147483647 h 1153"/>
                <a:gd name="T58" fmla="*/ 2147483647 w 591"/>
                <a:gd name="T59" fmla="*/ 2147483647 h 1153"/>
                <a:gd name="T60" fmla="*/ 2147483647 w 591"/>
                <a:gd name="T61" fmla="*/ 2147483647 h 1153"/>
                <a:gd name="T62" fmla="*/ 2147483647 w 591"/>
                <a:gd name="T63" fmla="*/ 2147483647 h 1153"/>
                <a:gd name="T64" fmla="*/ 2147483647 w 591"/>
                <a:gd name="T65" fmla="*/ 2147483647 h 1153"/>
                <a:gd name="T66" fmla="*/ 2147483647 w 591"/>
                <a:gd name="T67" fmla="*/ 2147483647 h 1153"/>
                <a:gd name="T68" fmla="*/ 2147483647 w 591"/>
                <a:gd name="T69" fmla="*/ 2147483647 h 1153"/>
                <a:gd name="T70" fmla="*/ 2147483647 w 591"/>
                <a:gd name="T71" fmla="*/ 2147483647 h 1153"/>
                <a:gd name="T72" fmla="*/ 2147483647 w 591"/>
                <a:gd name="T73" fmla="*/ 2147483647 h 1153"/>
                <a:gd name="T74" fmla="*/ 2147483647 w 591"/>
                <a:gd name="T75" fmla="*/ 2147483647 h 1153"/>
                <a:gd name="T76" fmla="*/ 2147483647 w 591"/>
                <a:gd name="T77" fmla="*/ 2147483647 h 1153"/>
                <a:gd name="T78" fmla="*/ 2147483647 w 591"/>
                <a:gd name="T79" fmla="*/ 2147483647 h 1153"/>
                <a:gd name="T80" fmla="*/ 2147483647 w 591"/>
                <a:gd name="T81" fmla="*/ 2147483647 h 1153"/>
                <a:gd name="T82" fmla="*/ 2147483647 w 591"/>
                <a:gd name="T83" fmla="*/ 2147483647 h 1153"/>
                <a:gd name="T84" fmla="*/ 2147483647 w 591"/>
                <a:gd name="T85" fmla="*/ 2147483647 h 1153"/>
                <a:gd name="T86" fmla="*/ 2147483647 w 591"/>
                <a:gd name="T87" fmla="*/ 2147483647 h 1153"/>
                <a:gd name="T88" fmla="*/ 2147483647 w 591"/>
                <a:gd name="T89" fmla="*/ 2147483647 h 1153"/>
                <a:gd name="T90" fmla="*/ 2147483647 w 591"/>
                <a:gd name="T91" fmla="*/ 2147483647 h 1153"/>
                <a:gd name="T92" fmla="*/ 2147483647 w 591"/>
                <a:gd name="T93" fmla="*/ 2147483647 h 1153"/>
                <a:gd name="T94" fmla="*/ 2147483647 w 591"/>
                <a:gd name="T95" fmla="*/ 2147483647 h 1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91"/>
                <a:gd name="T145" fmla="*/ 0 h 1153"/>
                <a:gd name="T146" fmla="*/ 591 w 591"/>
                <a:gd name="T147" fmla="*/ 1153 h 11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21" name="Freeform 148">
              <a:extLst>
                <a:ext uri="{FF2B5EF4-FFF2-40B4-BE49-F238E27FC236}">
                  <a16:creationId xmlns:a16="http://schemas.microsoft.com/office/drawing/2014/main" id="{C3B9A3AD-98E6-9041-8CA3-CB7D9A421345}"/>
                </a:ext>
              </a:extLst>
            </p:cNvPr>
            <p:cNvSpPr>
              <a:spLocks noEditPoints="1"/>
            </p:cNvSpPr>
            <p:nvPr>
              <p:custDataLst>
                <p:tags r:id="rId114"/>
              </p:custDataLst>
            </p:nvPr>
          </p:nvSpPr>
          <p:spPr bwMode="auto">
            <a:xfrm>
              <a:off x="5980614" y="1894501"/>
              <a:ext cx="3740658" cy="1078297"/>
            </a:xfrm>
            <a:custGeom>
              <a:avLst/>
              <a:gdLst>
                <a:gd name="T0" fmla="*/ 2147483647 w 6045"/>
                <a:gd name="T1" fmla="*/ 2147483647 h 1923"/>
                <a:gd name="T2" fmla="*/ 2147483647 w 6045"/>
                <a:gd name="T3" fmla="*/ 2147483647 h 1923"/>
                <a:gd name="T4" fmla="*/ 2147483647 w 6045"/>
                <a:gd name="T5" fmla="*/ 2147483647 h 1923"/>
                <a:gd name="T6" fmla="*/ 2147483647 w 6045"/>
                <a:gd name="T7" fmla="*/ 2147483647 h 1923"/>
                <a:gd name="T8" fmla="*/ 2147483647 w 6045"/>
                <a:gd name="T9" fmla="*/ 2147483647 h 1923"/>
                <a:gd name="T10" fmla="*/ 2147483647 w 6045"/>
                <a:gd name="T11" fmla="*/ 2147483647 h 1923"/>
                <a:gd name="T12" fmla="*/ 2147483647 w 6045"/>
                <a:gd name="T13" fmla="*/ 2147483647 h 1923"/>
                <a:gd name="T14" fmla="*/ 2147483647 w 6045"/>
                <a:gd name="T15" fmla="*/ 2147483647 h 1923"/>
                <a:gd name="T16" fmla="*/ 2147483647 w 6045"/>
                <a:gd name="T17" fmla="*/ 2147483647 h 1923"/>
                <a:gd name="T18" fmla="*/ 2147483647 w 6045"/>
                <a:gd name="T19" fmla="*/ 2147483647 h 1923"/>
                <a:gd name="T20" fmla="*/ 2147483647 w 6045"/>
                <a:gd name="T21" fmla="*/ 2147483647 h 1923"/>
                <a:gd name="T22" fmla="*/ 2147483647 w 6045"/>
                <a:gd name="T23" fmla="*/ 2147483647 h 1923"/>
                <a:gd name="T24" fmla="*/ 2147483647 w 6045"/>
                <a:gd name="T25" fmla="*/ 2147483647 h 1923"/>
                <a:gd name="T26" fmla="*/ 2147483647 w 6045"/>
                <a:gd name="T27" fmla="*/ 2147483647 h 1923"/>
                <a:gd name="T28" fmla="*/ 2147483647 w 6045"/>
                <a:gd name="T29" fmla="*/ 2147483647 h 1923"/>
                <a:gd name="T30" fmla="*/ 2147483647 w 6045"/>
                <a:gd name="T31" fmla="*/ 2147483647 h 1923"/>
                <a:gd name="T32" fmla="*/ 2147483647 w 6045"/>
                <a:gd name="T33" fmla="*/ 2147483647 h 1923"/>
                <a:gd name="T34" fmla="*/ 2147483647 w 6045"/>
                <a:gd name="T35" fmla="*/ 2147483647 h 1923"/>
                <a:gd name="T36" fmla="*/ 2147483647 w 6045"/>
                <a:gd name="T37" fmla="*/ 2147483647 h 1923"/>
                <a:gd name="T38" fmla="*/ 2147483647 w 6045"/>
                <a:gd name="T39" fmla="*/ 2147483647 h 1923"/>
                <a:gd name="T40" fmla="*/ 2147483647 w 6045"/>
                <a:gd name="T41" fmla="*/ 2147483647 h 1923"/>
                <a:gd name="T42" fmla="*/ 2147483647 w 6045"/>
                <a:gd name="T43" fmla="*/ 2147483647 h 1923"/>
                <a:gd name="T44" fmla="*/ 2147483647 w 6045"/>
                <a:gd name="T45" fmla="*/ 2147483647 h 1923"/>
                <a:gd name="T46" fmla="*/ 2147483647 w 6045"/>
                <a:gd name="T47" fmla="*/ 2147483647 h 1923"/>
                <a:gd name="T48" fmla="*/ 2147483647 w 6045"/>
                <a:gd name="T49" fmla="*/ 2147483647 h 1923"/>
                <a:gd name="T50" fmla="*/ 2147483647 w 6045"/>
                <a:gd name="T51" fmla="*/ 2147483647 h 1923"/>
                <a:gd name="T52" fmla="*/ 2147483647 w 6045"/>
                <a:gd name="T53" fmla="*/ 2147483647 h 1923"/>
                <a:gd name="T54" fmla="*/ 2147483647 w 6045"/>
                <a:gd name="T55" fmla="*/ 2147483647 h 1923"/>
                <a:gd name="T56" fmla="*/ 2147483647 w 6045"/>
                <a:gd name="T57" fmla="*/ 2147483647 h 1923"/>
                <a:gd name="T58" fmla="*/ 2147483647 w 6045"/>
                <a:gd name="T59" fmla="*/ 2147483647 h 1923"/>
                <a:gd name="T60" fmla="*/ 2147483647 w 6045"/>
                <a:gd name="T61" fmla="*/ 2147483647 h 1923"/>
                <a:gd name="T62" fmla="*/ 2147483647 w 6045"/>
                <a:gd name="T63" fmla="*/ 2147483647 h 1923"/>
                <a:gd name="T64" fmla="*/ 2147483647 w 6045"/>
                <a:gd name="T65" fmla="*/ 2147483647 h 1923"/>
                <a:gd name="T66" fmla="*/ 2147483647 w 6045"/>
                <a:gd name="T67" fmla="*/ 2147483647 h 1923"/>
                <a:gd name="T68" fmla="*/ 2147483647 w 6045"/>
                <a:gd name="T69" fmla="*/ 2147483647 h 1923"/>
                <a:gd name="T70" fmla="*/ 2147483647 w 6045"/>
                <a:gd name="T71" fmla="*/ 2147483647 h 1923"/>
                <a:gd name="T72" fmla="*/ 2147483647 w 6045"/>
                <a:gd name="T73" fmla="*/ 2147483647 h 1923"/>
                <a:gd name="T74" fmla="*/ 2147483647 w 6045"/>
                <a:gd name="T75" fmla="*/ 2147483647 h 1923"/>
                <a:gd name="T76" fmla="*/ 2147483647 w 6045"/>
                <a:gd name="T77" fmla="*/ 2147483647 h 1923"/>
                <a:gd name="T78" fmla="*/ 2147483647 w 6045"/>
                <a:gd name="T79" fmla="*/ 2147483647 h 1923"/>
                <a:gd name="T80" fmla="*/ 2147483647 w 6045"/>
                <a:gd name="T81" fmla="*/ 2147483647 h 1923"/>
                <a:gd name="T82" fmla="*/ 2147483647 w 6045"/>
                <a:gd name="T83" fmla="*/ 2147483647 h 1923"/>
                <a:gd name="T84" fmla="*/ 2147483647 w 6045"/>
                <a:gd name="T85" fmla="*/ 2147483647 h 1923"/>
                <a:gd name="T86" fmla="*/ 2147483647 w 6045"/>
                <a:gd name="T87" fmla="*/ 2147483647 h 1923"/>
                <a:gd name="T88" fmla="*/ 2147483647 w 6045"/>
                <a:gd name="T89" fmla="*/ 2147483647 h 1923"/>
                <a:gd name="T90" fmla="*/ 2147483647 w 6045"/>
                <a:gd name="T91" fmla="*/ 2147483647 h 1923"/>
                <a:gd name="T92" fmla="*/ 2147483647 w 6045"/>
                <a:gd name="T93" fmla="*/ 2147483647 h 1923"/>
                <a:gd name="T94" fmla="*/ 2147483647 w 6045"/>
                <a:gd name="T95" fmla="*/ 2147483647 h 1923"/>
                <a:gd name="T96" fmla="*/ 2147483647 w 6045"/>
                <a:gd name="T97" fmla="*/ 2147483647 h 1923"/>
                <a:gd name="T98" fmla="*/ 2147483647 w 6045"/>
                <a:gd name="T99" fmla="*/ 2147483647 h 1923"/>
                <a:gd name="T100" fmla="*/ 2147483647 w 6045"/>
                <a:gd name="T101" fmla="*/ 2147483647 h 1923"/>
                <a:gd name="T102" fmla="*/ 2147483647 w 6045"/>
                <a:gd name="T103" fmla="*/ 2147483647 h 1923"/>
                <a:gd name="T104" fmla="*/ 2147483647 w 6045"/>
                <a:gd name="T105" fmla="*/ 2147483647 h 1923"/>
                <a:gd name="T106" fmla="*/ 2147483647 w 6045"/>
                <a:gd name="T107" fmla="*/ 2147483647 h 1923"/>
                <a:gd name="T108" fmla="*/ 2147483647 w 6045"/>
                <a:gd name="T109" fmla="*/ 2147483647 h 1923"/>
                <a:gd name="T110" fmla="*/ 2147483647 w 6045"/>
                <a:gd name="T111" fmla="*/ 2147483647 h 1923"/>
                <a:gd name="T112" fmla="*/ 2147483647 w 6045"/>
                <a:gd name="T113" fmla="*/ 2147483647 h 1923"/>
                <a:gd name="T114" fmla="*/ 2147483647 w 6045"/>
                <a:gd name="T115" fmla="*/ 2147483647 h 1923"/>
                <a:gd name="T116" fmla="*/ 2147483647 w 6045"/>
                <a:gd name="T117" fmla="*/ 2147483647 h 1923"/>
                <a:gd name="T118" fmla="*/ 2147483647 w 6045"/>
                <a:gd name="T119" fmla="*/ 2147483647 h 1923"/>
                <a:gd name="T120" fmla="*/ 2147483647 w 6045"/>
                <a:gd name="T121" fmla="*/ 2147483647 h 1923"/>
                <a:gd name="T122" fmla="*/ 2147483647 w 6045"/>
                <a:gd name="T123" fmla="*/ 2147483647 h 192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45"/>
                <a:gd name="T187" fmla="*/ 0 h 1923"/>
                <a:gd name="T188" fmla="*/ 6045 w 6045"/>
                <a:gd name="T189" fmla="*/ 1923 h 192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22" name="Freeform 149">
              <a:extLst>
                <a:ext uri="{FF2B5EF4-FFF2-40B4-BE49-F238E27FC236}">
                  <a16:creationId xmlns:a16="http://schemas.microsoft.com/office/drawing/2014/main" id="{3CAD0EDF-122B-E640-A610-AAD2AA089ECB}"/>
                </a:ext>
              </a:extLst>
            </p:cNvPr>
            <p:cNvSpPr>
              <a:spLocks noEditPoints="1"/>
            </p:cNvSpPr>
            <p:nvPr>
              <p:custDataLst>
                <p:tags r:id="rId115"/>
              </p:custDataLst>
            </p:nvPr>
          </p:nvSpPr>
          <p:spPr bwMode="auto">
            <a:xfrm>
              <a:off x="5770296" y="2186611"/>
              <a:ext cx="285431" cy="370560"/>
            </a:xfrm>
            <a:custGeom>
              <a:avLst/>
              <a:gdLst>
                <a:gd name="T0" fmla="*/ 2147483647 w 459"/>
                <a:gd name="T1" fmla="*/ 2147483647 h 664"/>
                <a:gd name="T2" fmla="*/ 2147483647 w 459"/>
                <a:gd name="T3" fmla="*/ 2147483647 h 664"/>
                <a:gd name="T4" fmla="*/ 2147483647 w 459"/>
                <a:gd name="T5" fmla="*/ 2147483647 h 664"/>
                <a:gd name="T6" fmla="*/ 2147483647 w 459"/>
                <a:gd name="T7" fmla="*/ 2147483647 h 664"/>
                <a:gd name="T8" fmla="*/ 2147483647 w 459"/>
                <a:gd name="T9" fmla="*/ 2147483647 h 664"/>
                <a:gd name="T10" fmla="*/ 2147483647 w 459"/>
                <a:gd name="T11" fmla="*/ 2147483647 h 664"/>
                <a:gd name="T12" fmla="*/ 2147483647 w 459"/>
                <a:gd name="T13" fmla="*/ 2147483647 h 664"/>
                <a:gd name="T14" fmla="*/ 2147483647 w 459"/>
                <a:gd name="T15" fmla="*/ 2147483647 h 664"/>
                <a:gd name="T16" fmla="*/ 2147483647 w 459"/>
                <a:gd name="T17" fmla="*/ 2147483647 h 664"/>
                <a:gd name="T18" fmla="*/ 2147483647 w 459"/>
                <a:gd name="T19" fmla="*/ 2147483647 h 664"/>
                <a:gd name="T20" fmla="*/ 2147483647 w 459"/>
                <a:gd name="T21" fmla="*/ 2147483647 h 664"/>
                <a:gd name="T22" fmla="*/ 2147483647 w 459"/>
                <a:gd name="T23" fmla="*/ 2147483647 h 664"/>
                <a:gd name="T24" fmla="*/ 2147483647 w 459"/>
                <a:gd name="T25" fmla="*/ 2147483647 h 664"/>
                <a:gd name="T26" fmla="*/ 2147483647 w 459"/>
                <a:gd name="T27" fmla="*/ 2147483647 h 664"/>
                <a:gd name="T28" fmla="*/ 2147483647 w 459"/>
                <a:gd name="T29" fmla="*/ 2147483647 h 664"/>
                <a:gd name="T30" fmla="*/ 2147483647 w 459"/>
                <a:gd name="T31" fmla="*/ 2147483647 h 664"/>
                <a:gd name="T32" fmla="*/ 2147483647 w 459"/>
                <a:gd name="T33" fmla="*/ 2147483647 h 664"/>
                <a:gd name="T34" fmla="*/ 2147483647 w 459"/>
                <a:gd name="T35" fmla="*/ 2147483647 h 664"/>
                <a:gd name="T36" fmla="*/ 2147483647 w 459"/>
                <a:gd name="T37" fmla="*/ 2147483647 h 664"/>
                <a:gd name="T38" fmla="*/ 2147483647 w 459"/>
                <a:gd name="T39" fmla="*/ 2147483647 h 664"/>
                <a:gd name="T40" fmla="*/ 2147483647 w 459"/>
                <a:gd name="T41" fmla="*/ 2147483647 h 664"/>
                <a:gd name="T42" fmla="*/ 0 w 459"/>
                <a:gd name="T43" fmla="*/ 2147483647 h 664"/>
                <a:gd name="T44" fmla="*/ 2147483647 w 459"/>
                <a:gd name="T45" fmla="*/ 2147483647 h 664"/>
                <a:gd name="T46" fmla="*/ 2147483647 w 459"/>
                <a:gd name="T47" fmla="*/ 2147483647 h 664"/>
                <a:gd name="T48" fmla="*/ 2147483647 w 459"/>
                <a:gd name="T49" fmla="*/ 2147483647 h 664"/>
                <a:gd name="T50" fmla="*/ 2147483647 w 459"/>
                <a:gd name="T51" fmla="*/ 2147483647 h 664"/>
                <a:gd name="T52" fmla="*/ 2147483647 w 459"/>
                <a:gd name="T53" fmla="*/ 2147483647 h 664"/>
                <a:gd name="T54" fmla="*/ 2147483647 w 459"/>
                <a:gd name="T55" fmla="*/ 2147483647 h 664"/>
                <a:gd name="T56" fmla="*/ 2147483647 w 459"/>
                <a:gd name="T57" fmla="*/ 2147483647 h 664"/>
                <a:gd name="T58" fmla="*/ 2147483647 w 459"/>
                <a:gd name="T59" fmla="*/ 2147483647 h 664"/>
                <a:gd name="T60" fmla="*/ 2147483647 w 459"/>
                <a:gd name="T61" fmla="*/ 2147483647 h 664"/>
                <a:gd name="T62" fmla="*/ 2147483647 w 459"/>
                <a:gd name="T63" fmla="*/ 2147483647 h 664"/>
                <a:gd name="T64" fmla="*/ 2147483647 w 459"/>
                <a:gd name="T65" fmla="*/ 2147483647 h 664"/>
                <a:gd name="T66" fmla="*/ 2147483647 w 459"/>
                <a:gd name="T67" fmla="*/ 2147483647 h 664"/>
                <a:gd name="T68" fmla="*/ 2147483647 w 459"/>
                <a:gd name="T69" fmla="*/ 2147483647 h 664"/>
                <a:gd name="T70" fmla="*/ 2147483647 w 459"/>
                <a:gd name="T71" fmla="*/ 2147483647 h 664"/>
                <a:gd name="T72" fmla="*/ 2147483647 w 459"/>
                <a:gd name="T73" fmla="*/ 2147483647 h 664"/>
                <a:gd name="T74" fmla="*/ 2147483647 w 459"/>
                <a:gd name="T75" fmla="*/ 2147483647 h 664"/>
                <a:gd name="T76" fmla="*/ 2147483647 w 459"/>
                <a:gd name="T77" fmla="*/ 2147483647 h 664"/>
                <a:gd name="T78" fmla="*/ 2147483647 w 459"/>
                <a:gd name="T79" fmla="*/ 2147483647 h 664"/>
                <a:gd name="T80" fmla="*/ 2147483647 w 459"/>
                <a:gd name="T81" fmla="*/ 2147483647 h 664"/>
                <a:gd name="T82" fmla="*/ 2147483647 w 459"/>
                <a:gd name="T83" fmla="*/ 2147483647 h 664"/>
                <a:gd name="T84" fmla="*/ 2147483647 w 459"/>
                <a:gd name="T85" fmla="*/ 2147483647 h 664"/>
                <a:gd name="T86" fmla="*/ 2147483647 w 459"/>
                <a:gd name="T87" fmla="*/ 2147483647 h 6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59"/>
                <a:gd name="T133" fmla="*/ 0 h 664"/>
                <a:gd name="T134" fmla="*/ 459 w 459"/>
                <a:gd name="T135" fmla="*/ 664 h 6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23" name="Freeform 150">
              <a:extLst>
                <a:ext uri="{FF2B5EF4-FFF2-40B4-BE49-F238E27FC236}">
                  <a16:creationId xmlns:a16="http://schemas.microsoft.com/office/drawing/2014/main" id="{734DA9ED-077C-2446-9FCE-CBC245C1C1F0}"/>
                </a:ext>
              </a:extLst>
            </p:cNvPr>
            <p:cNvSpPr>
              <a:spLocks noEditPoints="1"/>
            </p:cNvSpPr>
            <p:nvPr>
              <p:custDataLst>
                <p:tags r:id="rId116"/>
              </p:custDataLst>
            </p:nvPr>
          </p:nvSpPr>
          <p:spPr bwMode="auto">
            <a:xfrm>
              <a:off x="5626746" y="1917869"/>
              <a:ext cx="560848" cy="565856"/>
            </a:xfrm>
            <a:custGeom>
              <a:avLst/>
              <a:gdLst>
                <a:gd name="T0" fmla="*/ 2147483647 w 905"/>
                <a:gd name="T1" fmla="*/ 2147483647 h 1010"/>
                <a:gd name="T2" fmla="*/ 2147483647 w 905"/>
                <a:gd name="T3" fmla="*/ 2147483647 h 1010"/>
                <a:gd name="T4" fmla="*/ 2147483647 w 905"/>
                <a:gd name="T5" fmla="*/ 2147483647 h 1010"/>
                <a:gd name="T6" fmla="*/ 2147483647 w 905"/>
                <a:gd name="T7" fmla="*/ 2147483647 h 1010"/>
                <a:gd name="T8" fmla="*/ 2147483647 w 905"/>
                <a:gd name="T9" fmla="*/ 2147483647 h 1010"/>
                <a:gd name="T10" fmla="*/ 2147483647 w 905"/>
                <a:gd name="T11" fmla="*/ 2147483647 h 1010"/>
                <a:gd name="T12" fmla="*/ 2147483647 w 905"/>
                <a:gd name="T13" fmla="*/ 2147483647 h 1010"/>
                <a:gd name="T14" fmla="*/ 2147483647 w 905"/>
                <a:gd name="T15" fmla="*/ 2147483647 h 1010"/>
                <a:gd name="T16" fmla="*/ 2147483647 w 905"/>
                <a:gd name="T17" fmla="*/ 2147483647 h 1010"/>
                <a:gd name="T18" fmla="*/ 2147483647 w 905"/>
                <a:gd name="T19" fmla="*/ 2147483647 h 1010"/>
                <a:gd name="T20" fmla="*/ 2147483647 w 905"/>
                <a:gd name="T21" fmla="*/ 2147483647 h 1010"/>
                <a:gd name="T22" fmla="*/ 2147483647 w 905"/>
                <a:gd name="T23" fmla="*/ 2147483647 h 1010"/>
                <a:gd name="T24" fmla="*/ 2147483647 w 905"/>
                <a:gd name="T25" fmla="*/ 2147483647 h 1010"/>
                <a:gd name="T26" fmla="*/ 2147483647 w 905"/>
                <a:gd name="T27" fmla="*/ 2147483647 h 1010"/>
                <a:gd name="T28" fmla="*/ 2147483647 w 905"/>
                <a:gd name="T29" fmla="*/ 2147483647 h 1010"/>
                <a:gd name="T30" fmla="*/ 2147483647 w 905"/>
                <a:gd name="T31" fmla="*/ 2147483647 h 1010"/>
                <a:gd name="T32" fmla="*/ 2147483647 w 905"/>
                <a:gd name="T33" fmla="*/ 2147483647 h 1010"/>
                <a:gd name="T34" fmla="*/ 2147483647 w 905"/>
                <a:gd name="T35" fmla="*/ 2147483647 h 1010"/>
                <a:gd name="T36" fmla="*/ 2147483647 w 905"/>
                <a:gd name="T37" fmla="*/ 2147483647 h 1010"/>
                <a:gd name="T38" fmla="*/ 2147483647 w 905"/>
                <a:gd name="T39" fmla="*/ 2147483647 h 1010"/>
                <a:gd name="T40" fmla="*/ 2147483647 w 905"/>
                <a:gd name="T41" fmla="*/ 2147483647 h 1010"/>
                <a:gd name="T42" fmla="*/ 2147483647 w 905"/>
                <a:gd name="T43" fmla="*/ 2147483647 h 1010"/>
                <a:gd name="T44" fmla="*/ 2147483647 w 905"/>
                <a:gd name="T45" fmla="*/ 2147483647 h 1010"/>
                <a:gd name="T46" fmla="*/ 2147483647 w 905"/>
                <a:gd name="T47" fmla="*/ 2147483647 h 1010"/>
                <a:gd name="T48" fmla="*/ 2147483647 w 905"/>
                <a:gd name="T49" fmla="*/ 2147483647 h 1010"/>
                <a:gd name="T50" fmla="*/ 2147483647 w 905"/>
                <a:gd name="T51" fmla="*/ 2147483647 h 1010"/>
                <a:gd name="T52" fmla="*/ 2147483647 w 905"/>
                <a:gd name="T53" fmla="*/ 2147483647 h 1010"/>
                <a:gd name="T54" fmla="*/ 2147483647 w 905"/>
                <a:gd name="T55" fmla="*/ 2147483647 h 1010"/>
                <a:gd name="T56" fmla="*/ 2147483647 w 905"/>
                <a:gd name="T57" fmla="*/ 2147483647 h 1010"/>
                <a:gd name="T58" fmla="*/ 2147483647 w 905"/>
                <a:gd name="T59" fmla="*/ 2147483647 h 1010"/>
                <a:gd name="T60" fmla="*/ 2147483647 w 905"/>
                <a:gd name="T61" fmla="*/ 2147483647 h 1010"/>
                <a:gd name="T62" fmla="*/ 2147483647 w 905"/>
                <a:gd name="T63" fmla="*/ 2147483647 h 1010"/>
                <a:gd name="T64" fmla="*/ 2147483647 w 905"/>
                <a:gd name="T65" fmla="*/ 2147483647 h 1010"/>
                <a:gd name="T66" fmla="*/ 2147483647 w 905"/>
                <a:gd name="T67" fmla="*/ 2147483647 h 1010"/>
                <a:gd name="T68" fmla="*/ 2147483647 w 905"/>
                <a:gd name="T69" fmla="*/ 2147483647 h 1010"/>
                <a:gd name="T70" fmla="*/ 2147483647 w 905"/>
                <a:gd name="T71" fmla="*/ 2147483647 h 1010"/>
                <a:gd name="T72" fmla="*/ 0 w 905"/>
                <a:gd name="T73" fmla="*/ 2147483647 h 1010"/>
                <a:gd name="T74" fmla="*/ 2147483647 w 905"/>
                <a:gd name="T75" fmla="*/ 2147483647 h 1010"/>
                <a:gd name="T76" fmla="*/ 2147483647 w 905"/>
                <a:gd name="T77" fmla="*/ 2147483647 h 1010"/>
                <a:gd name="T78" fmla="*/ 2147483647 w 905"/>
                <a:gd name="T79" fmla="*/ 2147483647 h 1010"/>
                <a:gd name="T80" fmla="*/ 2147483647 w 905"/>
                <a:gd name="T81" fmla="*/ 2147483647 h 1010"/>
                <a:gd name="T82" fmla="*/ 2147483647 w 905"/>
                <a:gd name="T83" fmla="*/ 2147483647 h 1010"/>
                <a:gd name="T84" fmla="*/ 2147483647 w 905"/>
                <a:gd name="T85" fmla="*/ 2147483647 h 1010"/>
                <a:gd name="T86" fmla="*/ 2147483647 w 905"/>
                <a:gd name="T87" fmla="*/ 2147483647 h 1010"/>
                <a:gd name="T88" fmla="*/ 2147483647 w 905"/>
                <a:gd name="T89" fmla="*/ 2147483647 h 1010"/>
                <a:gd name="T90" fmla="*/ 2147483647 w 905"/>
                <a:gd name="T91" fmla="*/ 2147483647 h 1010"/>
                <a:gd name="T92" fmla="*/ 2147483647 w 905"/>
                <a:gd name="T93" fmla="*/ 2147483647 h 1010"/>
                <a:gd name="T94" fmla="*/ 2147483647 w 905"/>
                <a:gd name="T95" fmla="*/ 2147483647 h 1010"/>
                <a:gd name="T96" fmla="*/ 2147483647 w 905"/>
                <a:gd name="T97" fmla="*/ 2147483647 h 1010"/>
                <a:gd name="T98" fmla="*/ 2147483647 w 905"/>
                <a:gd name="T99" fmla="*/ 2147483647 h 1010"/>
                <a:gd name="T100" fmla="*/ 2147483647 w 905"/>
                <a:gd name="T101" fmla="*/ 2147483647 h 1010"/>
                <a:gd name="T102" fmla="*/ 2147483647 w 905"/>
                <a:gd name="T103" fmla="*/ 2147483647 h 1010"/>
                <a:gd name="T104" fmla="*/ 2147483647 w 905"/>
                <a:gd name="T105" fmla="*/ 2147483647 h 1010"/>
                <a:gd name="T106" fmla="*/ 2147483647 w 905"/>
                <a:gd name="T107" fmla="*/ 2147483647 h 1010"/>
                <a:gd name="T108" fmla="*/ 2147483647 w 905"/>
                <a:gd name="T109" fmla="*/ 2147483647 h 1010"/>
                <a:gd name="T110" fmla="*/ 2147483647 w 905"/>
                <a:gd name="T111" fmla="*/ 2147483647 h 1010"/>
                <a:gd name="T112" fmla="*/ 2147483647 w 905"/>
                <a:gd name="T113" fmla="*/ 2147483647 h 1010"/>
                <a:gd name="T114" fmla="*/ 2147483647 w 905"/>
                <a:gd name="T115" fmla="*/ 2147483647 h 10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05"/>
                <a:gd name="T175" fmla="*/ 0 h 1010"/>
                <a:gd name="T176" fmla="*/ 905 w 905"/>
                <a:gd name="T177" fmla="*/ 1010 h 10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24" name="Freeform 151">
              <a:extLst>
                <a:ext uri="{FF2B5EF4-FFF2-40B4-BE49-F238E27FC236}">
                  <a16:creationId xmlns:a16="http://schemas.microsoft.com/office/drawing/2014/main" id="{E7A57B8F-363D-6D46-9B83-6692DA426ACB}"/>
                </a:ext>
              </a:extLst>
            </p:cNvPr>
            <p:cNvSpPr>
              <a:spLocks/>
            </p:cNvSpPr>
            <p:nvPr>
              <p:custDataLst>
                <p:tags r:id="rId117"/>
              </p:custDataLst>
            </p:nvPr>
          </p:nvSpPr>
          <p:spPr bwMode="auto">
            <a:xfrm>
              <a:off x="6688352" y="3642145"/>
              <a:ext cx="298785" cy="183611"/>
            </a:xfrm>
            <a:custGeom>
              <a:avLst/>
              <a:gdLst>
                <a:gd name="T0" fmla="*/ 2147483647 w 487"/>
                <a:gd name="T1" fmla="*/ 2147483647 h 330"/>
                <a:gd name="T2" fmla="*/ 2147483647 w 487"/>
                <a:gd name="T3" fmla="*/ 2147483647 h 330"/>
                <a:gd name="T4" fmla="*/ 2147483647 w 487"/>
                <a:gd name="T5" fmla="*/ 2147483647 h 330"/>
                <a:gd name="T6" fmla="*/ 2147483647 w 487"/>
                <a:gd name="T7" fmla="*/ 2147483647 h 330"/>
                <a:gd name="T8" fmla="*/ 2147483647 w 487"/>
                <a:gd name="T9" fmla="*/ 2147483647 h 330"/>
                <a:gd name="T10" fmla="*/ 2147483647 w 487"/>
                <a:gd name="T11" fmla="*/ 2147483647 h 330"/>
                <a:gd name="T12" fmla="*/ 2147483647 w 487"/>
                <a:gd name="T13" fmla="*/ 2147483647 h 330"/>
                <a:gd name="T14" fmla="*/ 2147483647 w 487"/>
                <a:gd name="T15" fmla="*/ 2147483647 h 330"/>
                <a:gd name="T16" fmla="*/ 2147483647 w 487"/>
                <a:gd name="T17" fmla="*/ 2147483647 h 330"/>
                <a:gd name="T18" fmla="*/ 2147483647 w 487"/>
                <a:gd name="T19" fmla="*/ 2147483647 h 330"/>
                <a:gd name="T20" fmla="*/ 2147483647 w 487"/>
                <a:gd name="T21" fmla="*/ 2147483647 h 330"/>
                <a:gd name="T22" fmla="*/ 2147483647 w 487"/>
                <a:gd name="T23" fmla="*/ 2147483647 h 330"/>
                <a:gd name="T24" fmla="*/ 2147483647 w 487"/>
                <a:gd name="T25" fmla="*/ 2147483647 h 330"/>
                <a:gd name="T26" fmla="*/ 2147483647 w 487"/>
                <a:gd name="T27" fmla="*/ 2147483647 h 330"/>
                <a:gd name="T28" fmla="*/ 2147483647 w 487"/>
                <a:gd name="T29" fmla="*/ 2147483647 h 330"/>
                <a:gd name="T30" fmla="*/ 2147483647 w 487"/>
                <a:gd name="T31" fmla="*/ 2147483647 h 330"/>
                <a:gd name="T32" fmla="*/ 2147483647 w 487"/>
                <a:gd name="T33" fmla="*/ 2147483647 h 330"/>
                <a:gd name="T34" fmla="*/ 2147483647 w 487"/>
                <a:gd name="T35" fmla="*/ 2147483647 h 330"/>
                <a:gd name="T36" fmla="*/ 2147483647 w 487"/>
                <a:gd name="T37" fmla="*/ 2147483647 h 330"/>
                <a:gd name="T38" fmla="*/ 2147483647 w 487"/>
                <a:gd name="T39" fmla="*/ 2147483647 h 330"/>
                <a:gd name="T40" fmla="*/ 2147483647 w 487"/>
                <a:gd name="T41" fmla="*/ 2147483647 h 330"/>
                <a:gd name="T42" fmla="*/ 2147483647 w 487"/>
                <a:gd name="T43" fmla="*/ 2147483647 h 330"/>
                <a:gd name="T44" fmla="*/ 2147483647 w 487"/>
                <a:gd name="T45" fmla="*/ 2147483647 h 330"/>
                <a:gd name="T46" fmla="*/ 2147483647 w 487"/>
                <a:gd name="T47" fmla="*/ 2147483647 h 330"/>
                <a:gd name="T48" fmla="*/ 2147483647 w 487"/>
                <a:gd name="T49" fmla="*/ 2147483647 h 330"/>
                <a:gd name="T50" fmla="*/ 2147483647 w 487"/>
                <a:gd name="T51" fmla="*/ 2147483647 h 330"/>
                <a:gd name="T52" fmla="*/ 2147483647 w 487"/>
                <a:gd name="T53" fmla="*/ 2147483647 h 330"/>
                <a:gd name="T54" fmla="*/ 2147483647 w 487"/>
                <a:gd name="T55" fmla="*/ 2147483647 h 330"/>
                <a:gd name="T56" fmla="*/ 2147483647 w 487"/>
                <a:gd name="T57" fmla="*/ 2147483647 h 330"/>
                <a:gd name="T58" fmla="*/ 2147483647 w 487"/>
                <a:gd name="T59" fmla="*/ 2147483647 h 330"/>
                <a:gd name="T60" fmla="*/ 2147483647 w 487"/>
                <a:gd name="T61" fmla="*/ 0 h 330"/>
                <a:gd name="T62" fmla="*/ 2147483647 w 487"/>
                <a:gd name="T63" fmla="*/ 2147483647 h 3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7"/>
                <a:gd name="T97" fmla="*/ 0 h 330"/>
                <a:gd name="T98" fmla="*/ 487 w 487"/>
                <a:gd name="T99" fmla="*/ 330 h 3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25" name="Freeform 152">
              <a:extLst>
                <a:ext uri="{FF2B5EF4-FFF2-40B4-BE49-F238E27FC236}">
                  <a16:creationId xmlns:a16="http://schemas.microsoft.com/office/drawing/2014/main" id="{27A7B318-CCB3-D744-A3AE-065580FF65AA}"/>
                </a:ext>
              </a:extLst>
            </p:cNvPr>
            <p:cNvSpPr>
              <a:spLocks/>
            </p:cNvSpPr>
            <p:nvPr>
              <p:custDataLst>
                <p:tags r:id="rId118"/>
              </p:custDataLst>
            </p:nvPr>
          </p:nvSpPr>
          <p:spPr bwMode="auto">
            <a:xfrm>
              <a:off x="5713543" y="4139563"/>
              <a:ext cx="65098" cy="43399"/>
            </a:xfrm>
            <a:custGeom>
              <a:avLst/>
              <a:gdLst>
                <a:gd name="T0" fmla="*/ 2147483647 w 103"/>
                <a:gd name="T1" fmla="*/ 2147483647 h 71"/>
                <a:gd name="T2" fmla="*/ 2147483647 w 103"/>
                <a:gd name="T3" fmla="*/ 2147483647 h 71"/>
                <a:gd name="T4" fmla="*/ 2147483647 w 103"/>
                <a:gd name="T5" fmla="*/ 2147483647 h 71"/>
                <a:gd name="T6" fmla="*/ 2147483647 w 103"/>
                <a:gd name="T7" fmla="*/ 0 h 71"/>
                <a:gd name="T8" fmla="*/ 2147483647 w 103"/>
                <a:gd name="T9" fmla="*/ 2147483647 h 71"/>
                <a:gd name="T10" fmla="*/ 2147483647 w 103"/>
                <a:gd name="T11" fmla="*/ 2147483647 h 71"/>
                <a:gd name="T12" fmla="*/ 2147483647 w 103"/>
                <a:gd name="T13" fmla="*/ 2147483647 h 71"/>
                <a:gd name="T14" fmla="*/ 2147483647 w 103"/>
                <a:gd name="T15" fmla="*/ 2147483647 h 71"/>
                <a:gd name="T16" fmla="*/ 2147483647 w 103"/>
                <a:gd name="T17" fmla="*/ 2147483647 h 71"/>
                <a:gd name="T18" fmla="*/ 2147483647 w 103"/>
                <a:gd name="T19" fmla="*/ 2147483647 h 71"/>
                <a:gd name="T20" fmla="*/ 2147483647 w 103"/>
                <a:gd name="T21" fmla="*/ 2147483647 h 71"/>
                <a:gd name="T22" fmla="*/ 2147483647 w 103"/>
                <a:gd name="T23" fmla="*/ 2147483647 h 71"/>
                <a:gd name="T24" fmla="*/ 2147483647 w 103"/>
                <a:gd name="T25" fmla="*/ 2147483647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1"/>
                <a:gd name="T41" fmla="*/ 103 w 103"/>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26" name="Freeform 153">
              <a:extLst>
                <a:ext uri="{FF2B5EF4-FFF2-40B4-BE49-F238E27FC236}">
                  <a16:creationId xmlns:a16="http://schemas.microsoft.com/office/drawing/2014/main" id="{72E6BA59-0B70-3140-BFD8-0482C017D2EC}"/>
                </a:ext>
              </a:extLst>
            </p:cNvPr>
            <p:cNvSpPr>
              <a:spLocks noEditPoints="1"/>
            </p:cNvSpPr>
            <p:nvPr>
              <p:custDataLst>
                <p:tags r:id="rId119"/>
              </p:custDataLst>
            </p:nvPr>
          </p:nvSpPr>
          <p:spPr bwMode="auto">
            <a:xfrm>
              <a:off x="5226139" y="2894347"/>
              <a:ext cx="365553" cy="230349"/>
            </a:xfrm>
            <a:custGeom>
              <a:avLst/>
              <a:gdLst>
                <a:gd name="T0" fmla="*/ 2147483647 w 591"/>
                <a:gd name="T1" fmla="*/ 2147483647 h 413"/>
                <a:gd name="T2" fmla="*/ 2147483647 w 591"/>
                <a:gd name="T3" fmla="*/ 2147483647 h 413"/>
                <a:gd name="T4" fmla="*/ 2147483647 w 591"/>
                <a:gd name="T5" fmla="*/ 2147483647 h 413"/>
                <a:gd name="T6" fmla="*/ 2147483647 w 591"/>
                <a:gd name="T7" fmla="*/ 2147483647 h 413"/>
                <a:gd name="T8" fmla="*/ 2147483647 w 591"/>
                <a:gd name="T9" fmla="*/ 2147483647 h 413"/>
                <a:gd name="T10" fmla="*/ 2147483647 w 591"/>
                <a:gd name="T11" fmla="*/ 2147483647 h 413"/>
                <a:gd name="T12" fmla="*/ 2147483647 w 591"/>
                <a:gd name="T13" fmla="*/ 2147483647 h 413"/>
                <a:gd name="T14" fmla="*/ 2147483647 w 591"/>
                <a:gd name="T15" fmla="*/ 2147483647 h 413"/>
                <a:gd name="T16" fmla="*/ 2147483647 w 591"/>
                <a:gd name="T17" fmla="*/ 2147483647 h 413"/>
                <a:gd name="T18" fmla="*/ 2147483647 w 591"/>
                <a:gd name="T19" fmla="*/ 2147483647 h 413"/>
                <a:gd name="T20" fmla="*/ 2147483647 w 591"/>
                <a:gd name="T21" fmla="*/ 2147483647 h 413"/>
                <a:gd name="T22" fmla="*/ 2147483647 w 591"/>
                <a:gd name="T23" fmla="*/ 2147483647 h 413"/>
                <a:gd name="T24" fmla="*/ 2147483647 w 591"/>
                <a:gd name="T25" fmla="*/ 2147483647 h 413"/>
                <a:gd name="T26" fmla="*/ 2147483647 w 591"/>
                <a:gd name="T27" fmla="*/ 2147483647 h 413"/>
                <a:gd name="T28" fmla="*/ 2147483647 w 591"/>
                <a:gd name="T29" fmla="*/ 2147483647 h 413"/>
                <a:gd name="T30" fmla="*/ 2147483647 w 591"/>
                <a:gd name="T31" fmla="*/ 2147483647 h 413"/>
                <a:gd name="T32" fmla="*/ 2147483647 w 591"/>
                <a:gd name="T33" fmla="*/ 2147483647 h 413"/>
                <a:gd name="T34" fmla="*/ 2147483647 w 591"/>
                <a:gd name="T35" fmla="*/ 2147483647 h 413"/>
                <a:gd name="T36" fmla="*/ 2147483647 w 591"/>
                <a:gd name="T37" fmla="*/ 2147483647 h 413"/>
                <a:gd name="T38" fmla="*/ 2147483647 w 591"/>
                <a:gd name="T39" fmla="*/ 2147483647 h 413"/>
                <a:gd name="T40" fmla="*/ 2147483647 w 591"/>
                <a:gd name="T41" fmla="*/ 2147483647 h 413"/>
                <a:gd name="T42" fmla="*/ 2147483647 w 591"/>
                <a:gd name="T43" fmla="*/ 2147483647 h 413"/>
                <a:gd name="T44" fmla="*/ 2147483647 w 591"/>
                <a:gd name="T45" fmla="*/ 2147483647 h 413"/>
                <a:gd name="T46" fmla="*/ 2147483647 w 591"/>
                <a:gd name="T47" fmla="*/ 2147483647 h 413"/>
                <a:gd name="T48" fmla="*/ 2147483647 w 591"/>
                <a:gd name="T49" fmla="*/ 2147483647 h 413"/>
                <a:gd name="T50" fmla="*/ 2147483647 w 591"/>
                <a:gd name="T51" fmla="*/ 2147483647 h 413"/>
                <a:gd name="T52" fmla="*/ 2147483647 w 591"/>
                <a:gd name="T53" fmla="*/ 2147483647 h 413"/>
                <a:gd name="T54" fmla="*/ 2147483647 w 591"/>
                <a:gd name="T55" fmla="*/ 2147483647 h 413"/>
                <a:gd name="T56" fmla="*/ 2147483647 w 591"/>
                <a:gd name="T57" fmla="*/ 2147483647 h 413"/>
                <a:gd name="T58" fmla="*/ 2147483647 w 591"/>
                <a:gd name="T59" fmla="*/ 2147483647 h 413"/>
                <a:gd name="T60" fmla="*/ 2147483647 w 591"/>
                <a:gd name="T61" fmla="*/ 2147483647 h 413"/>
                <a:gd name="T62" fmla="*/ 2147483647 w 591"/>
                <a:gd name="T63" fmla="*/ 2147483647 h 413"/>
                <a:gd name="T64" fmla="*/ 2147483647 w 591"/>
                <a:gd name="T65" fmla="*/ 2147483647 h 413"/>
                <a:gd name="T66" fmla="*/ 2147483647 w 591"/>
                <a:gd name="T67" fmla="*/ 2147483647 h 413"/>
                <a:gd name="T68" fmla="*/ 2147483647 w 591"/>
                <a:gd name="T69" fmla="*/ 2147483647 h 413"/>
                <a:gd name="T70" fmla="*/ 2147483647 w 591"/>
                <a:gd name="T71" fmla="*/ 2147483647 h 413"/>
                <a:gd name="T72" fmla="*/ 2147483647 w 591"/>
                <a:gd name="T73" fmla="*/ 2147483647 h 413"/>
                <a:gd name="T74" fmla="*/ 2147483647 w 591"/>
                <a:gd name="T75" fmla="*/ 2147483647 h 413"/>
                <a:gd name="T76" fmla="*/ 2147483647 w 591"/>
                <a:gd name="T77" fmla="*/ 2147483647 h 413"/>
                <a:gd name="T78" fmla="*/ 2147483647 w 591"/>
                <a:gd name="T79" fmla="*/ 2147483647 h 413"/>
                <a:gd name="T80" fmla="*/ 2147483647 w 591"/>
                <a:gd name="T81" fmla="*/ 2147483647 h 413"/>
                <a:gd name="T82" fmla="*/ 2147483647 w 591"/>
                <a:gd name="T83" fmla="*/ 2147483647 h 413"/>
                <a:gd name="T84" fmla="*/ 2147483647 w 591"/>
                <a:gd name="T85" fmla="*/ 2147483647 h 413"/>
                <a:gd name="T86" fmla="*/ 2147483647 w 591"/>
                <a:gd name="T87" fmla="*/ 2147483647 h 413"/>
                <a:gd name="T88" fmla="*/ 2147483647 w 591"/>
                <a:gd name="T89" fmla="*/ 2147483647 h 413"/>
                <a:gd name="T90" fmla="*/ 2147483647 w 591"/>
                <a:gd name="T91" fmla="*/ 2147483647 h 413"/>
                <a:gd name="T92" fmla="*/ 2147483647 w 591"/>
                <a:gd name="T93" fmla="*/ 2147483647 h 413"/>
                <a:gd name="T94" fmla="*/ 2147483647 w 591"/>
                <a:gd name="T95" fmla="*/ 2147483647 h 413"/>
                <a:gd name="T96" fmla="*/ 2147483647 w 591"/>
                <a:gd name="T97" fmla="*/ 2147483647 h 413"/>
                <a:gd name="T98" fmla="*/ 2147483647 w 591"/>
                <a:gd name="T99" fmla="*/ 2147483647 h 413"/>
                <a:gd name="T100" fmla="*/ 2147483647 w 591"/>
                <a:gd name="T101" fmla="*/ 2147483647 h 413"/>
                <a:gd name="T102" fmla="*/ 2147483647 w 591"/>
                <a:gd name="T103" fmla="*/ 2147483647 h 413"/>
                <a:gd name="T104" fmla="*/ 2147483647 w 591"/>
                <a:gd name="T105" fmla="*/ 2147483647 h 413"/>
                <a:gd name="T106" fmla="*/ 2147483647 w 591"/>
                <a:gd name="T107" fmla="*/ 2147483647 h 4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91"/>
                <a:gd name="T163" fmla="*/ 0 h 413"/>
                <a:gd name="T164" fmla="*/ 591 w 591"/>
                <a:gd name="T165" fmla="*/ 413 h 41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27" name="Freeform 154">
              <a:extLst>
                <a:ext uri="{FF2B5EF4-FFF2-40B4-BE49-F238E27FC236}">
                  <a16:creationId xmlns:a16="http://schemas.microsoft.com/office/drawing/2014/main" id="{42163385-3860-D84C-9CE2-B8E9536D312F}"/>
                </a:ext>
              </a:extLst>
            </p:cNvPr>
            <p:cNvSpPr>
              <a:spLocks/>
            </p:cNvSpPr>
            <p:nvPr>
              <p:custDataLst>
                <p:tags r:id="rId120"/>
              </p:custDataLst>
            </p:nvPr>
          </p:nvSpPr>
          <p:spPr bwMode="auto">
            <a:xfrm>
              <a:off x="5209448" y="2942753"/>
              <a:ext cx="96813" cy="156904"/>
            </a:xfrm>
            <a:custGeom>
              <a:avLst/>
              <a:gdLst>
                <a:gd name="T0" fmla="*/ 2147483647 w 155"/>
                <a:gd name="T1" fmla="*/ 2147483647 h 277"/>
                <a:gd name="T2" fmla="*/ 2147483647 w 155"/>
                <a:gd name="T3" fmla="*/ 2147483647 h 277"/>
                <a:gd name="T4" fmla="*/ 2147483647 w 155"/>
                <a:gd name="T5" fmla="*/ 2147483647 h 277"/>
                <a:gd name="T6" fmla="*/ 2147483647 w 155"/>
                <a:gd name="T7" fmla="*/ 2147483647 h 277"/>
                <a:gd name="T8" fmla="*/ 2147483647 w 155"/>
                <a:gd name="T9" fmla="*/ 2147483647 h 277"/>
                <a:gd name="T10" fmla="*/ 2147483647 w 155"/>
                <a:gd name="T11" fmla="*/ 2147483647 h 277"/>
                <a:gd name="T12" fmla="*/ 2147483647 w 155"/>
                <a:gd name="T13" fmla="*/ 2147483647 h 277"/>
                <a:gd name="T14" fmla="*/ 2147483647 w 155"/>
                <a:gd name="T15" fmla="*/ 0 h 277"/>
                <a:gd name="T16" fmla="*/ 2147483647 w 155"/>
                <a:gd name="T17" fmla="*/ 2147483647 h 277"/>
                <a:gd name="T18" fmla="*/ 2147483647 w 155"/>
                <a:gd name="T19" fmla="*/ 2147483647 h 277"/>
                <a:gd name="T20" fmla="*/ 2147483647 w 155"/>
                <a:gd name="T21" fmla="*/ 2147483647 h 277"/>
                <a:gd name="T22" fmla="*/ 2147483647 w 155"/>
                <a:gd name="T23" fmla="*/ 2147483647 h 277"/>
                <a:gd name="T24" fmla="*/ 2147483647 w 155"/>
                <a:gd name="T25" fmla="*/ 2147483647 h 277"/>
                <a:gd name="T26" fmla="*/ 2147483647 w 155"/>
                <a:gd name="T27" fmla="*/ 2147483647 h 277"/>
                <a:gd name="T28" fmla="*/ 2147483647 w 155"/>
                <a:gd name="T29" fmla="*/ 2147483647 h 277"/>
                <a:gd name="T30" fmla="*/ 2147483647 w 155"/>
                <a:gd name="T31" fmla="*/ 2147483647 h 277"/>
                <a:gd name="T32" fmla="*/ 2147483647 w 155"/>
                <a:gd name="T33" fmla="*/ 2147483647 h 277"/>
                <a:gd name="T34" fmla="*/ 2147483647 w 155"/>
                <a:gd name="T35" fmla="*/ 2147483647 h 277"/>
                <a:gd name="T36" fmla="*/ 2147483647 w 155"/>
                <a:gd name="T37" fmla="*/ 2147483647 h 277"/>
                <a:gd name="T38" fmla="*/ 2147483647 w 155"/>
                <a:gd name="T39" fmla="*/ 2147483647 h 277"/>
                <a:gd name="T40" fmla="*/ 2147483647 w 155"/>
                <a:gd name="T41" fmla="*/ 2147483647 h 277"/>
                <a:gd name="T42" fmla="*/ 2147483647 w 155"/>
                <a:gd name="T43" fmla="*/ 2147483647 h 277"/>
                <a:gd name="T44" fmla="*/ 2147483647 w 155"/>
                <a:gd name="T45" fmla="*/ 2147483647 h 277"/>
                <a:gd name="T46" fmla="*/ 2147483647 w 155"/>
                <a:gd name="T47" fmla="*/ 2147483647 h 277"/>
                <a:gd name="T48" fmla="*/ 2147483647 w 155"/>
                <a:gd name="T49" fmla="*/ 2147483647 h 277"/>
                <a:gd name="T50" fmla="*/ 2147483647 w 155"/>
                <a:gd name="T51" fmla="*/ 2147483647 h 277"/>
                <a:gd name="T52" fmla="*/ 2147483647 w 155"/>
                <a:gd name="T53" fmla="*/ 2147483647 h 277"/>
                <a:gd name="T54" fmla="*/ 2147483647 w 155"/>
                <a:gd name="T55" fmla="*/ 2147483647 h 277"/>
                <a:gd name="T56" fmla="*/ 2147483647 w 155"/>
                <a:gd name="T57" fmla="*/ 2147483647 h 277"/>
                <a:gd name="T58" fmla="*/ 2147483647 w 155"/>
                <a:gd name="T59" fmla="*/ 2147483647 h 277"/>
                <a:gd name="T60" fmla="*/ 2147483647 w 155"/>
                <a:gd name="T61" fmla="*/ 2147483647 h 277"/>
                <a:gd name="T62" fmla="*/ 2147483647 w 155"/>
                <a:gd name="T63" fmla="*/ 2147483647 h 277"/>
                <a:gd name="T64" fmla="*/ 2147483647 w 155"/>
                <a:gd name="T65" fmla="*/ 2147483647 h 277"/>
                <a:gd name="T66" fmla="*/ 2147483647 w 155"/>
                <a:gd name="T67" fmla="*/ 2147483647 h 277"/>
                <a:gd name="T68" fmla="*/ 2147483647 w 155"/>
                <a:gd name="T69" fmla="*/ 2147483647 h 277"/>
                <a:gd name="T70" fmla="*/ 2147483647 w 155"/>
                <a:gd name="T71" fmla="*/ 2147483647 h 277"/>
                <a:gd name="T72" fmla="*/ 2147483647 w 155"/>
                <a:gd name="T73" fmla="*/ 2147483647 h 2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5"/>
                <a:gd name="T112" fmla="*/ 0 h 277"/>
                <a:gd name="T113" fmla="*/ 155 w 155"/>
                <a:gd name="T114" fmla="*/ 277 h 2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28" name="Freeform 158">
              <a:extLst>
                <a:ext uri="{FF2B5EF4-FFF2-40B4-BE49-F238E27FC236}">
                  <a16:creationId xmlns:a16="http://schemas.microsoft.com/office/drawing/2014/main" id="{9EC1D352-F0E1-2646-BC73-AC6ABFE4B8ED}"/>
                </a:ext>
              </a:extLst>
            </p:cNvPr>
            <p:cNvSpPr>
              <a:spLocks noEditPoints="1"/>
            </p:cNvSpPr>
            <p:nvPr>
              <p:custDataLst>
                <p:tags r:id="rId121"/>
              </p:custDataLst>
            </p:nvPr>
          </p:nvSpPr>
          <p:spPr bwMode="auto">
            <a:xfrm>
              <a:off x="3840711" y="2675682"/>
              <a:ext cx="1887855" cy="1470558"/>
            </a:xfrm>
            <a:custGeom>
              <a:avLst/>
              <a:gdLst>
                <a:gd name="T0" fmla="*/ 2147483647 w 3050"/>
                <a:gd name="T1" fmla="*/ 2147483647 h 2623"/>
                <a:gd name="T2" fmla="*/ 2147483647 w 3050"/>
                <a:gd name="T3" fmla="*/ 2147483647 h 2623"/>
                <a:gd name="T4" fmla="*/ 2147483647 w 3050"/>
                <a:gd name="T5" fmla="*/ 2147483647 h 2623"/>
                <a:gd name="T6" fmla="*/ 2147483647 w 3050"/>
                <a:gd name="T7" fmla="*/ 2147483647 h 2623"/>
                <a:gd name="T8" fmla="*/ 2147483647 w 3050"/>
                <a:gd name="T9" fmla="*/ 2147483647 h 2623"/>
                <a:gd name="T10" fmla="*/ 2147483647 w 3050"/>
                <a:gd name="T11" fmla="*/ 2147483647 h 2623"/>
                <a:gd name="T12" fmla="*/ 2147483647 w 3050"/>
                <a:gd name="T13" fmla="*/ 2147483647 h 2623"/>
                <a:gd name="T14" fmla="*/ 2147483647 w 3050"/>
                <a:gd name="T15" fmla="*/ 2147483647 h 2623"/>
                <a:gd name="T16" fmla="*/ 2147483647 w 3050"/>
                <a:gd name="T17" fmla="*/ 2147483647 h 2623"/>
                <a:gd name="T18" fmla="*/ 2147483647 w 3050"/>
                <a:gd name="T19" fmla="*/ 2147483647 h 2623"/>
                <a:gd name="T20" fmla="*/ 2147483647 w 3050"/>
                <a:gd name="T21" fmla="*/ 2147483647 h 2623"/>
                <a:gd name="T22" fmla="*/ 2147483647 w 3050"/>
                <a:gd name="T23" fmla="*/ 2147483647 h 2623"/>
                <a:gd name="T24" fmla="*/ 2147483647 w 3050"/>
                <a:gd name="T25" fmla="*/ 2147483647 h 2623"/>
                <a:gd name="T26" fmla="*/ 2147483647 w 3050"/>
                <a:gd name="T27" fmla="*/ 2147483647 h 2623"/>
                <a:gd name="T28" fmla="*/ 2147483647 w 3050"/>
                <a:gd name="T29" fmla="*/ 2147483647 h 2623"/>
                <a:gd name="T30" fmla="*/ 2147483647 w 3050"/>
                <a:gd name="T31" fmla="*/ 2147483647 h 2623"/>
                <a:gd name="T32" fmla="*/ 2147483647 w 3050"/>
                <a:gd name="T33" fmla="*/ 2147483647 h 2623"/>
                <a:gd name="T34" fmla="*/ 2147483647 w 3050"/>
                <a:gd name="T35" fmla="*/ 2147483647 h 2623"/>
                <a:gd name="T36" fmla="*/ 2147483647 w 3050"/>
                <a:gd name="T37" fmla="*/ 2147483647 h 2623"/>
                <a:gd name="T38" fmla="*/ 2147483647 w 3050"/>
                <a:gd name="T39" fmla="*/ 2147483647 h 2623"/>
                <a:gd name="T40" fmla="*/ 2147483647 w 3050"/>
                <a:gd name="T41" fmla="*/ 2147483647 h 2623"/>
                <a:gd name="T42" fmla="*/ 2147483647 w 3050"/>
                <a:gd name="T43" fmla="*/ 2147483647 h 2623"/>
                <a:gd name="T44" fmla="*/ 2147483647 w 3050"/>
                <a:gd name="T45" fmla="*/ 2147483647 h 2623"/>
                <a:gd name="T46" fmla="*/ 2147483647 w 3050"/>
                <a:gd name="T47" fmla="*/ 2147483647 h 2623"/>
                <a:gd name="T48" fmla="*/ 2147483647 w 3050"/>
                <a:gd name="T49" fmla="*/ 2147483647 h 2623"/>
                <a:gd name="T50" fmla="*/ 2147483647 w 3050"/>
                <a:gd name="T51" fmla="*/ 2147483647 h 2623"/>
                <a:gd name="T52" fmla="*/ 2147483647 w 3050"/>
                <a:gd name="T53" fmla="*/ 2147483647 h 2623"/>
                <a:gd name="T54" fmla="*/ 2147483647 w 3050"/>
                <a:gd name="T55" fmla="*/ 2147483647 h 2623"/>
                <a:gd name="T56" fmla="*/ 2147483647 w 3050"/>
                <a:gd name="T57" fmla="*/ 2147483647 h 2623"/>
                <a:gd name="T58" fmla="*/ 2147483647 w 3050"/>
                <a:gd name="T59" fmla="*/ 2147483647 h 2623"/>
                <a:gd name="T60" fmla="*/ 2147483647 w 3050"/>
                <a:gd name="T61" fmla="*/ 2147483647 h 2623"/>
                <a:gd name="T62" fmla="*/ 2147483647 w 3050"/>
                <a:gd name="T63" fmla="*/ 2147483647 h 2623"/>
                <a:gd name="T64" fmla="*/ 2147483647 w 3050"/>
                <a:gd name="T65" fmla="*/ 2147483647 h 2623"/>
                <a:gd name="T66" fmla="*/ 2147483647 w 3050"/>
                <a:gd name="T67" fmla="*/ 2147483647 h 2623"/>
                <a:gd name="T68" fmla="*/ 2147483647 w 3050"/>
                <a:gd name="T69" fmla="*/ 2147483647 h 2623"/>
                <a:gd name="T70" fmla="*/ 2147483647 w 3050"/>
                <a:gd name="T71" fmla="*/ 2147483647 h 2623"/>
                <a:gd name="T72" fmla="*/ 2147483647 w 3050"/>
                <a:gd name="T73" fmla="*/ 2147483647 h 2623"/>
                <a:gd name="T74" fmla="*/ 2147483647 w 3050"/>
                <a:gd name="T75" fmla="*/ 2147483647 h 2623"/>
                <a:gd name="T76" fmla="*/ 2147483647 w 3050"/>
                <a:gd name="T77" fmla="*/ 2147483647 h 2623"/>
                <a:gd name="T78" fmla="*/ 2147483647 w 3050"/>
                <a:gd name="T79" fmla="*/ 2147483647 h 2623"/>
                <a:gd name="T80" fmla="*/ 2147483647 w 3050"/>
                <a:gd name="T81" fmla="*/ 2147483647 h 2623"/>
                <a:gd name="T82" fmla="*/ 2147483647 w 3050"/>
                <a:gd name="T83" fmla="*/ 2147483647 h 2623"/>
                <a:gd name="T84" fmla="*/ 2147483647 w 3050"/>
                <a:gd name="T85" fmla="*/ 2147483647 h 2623"/>
                <a:gd name="T86" fmla="*/ 2147483647 w 3050"/>
                <a:gd name="T87" fmla="*/ 2147483647 h 2623"/>
                <a:gd name="T88" fmla="*/ 2147483647 w 3050"/>
                <a:gd name="T89" fmla="*/ 2147483647 h 2623"/>
                <a:gd name="T90" fmla="*/ 2147483647 w 3050"/>
                <a:gd name="T91" fmla="*/ 2147483647 h 2623"/>
                <a:gd name="T92" fmla="*/ 2147483647 w 3050"/>
                <a:gd name="T93" fmla="*/ 2147483647 h 2623"/>
                <a:gd name="T94" fmla="*/ 2147483647 w 3050"/>
                <a:gd name="T95" fmla="*/ 2147483647 h 2623"/>
                <a:gd name="T96" fmla="*/ 2147483647 w 3050"/>
                <a:gd name="T97" fmla="*/ 2147483647 h 2623"/>
                <a:gd name="T98" fmla="*/ 2147483647 w 3050"/>
                <a:gd name="T99" fmla="*/ 2147483647 h 2623"/>
                <a:gd name="T100" fmla="*/ 2147483647 w 3050"/>
                <a:gd name="T101" fmla="*/ 2147483647 h 2623"/>
                <a:gd name="T102" fmla="*/ 2147483647 w 3050"/>
                <a:gd name="T103" fmla="*/ 2147483647 h 2623"/>
                <a:gd name="T104" fmla="*/ 2147483647 w 3050"/>
                <a:gd name="T105" fmla="*/ 2147483647 h 262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50"/>
                <a:gd name="T160" fmla="*/ 0 h 2623"/>
                <a:gd name="T161" fmla="*/ 3050 w 3050"/>
                <a:gd name="T162" fmla="*/ 2623 h 262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50" h="2623">
                  <a:moveTo>
                    <a:pt x="3048" y="446"/>
                  </a:moveTo>
                  <a:cubicBezTo>
                    <a:pt x="3043" y="444"/>
                    <a:pt x="3043" y="444"/>
                    <a:pt x="3043" y="444"/>
                  </a:cubicBezTo>
                  <a:cubicBezTo>
                    <a:pt x="3043" y="444"/>
                    <a:pt x="3049" y="436"/>
                    <a:pt x="3045" y="429"/>
                  </a:cubicBezTo>
                  <a:cubicBezTo>
                    <a:pt x="3041" y="422"/>
                    <a:pt x="3033" y="440"/>
                    <a:pt x="3033" y="440"/>
                  </a:cubicBezTo>
                  <a:cubicBezTo>
                    <a:pt x="3033" y="440"/>
                    <a:pt x="3004" y="453"/>
                    <a:pt x="3007" y="467"/>
                  </a:cubicBezTo>
                  <a:cubicBezTo>
                    <a:pt x="3010" y="481"/>
                    <a:pt x="3017" y="487"/>
                    <a:pt x="3017" y="487"/>
                  </a:cubicBezTo>
                  <a:cubicBezTo>
                    <a:pt x="3017" y="487"/>
                    <a:pt x="3008" y="498"/>
                    <a:pt x="3016" y="505"/>
                  </a:cubicBezTo>
                  <a:cubicBezTo>
                    <a:pt x="3024" y="512"/>
                    <a:pt x="3033" y="513"/>
                    <a:pt x="3033" y="513"/>
                  </a:cubicBezTo>
                  <a:cubicBezTo>
                    <a:pt x="3033" y="513"/>
                    <a:pt x="3043" y="506"/>
                    <a:pt x="3043" y="495"/>
                  </a:cubicBezTo>
                  <a:cubicBezTo>
                    <a:pt x="3043" y="484"/>
                    <a:pt x="3042" y="481"/>
                    <a:pt x="3042" y="481"/>
                  </a:cubicBezTo>
                  <a:cubicBezTo>
                    <a:pt x="3050" y="477"/>
                    <a:pt x="3050" y="477"/>
                    <a:pt x="3050" y="477"/>
                  </a:cubicBezTo>
                  <a:lnTo>
                    <a:pt x="3048" y="446"/>
                  </a:lnTo>
                  <a:close/>
                  <a:moveTo>
                    <a:pt x="2964" y="107"/>
                  </a:moveTo>
                  <a:cubicBezTo>
                    <a:pt x="2964" y="103"/>
                    <a:pt x="2964" y="103"/>
                    <a:pt x="2964" y="103"/>
                  </a:cubicBezTo>
                  <a:cubicBezTo>
                    <a:pt x="2964" y="103"/>
                    <a:pt x="2950" y="107"/>
                    <a:pt x="2944" y="106"/>
                  </a:cubicBezTo>
                  <a:cubicBezTo>
                    <a:pt x="2938" y="105"/>
                    <a:pt x="2940" y="100"/>
                    <a:pt x="2940" y="100"/>
                  </a:cubicBezTo>
                  <a:cubicBezTo>
                    <a:pt x="2923" y="100"/>
                    <a:pt x="2923" y="100"/>
                    <a:pt x="2923" y="100"/>
                  </a:cubicBezTo>
                  <a:cubicBezTo>
                    <a:pt x="2923" y="100"/>
                    <a:pt x="2927" y="90"/>
                    <a:pt x="2924" y="87"/>
                  </a:cubicBezTo>
                  <a:cubicBezTo>
                    <a:pt x="2921" y="84"/>
                    <a:pt x="2919" y="80"/>
                    <a:pt x="2919" y="80"/>
                  </a:cubicBezTo>
                  <a:cubicBezTo>
                    <a:pt x="2908" y="78"/>
                    <a:pt x="2908" y="78"/>
                    <a:pt x="2908" y="78"/>
                  </a:cubicBezTo>
                  <a:cubicBezTo>
                    <a:pt x="2899" y="85"/>
                    <a:pt x="2899" y="85"/>
                    <a:pt x="2899" y="85"/>
                  </a:cubicBezTo>
                  <a:cubicBezTo>
                    <a:pt x="2894" y="81"/>
                    <a:pt x="2894" y="81"/>
                    <a:pt x="2894" y="81"/>
                  </a:cubicBezTo>
                  <a:cubicBezTo>
                    <a:pt x="2880" y="81"/>
                    <a:pt x="2880" y="81"/>
                    <a:pt x="2880" y="81"/>
                  </a:cubicBezTo>
                  <a:cubicBezTo>
                    <a:pt x="2880" y="81"/>
                    <a:pt x="2879" y="80"/>
                    <a:pt x="2877" y="77"/>
                  </a:cubicBezTo>
                  <a:cubicBezTo>
                    <a:pt x="2875" y="74"/>
                    <a:pt x="2853" y="70"/>
                    <a:pt x="2853" y="70"/>
                  </a:cubicBezTo>
                  <a:cubicBezTo>
                    <a:pt x="2853" y="54"/>
                    <a:pt x="2853" y="54"/>
                    <a:pt x="2853" y="54"/>
                  </a:cubicBezTo>
                  <a:cubicBezTo>
                    <a:pt x="2843" y="61"/>
                    <a:pt x="2843" y="61"/>
                    <a:pt x="2843" y="61"/>
                  </a:cubicBezTo>
                  <a:cubicBezTo>
                    <a:pt x="2828" y="61"/>
                    <a:pt x="2828" y="61"/>
                    <a:pt x="2828" y="61"/>
                  </a:cubicBezTo>
                  <a:cubicBezTo>
                    <a:pt x="2828" y="61"/>
                    <a:pt x="2828" y="45"/>
                    <a:pt x="2823" y="42"/>
                  </a:cubicBezTo>
                  <a:cubicBezTo>
                    <a:pt x="2818" y="39"/>
                    <a:pt x="2800" y="37"/>
                    <a:pt x="2800" y="37"/>
                  </a:cubicBezTo>
                  <a:cubicBezTo>
                    <a:pt x="2793" y="30"/>
                    <a:pt x="2793" y="30"/>
                    <a:pt x="2793" y="30"/>
                  </a:cubicBezTo>
                  <a:cubicBezTo>
                    <a:pt x="2777" y="26"/>
                    <a:pt x="2777" y="26"/>
                    <a:pt x="2777" y="26"/>
                  </a:cubicBezTo>
                  <a:cubicBezTo>
                    <a:pt x="2771" y="12"/>
                    <a:pt x="2771" y="12"/>
                    <a:pt x="2771" y="12"/>
                  </a:cubicBezTo>
                  <a:cubicBezTo>
                    <a:pt x="2772" y="3"/>
                    <a:pt x="2772" y="3"/>
                    <a:pt x="2772" y="3"/>
                  </a:cubicBezTo>
                  <a:cubicBezTo>
                    <a:pt x="2772" y="3"/>
                    <a:pt x="2756" y="0"/>
                    <a:pt x="2746" y="4"/>
                  </a:cubicBezTo>
                  <a:cubicBezTo>
                    <a:pt x="2736" y="8"/>
                    <a:pt x="2711" y="4"/>
                    <a:pt x="2715" y="12"/>
                  </a:cubicBezTo>
                  <a:cubicBezTo>
                    <a:pt x="2719" y="20"/>
                    <a:pt x="2722" y="27"/>
                    <a:pt x="2722" y="27"/>
                  </a:cubicBezTo>
                  <a:cubicBezTo>
                    <a:pt x="2722" y="27"/>
                    <a:pt x="2730" y="44"/>
                    <a:pt x="2719" y="52"/>
                  </a:cubicBezTo>
                  <a:cubicBezTo>
                    <a:pt x="2708" y="60"/>
                    <a:pt x="2686" y="60"/>
                    <a:pt x="2686" y="60"/>
                  </a:cubicBezTo>
                  <a:cubicBezTo>
                    <a:pt x="2661" y="80"/>
                    <a:pt x="2661" y="80"/>
                    <a:pt x="2661" y="80"/>
                  </a:cubicBezTo>
                  <a:cubicBezTo>
                    <a:pt x="2670" y="86"/>
                    <a:pt x="2670" y="86"/>
                    <a:pt x="2670" y="86"/>
                  </a:cubicBezTo>
                  <a:cubicBezTo>
                    <a:pt x="2670" y="86"/>
                    <a:pt x="2650" y="98"/>
                    <a:pt x="2635" y="97"/>
                  </a:cubicBezTo>
                  <a:cubicBezTo>
                    <a:pt x="2620" y="96"/>
                    <a:pt x="2611" y="91"/>
                    <a:pt x="2611" y="91"/>
                  </a:cubicBezTo>
                  <a:cubicBezTo>
                    <a:pt x="2600" y="76"/>
                    <a:pt x="2600" y="76"/>
                    <a:pt x="2600" y="76"/>
                  </a:cubicBezTo>
                  <a:cubicBezTo>
                    <a:pt x="2600" y="76"/>
                    <a:pt x="2579" y="68"/>
                    <a:pt x="2580" y="75"/>
                  </a:cubicBezTo>
                  <a:cubicBezTo>
                    <a:pt x="2581" y="82"/>
                    <a:pt x="2592" y="96"/>
                    <a:pt x="2592" y="96"/>
                  </a:cubicBezTo>
                  <a:cubicBezTo>
                    <a:pt x="2592" y="96"/>
                    <a:pt x="2605" y="120"/>
                    <a:pt x="2587" y="123"/>
                  </a:cubicBezTo>
                  <a:cubicBezTo>
                    <a:pt x="2569" y="126"/>
                    <a:pt x="2550" y="125"/>
                    <a:pt x="2550" y="125"/>
                  </a:cubicBezTo>
                  <a:cubicBezTo>
                    <a:pt x="2543" y="136"/>
                    <a:pt x="2543" y="136"/>
                    <a:pt x="2543" y="136"/>
                  </a:cubicBezTo>
                  <a:cubicBezTo>
                    <a:pt x="2543" y="136"/>
                    <a:pt x="2527" y="116"/>
                    <a:pt x="2521" y="117"/>
                  </a:cubicBezTo>
                  <a:cubicBezTo>
                    <a:pt x="2515" y="118"/>
                    <a:pt x="2495" y="124"/>
                    <a:pt x="2495" y="124"/>
                  </a:cubicBezTo>
                  <a:cubicBezTo>
                    <a:pt x="2495" y="124"/>
                    <a:pt x="2459" y="129"/>
                    <a:pt x="2456" y="136"/>
                  </a:cubicBezTo>
                  <a:cubicBezTo>
                    <a:pt x="2453" y="143"/>
                    <a:pt x="2475" y="149"/>
                    <a:pt x="2474" y="152"/>
                  </a:cubicBezTo>
                  <a:cubicBezTo>
                    <a:pt x="2473" y="155"/>
                    <a:pt x="2444" y="153"/>
                    <a:pt x="2450" y="161"/>
                  </a:cubicBezTo>
                  <a:cubicBezTo>
                    <a:pt x="2456" y="169"/>
                    <a:pt x="2475" y="170"/>
                    <a:pt x="2475" y="170"/>
                  </a:cubicBezTo>
                  <a:cubicBezTo>
                    <a:pt x="2482" y="166"/>
                    <a:pt x="2482" y="166"/>
                    <a:pt x="2482" y="166"/>
                  </a:cubicBezTo>
                  <a:cubicBezTo>
                    <a:pt x="2514" y="184"/>
                    <a:pt x="2514" y="184"/>
                    <a:pt x="2514" y="184"/>
                  </a:cubicBezTo>
                  <a:cubicBezTo>
                    <a:pt x="2534" y="184"/>
                    <a:pt x="2534" y="184"/>
                    <a:pt x="2534" y="184"/>
                  </a:cubicBezTo>
                  <a:cubicBezTo>
                    <a:pt x="2546" y="196"/>
                    <a:pt x="2546" y="196"/>
                    <a:pt x="2546" y="196"/>
                  </a:cubicBezTo>
                  <a:cubicBezTo>
                    <a:pt x="2572" y="199"/>
                    <a:pt x="2572" y="199"/>
                    <a:pt x="2572" y="199"/>
                  </a:cubicBezTo>
                  <a:cubicBezTo>
                    <a:pt x="2553" y="209"/>
                    <a:pt x="2553" y="209"/>
                    <a:pt x="2553" y="209"/>
                  </a:cubicBezTo>
                  <a:cubicBezTo>
                    <a:pt x="2553" y="209"/>
                    <a:pt x="2572" y="240"/>
                    <a:pt x="2576" y="244"/>
                  </a:cubicBezTo>
                  <a:cubicBezTo>
                    <a:pt x="2580" y="248"/>
                    <a:pt x="2597" y="248"/>
                    <a:pt x="2597" y="248"/>
                  </a:cubicBezTo>
                  <a:cubicBezTo>
                    <a:pt x="2595" y="277"/>
                    <a:pt x="2595" y="277"/>
                    <a:pt x="2595" y="277"/>
                  </a:cubicBezTo>
                  <a:cubicBezTo>
                    <a:pt x="2608" y="297"/>
                    <a:pt x="2608" y="297"/>
                    <a:pt x="2608" y="297"/>
                  </a:cubicBezTo>
                  <a:cubicBezTo>
                    <a:pt x="2617" y="320"/>
                    <a:pt x="2617" y="320"/>
                    <a:pt x="2617" y="320"/>
                  </a:cubicBezTo>
                  <a:cubicBezTo>
                    <a:pt x="2596" y="294"/>
                    <a:pt x="2596" y="294"/>
                    <a:pt x="2596" y="294"/>
                  </a:cubicBezTo>
                  <a:cubicBezTo>
                    <a:pt x="2596" y="294"/>
                    <a:pt x="2594" y="323"/>
                    <a:pt x="2593" y="333"/>
                  </a:cubicBezTo>
                  <a:cubicBezTo>
                    <a:pt x="2592" y="343"/>
                    <a:pt x="2581" y="383"/>
                    <a:pt x="2576" y="391"/>
                  </a:cubicBezTo>
                  <a:cubicBezTo>
                    <a:pt x="2572" y="398"/>
                    <a:pt x="2574" y="407"/>
                    <a:pt x="2562" y="409"/>
                  </a:cubicBezTo>
                  <a:cubicBezTo>
                    <a:pt x="2563" y="415"/>
                    <a:pt x="2563" y="415"/>
                    <a:pt x="2563" y="415"/>
                  </a:cubicBezTo>
                  <a:cubicBezTo>
                    <a:pt x="2563" y="415"/>
                    <a:pt x="2572" y="407"/>
                    <a:pt x="2578" y="414"/>
                  </a:cubicBezTo>
                  <a:cubicBezTo>
                    <a:pt x="2584" y="421"/>
                    <a:pt x="2578" y="424"/>
                    <a:pt x="2578" y="424"/>
                  </a:cubicBezTo>
                  <a:cubicBezTo>
                    <a:pt x="2578" y="424"/>
                    <a:pt x="2592" y="426"/>
                    <a:pt x="2599" y="427"/>
                  </a:cubicBezTo>
                  <a:cubicBezTo>
                    <a:pt x="2606" y="428"/>
                    <a:pt x="2612" y="437"/>
                    <a:pt x="2612" y="437"/>
                  </a:cubicBezTo>
                  <a:cubicBezTo>
                    <a:pt x="2612" y="437"/>
                    <a:pt x="2622" y="433"/>
                    <a:pt x="2626" y="435"/>
                  </a:cubicBezTo>
                  <a:cubicBezTo>
                    <a:pt x="2630" y="437"/>
                    <a:pt x="2631" y="440"/>
                    <a:pt x="2631" y="440"/>
                  </a:cubicBezTo>
                  <a:cubicBezTo>
                    <a:pt x="2651" y="441"/>
                    <a:pt x="2651" y="441"/>
                    <a:pt x="2651" y="441"/>
                  </a:cubicBezTo>
                  <a:cubicBezTo>
                    <a:pt x="2653" y="449"/>
                    <a:pt x="2653" y="449"/>
                    <a:pt x="2653" y="449"/>
                  </a:cubicBezTo>
                  <a:cubicBezTo>
                    <a:pt x="2666" y="446"/>
                    <a:pt x="2666" y="446"/>
                    <a:pt x="2666" y="446"/>
                  </a:cubicBezTo>
                  <a:cubicBezTo>
                    <a:pt x="2666" y="446"/>
                    <a:pt x="2660" y="434"/>
                    <a:pt x="2673" y="434"/>
                  </a:cubicBezTo>
                  <a:cubicBezTo>
                    <a:pt x="2686" y="434"/>
                    <a:pt x="2686" y="441"/>
                    <a:pt x="2686" y="441"/>
                  </a:cubicBezTo>
                  <a:cubicBezTo>
                    <a:pt x="2695" y="442"/>
                    <a:pt x="2695" y="442"/>
                    <a:pt x="2695" y="442"/>
                  </a:cubicBezTo>
                  <a:cubicBezTo>
                    <a:pt x="2697" y="446"/>
                    <a:pt x="2697" y="446"/>
                    <a:pt x="2697" y="446"/>
                  </a:cubicBezTo>
                  <a:cubicBezTo>
                    <a:pt x="2698" y="445"/>
                    <a:pt x="2700" y="445"/>
                    <a:pt x="2702" y="445"/>
                  </a:cubicBezTo>
                  <a:cubicBezTo>
                    <a:pt x="2712" y="444"/>
                    <a:pt x="2716" y="445"/>
                    <a:pt x="2716" y="445"/>
                  </a:cubicBezTo>
                  <a:cubicBezTo>
                    <a:pt x="2717" y="454"/>
                    <a:pt x="2717" y="454"/>
                    <a:pt x="2717" y="454"/>
                  </a:cubicBezTo>
                  <a:cubicBezTo>
                    <a:pt x="2720" y="455"/>
                    <a:pt x="2722" y="459"/>
                    <a:pt x="2722" y="459"/>
                  </a:cubicBezTo>
                  <a:cubicBezTo>
                    <a:pt x="2722" y="459"/>
                    <a:pt x="2729" y="457"/>
                    <a:pt x="2732" y="456"/>
                  </a:cubicBezTo>
                  <a:cubicBezTo>
                    <a:pt x="2735" y="455"/>
                    <a:pt x="2742" y="463"/>
                    <a:pt x="2742" y="463"/>
                  </a:cubicBezTo>
                  <a:cubicBezTo>
                    <a:pt x="2742" y="463"/>
                    <a:pt x="2743" y="463"/>
                    <a:pt x="2750" y="463"/>
                  </a:cubicBezTo>
                  <a:cubicBezTo>
                    <a:pt x="2757" y="463"/>
                    <a:pt x="2757" y="453"/>
                    <a:pt x="2757" y="453"/>
                  </a:cubicBezTo>
                  <a:cubicBezTo>
                    <a:pt x="2763" y="453"/>
                    <a:pt x="2763" y="453"/>
                    <a:pt x="2763" y="453"/>
                  </a:cubicBezTo>
                  <a:cubicBezTo>
                    <a:pt x="2763" y="452"/>
                    <a:pt x="2763" y="451"/>
                    <a:pt x="2763" y="450"/>
                  </a:cubicBezTo>
                  <a:cubicBezTo>
                    <a:pt x="2763" y="440"/>
                    <a:pt x="2778" y="417"/>
                    <a:pt x="2785" y="413"/>
                  </a:cubicBezTo>
                  <a:cubicBezTo>
                    <a:pt x="2792" y="409"/>
                    <a:pt x="2813" y="392"/>
                    <a:pt x="2822" y="397"/>
                  </a:cubicBezTo>
                  <a:cubicBezTo>
                    <a:pt x="2831" y="402"/>
                    <a:pt x="2839" y="407"/>
                    <a:pt x="2839" y="407"/>
                  </a:cubicBezTo>
                  <a:cubicBezTo>
                    <a:pt x="2839" y="407"/>
                    <a:pt x="2862" y="401"/>
                    <a:pt x="2867" y="406"/>
                  </a:cubicBezTo>
                  <a:cubicBezTo>
                    <a:pt x="2872" y="411"/>
                    <a:pt x="2879" y="419"/>
                    <a:pt x="2882" y="421"/>
                  </a:cubicBezTo>
                  <a:cubicBezTo>
                    <a:pt x="2882" y="421"/>
                    <a:pt x="2907" y="431"/>
                    <a:pt x="2920" y="421"/>
                  </a:cubicBezTo>
                  <a:cubicBezTo>
                    <a:pt x="2933" y="411"/>
                    <a:pt x="2937" y="392"/>
                    <a:pt x="2943" y="390"/>
                  </a:cubicBezTo>
                  <a:cubicBezTo>
                    <a:pt x="2945" y="389"/>
                    <a:pt x="2951" y="389"/>
                    <a:pt x="2957" y="388"/>
                  </a:cubicBezTo>
                  <a:cubicBezTo>
                    <a:pt x="2957" y="385"/>
                    <a:pt x="2958" y="383"/>
                    <a:pt x="2960" y="383"/>
                  </a:cubicBezTo>
                  <a:cubicBezTo>
                    <a:pt x="2964" y="383"/>
                    <a:pt x="2970" y="373"/>
                    <a:pt x="2967" y="369"/>
                  </a:cubicBezTo>
                  <a:cubicBezTo>
                    <a:pt x="2964" y="365"/>
                    <a:pt x="2950" y="367"/>
                    <a:pt x="2950" y="367"/>
                  </a:cubicBezTo>
                  <a:cubicBezTo>
                    <a:pt x="2947" y="361"/>
                    <a:pt x="2947" y="361"/>
                    <a:pt x="2947" y="361"/>
                  </a:cubicBezTo>
                  <a:cubicBezTo>
                    <a:pt x="2947" y="361"/>
                    <a:pt x="2933" y="360"/>
                    <a:pt x="2934" y="350"/>
                  </a:cubicBezTo>
                  <a:cubicBezTo>
                    <a:pt x="2935" y="340"/>
                    <a:pt x="2941" y="340"/>
                    <a:pt x="2940" y="335"/>
                  </a:cubicBezTo>
                  <a:cubicBezTo>
                    <a:pt x="2939" y="330"/>
                    <a:pt x="2935" y="327"/>
                    <a:pt x="2935" y="327"/>
                  </a:cubicBezTo>
                  <a:cubicBezTo>
                    <a:pt x="2928" y="327"/>
                    <a:pt x="2928" y="327"/>
                    <a:pt x="2928" y="327"/>
                  </a:cubicBezTo>
                  <a:cubicBezTo>
                    <a:pt x="2922" y="314"/>
                    <a:pt x="2922" y="314"/>
                    <a:pt x="2922" y="314"/>
                  </a:cubicBezTo>
                  <a:cubicBezTo>
                    <a:pt x="2931" y="312"/>
                    <a:pt x="2931" y="312"/>
                    <a:pt x="2931" y="312"/>
                  </a:cubicBezTo>
                  <a:cubicBezTo>
                    <a:pt x="2931" y="312"/>
                    <a:pt x="2950" y="311"/>
                    <a:pt x="2950" y="302"/>
                  </a:cubicBezTo>
                  <a:cubicBezTo>
                    <a:pt x="2950" y="293"/>
                    <a:pt x="2939" y="289"/>
                    <a:pt x="2939" y="289"/>
                  </a:cubicBezTo>
                  <a:cubicBezTo>
                    <a:pt x="2931" y="281"/>
                    <a:pt x="2931" y="281"/>
                    <a:pt x="2931" y="281"/>
                  </a:cubicBezTo>
                  <a:cubicBezTo>
                    <a:pt x="2931" y="281"/>
                    <a:pt x="2941" y="277"/>
                    <a:pt x="2941" y="273"/>
                  </a:cubicBezTo>
                  <a:cubicBezTo>
                    <a:pt x="2941" y="269"/>
                    <a:pt x="2934" y="263"/>
                    <a:pt x="2934" y="263"/>
                  </a:cubicBezTo>
                  <a:cubicBezTo>
                    <a:pt x="2935" y="245"/>
                    <a:pt x="2935" y="245"/>
                    <a:pt x="2935" y="245"/>
                  </a:cubicBezTo>
                  <a:cubicBezTo>
                    <a:pt x="2935" y="245"/>
                    <a:pt x="2927" y="239"/>
                    <a:pt x="2920" y="243"/>
                  </a:cubicBezTo>
                  <a:cubicBezTo>
                    <a:pt x="2913" y="247"/>
                    <a:pt x="2908" y="260"/>
                    <a:pt x="2902" y="259"/>
                  </a:cubicBezTo>
                  <a:cubicBezTo>
                    <a:pt x="2896" y="258"/>
                    <a:pt x="2906" y="250"/>
                    <a:pt x="2906" y="250"/>
                  </a:cubicBezTo>
                  <a:cubicBezTo>
                    <a:pt x="2900" y="242"/>
                    <a:pt x="2900" y="242"/>
                    <a:pt x="2900" y="242"/>
                  </a:cubicBezTo>
                  <a:cubicBezTo>
                    <a:pt x="2900" y="242"/>
                    <a:pt x="2912" y="233"/>
                    <a:pt x="2918" y="226"/>
                  </a:cubicBezTo>
                  <a:cubicBezTo>
                    <a:pt x="2924" y="219"/>
                    <a:pt x="2921" y="213"/>
                    <a:pt x="2921" y="213"/>
                  </a:cubicBezTo>
                  <a:cubicBezTo>
                    <a:pt x="2921" y="213"/>
                    <a:pt x="2927" y="219"/>
                    <a:pt x="2932" y="213"/>
                  </a:cubicBezTo>
                  <a:cubicBezTo>
                    <a:pt x="2937" y="207"/>
                    <a:pt x="2943" y="198"/>
                    <a:pt x="2943" y="198"/>
                  </a:cubicBezTo>
                  <a:cubicBezTo>
                    <a:pt x="2948" y="189"/>
                    <a:pt x="2948" y="189"/>
                    <a:pt x="2948" y="189"/>
                  </a:cubicBezTo>
                  <a:cubicBezTo>
                    <a:pt x="2961" y="196"/>
                    <a:pt x="2961" y="196"/>
                    <a:pt x="2961" y="196"/>
                  </a:cubicBezTo>
                  <a:cubicBezTo>
                    <a:pt x="2966" y="186"/>
                    <a:pt x="2966" y="186"/>
                    <a:pt x="2966" y="186"/>
                  </a:cubicBezTo>
                  <a:cubicBezTo>
                    <a:pt x="2966" y="186"/>
                    <a:pt x="2962" y="177"/>
                    <a:pt x="2964" y="166"/>
                  </a:cubicBezTo>
                  <a:cubicBezTo>
                    <a:pt x="2966" y="155"/>
                    <a:pt x="2976" y="136"/>
                    <a:pt x="2976" y="136"/>
                  </a:cubicBezTo>
                  <a:cubicBezTo>
                    <a:pt x="2976" y="128"/>
                    <a:pt x="2976" y="128"/>
                    <a:pt x="2976" y="128"/>
                  </a:cubicBezTo>
                  <a:cubicBezTo>
                    <a:pt x="2990" y="117"/>
                    <a:pt x="2990" y="117"/>
                    <a:pt x="2990" y="117"/>
                  </a:cubicBezTo>
                  <a:cubicBezTo>
                    <a:pt x="2992" y="111"/>
                    <a:pt x="2992" y="111"/>
                    <a:pt x="2992" y="111"/>
                  </a:cubicBezTo>
                  <a:cubicBezTo>
                    <a:pt x="2982" y="106"/>
                    <a:pt x="2982" y="106"/>
                    <a:pt x="2982" y="106"/>
                  </a:cubicBezTo>
                  <a:lnTo>
                    <a:pt x="2964" y="107"/>
                  </a:lnTo>
                  <a:close/>
                  <a:moveTo>
                    <a:pt x="106" y="2472"/>
                  </a:moveTo>
                  <a:cubicBezTo>
                    <a:pt x="90" y="2439"/>
                    <a:pt x="90" y="2439"/>
                    <a:pt x="90" y="2439"/>
                  </a:cubicBezTo>
                  <a:cubicBezTo>
                    <a:pt x="67" y="2439"/>
                    <a:pt x="67" y="2439"/>
                    <a:pt x="67" y="2439"/>
                  </a:cubicBezTo>
                  <a:cubicBezTo>
                    <a:pt x="67" y="2439"/>
                    <a:pt x="44" y="2431"/>
                    <a:pt x="36" y="2423"/>
                  </a:cubicBezTo>
                  <a:cubicBezTo>
                    <a:pt x="32" y="2430"/>
                    <a:pt x="32" y="2439"/>
                    <a:pt x="32" y="2444"/>
                  </a:cubicBezTo>
                  <a:cubicBezTo>
                    <a:pt x="32" y="2451"/>
                    <a:pt x="21" y="2450"/>
                    <a:pt x="10" y="2467"/>
                  </a:cubicBezTo>
                  <a:cubicBezTo>
                    <a:pt x="0" y="2483"/>
                    <a:pt x="10" y="2504"/>
                    <a:pt x="11" y="2517"/>
                  </a:cubicBezTo>
                  <a:cubicBezTo>
                    <a:pt x="12" y="2529"/>
                    <a:pt x="31" y="2534"/>
                    <a:pt x="32" y="2544"/>
                  </a:cubicBezTo>
                  <a:cubicBezTo>
                    <a:pt x="33" y="2554"/>
                    <a:pt x="21" y="2559"/>
                    <a:pt x="21" y="2559"/>
                  </a:cubicBezTo>
                  <a:cubicBezTo>
                    <a:pt x="23" y="2587"/>
                    <a:pt x="23" y="2587"/>
                    <a:pt x="23" y="2587"/>
                  </a:cubicBezTo>
                  <a:cubicBezTo>
                    <a:pt x="23" y="2587"/>
                    <a:pt x="12" y="2591"/>
                    <a:pt x="11" y="2594"/>
                  </a:cubicBezTo>
                  <a:cubicBezTo>
                    <a:pt x="10" y="2597"/>
                    <a:pt x="4" y="2611"/>
                    <a:pt x="4" y="2611"/>
                  </a:cubicBezTo>
                  <a:cubicBezTo>
                    <a:pt x="4" y="2611"/>
                    <a:pt x="6" y="2621"/>
                    <a:pt x="20" y="2622"/>
                  </a:cubicBezTo>
                  <a:cubicBezTo>
                    <a:pt x="34" y="2623"/>
                    <a:pt x="32" y="2617"/>
                    <a:pt x="38" y="2611"/>
                  </a:cubicBezTo>
                  <a:cubicBezTo>
                    <a:pt x="44" y="2605"/>
                    <a:pt x="48" y="2613"/>
                    <a:pt x="48" y="2613"/>
                  </a:cubicBezTo>
                  <a:cubicBezTo>
                    <a:pt x="58" y="2615"/>
                    <a:pt x="58" y="2615"/>
                    <a:pt x="58" y="2615"/>
                  </a:cubicBezTo>
                  <a:cubicBezTo>
                    <a:pt x="62" y="2610"/>
                    <a:pt x="62" y="2610"/>
                    <a:pt x="62" y="2610"/>
                  </a:cubicBezTo>
                  <a:cubicBezTo>
                    <a:pt x="62" y="2610"/>
                    <a:pt x="66" y="2618"/>
                    <a:pt x="66" y="2619"/>
                  </a:cubicBezTo>
                  <a:cubicBezTo>
                    <a:pt x="72" y="2619"/>
                    <a:pt x="87" y="2613"/>
                    <a:pt x="87" y="2613"/>
                  </a:cubicBezTo>
                  <a:cubicBezTo>
                    <a:pt x="104" y="2599"/>
                    <a:pt x="105" y="2580"/>
                    <a:pt x="108" y="2570"/>
                  </a:cubicBezTo>
                  <a:cubicBezTo>
                    <a:pt x="111" y="2560"/>
                    <a:pt x="120" y="2545"/>
                    <a:pt x="127" y="2539"/>
                  </a:cubicBezTo>
                  <a:cubicBezTo>
                    <a:pt x="134" y="2533"/>
                    <a:pt x="139" y="2516"/>
                    <a:pt x="139" y="2516"/>
                  </a:cubicBezTo>
                  <a:cubicBezTo>
                    <a:pt x="137" y="2511"/>
                    <a:pt x="125" y="2479"/>
                    <a:pt x="125" y="2479"/>
                  </a:cubicBezTo>
                  <a:lnTo>
                    <a:pt x="106" y="2472"/>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29" name="Freeform 159">
              <a:extLst>
                <a:ext uri="{FF2B5EF4-FFF2-40B4-BE49-F238E27FC236}">
                  <a16:creationId xmlns:a16="http://schemas.microsoft.com/office/drawing/2014/main" id="{ECE8339E-3E49-8D48-B4B1-338B05B9FC51}"/>
                </a:ext>
              </a:extLst>
            </p:cNvPr>
            <p:cNvSpPr>
              <a:spLocks noEditPoints="1"/>
            </p:cNvSpPr>
            <p:nvPr>
              <p:custDataLst>
                <p:tags r:id="rId122"/>
              </p:custDataLst>
            </p:nvPr>
          </p:nvSpPr>
          <p:spPr bwMode="auto">
            <a:xfrm>
              <a:off x="5918854" y="4874008"/>
              <a:ext cx="469043" cy="382244"/>
            </a:xfrm>
            <a:custGeom>
              <a:avLst/>
              <a:gdLst>
                <a:gd name="T0" fmla="*/ 2147483647 w 759"/>
                <a:gd name="T1" fmla="*/ 2147483647 h 682"/>
                <a:gd name="T2" fmla="*/ 2147483647 w 759"/>
                <a:gd name="T3" fmla="*/ 2147483647 h 682"/>
                <a:gd name="T4" fmla="*/ 2147483647 w 759"/>
                <a:gd name="T5" fmla="*/ 2147483647 h 682"/>
                <a:gd name="T6" fmla="*/ 2147483647 w 759"/>
                <a:gd name="T7" fmla="*/ 2147483647 h 682"/>
                <a:gd name="T8" fmla="*/ 2147483647 w 759"/>
                <a:gd name="T9" fmla="*/ 2147483647 h 682"/>
                <a:gd name="T10" fmla="*/ 2147483647 w 759"/>
                <a:gd name="T11" fmla="*/ 2147483647 h 682"/>
                <a:gd name="T12" fmla="*/ 2147483647 w 759"/>
                <a:gd name="T13" fmla="*/ 2147483647 h 682"/>
                <a:gd name="T14" fmla="*/ 2147483647 w 759"/>
                <a:gd name="T15" fmla="*/ 2147483647 h 682"/>
                <a:gd name="T16" fmla="*/ 2147483647 w 759"/>
                <a:gd name="T17" fmla="*/ 2147483647 h 682"/>
                <a:gd name="T18" fmla="*/ 2147483647 w 759"/>
                <a:gd name="T19" fmla="*/ 2147483647 h 682"/>
                <a:gd name="T20" fmla="*/ 2147483647 w 759"/>
                <a:gd name="T21" fmla="*/ 2147483647 h 682"/>
                <a:gd name="T22" fmla="*/ 2147483647 w 759"/>
                <a:gd name="T23" fmla="*/ 2147483647 h 682"/>
                <a:gd name="T24" fmla="*/ 2147483647 w 759"/>
                <a:gd name="T25" fmla="*/ 2147483647 h 682"/>
                <a:gd name="T26" fmla="*/ 2147483647 w 759"/>
                <a:gd name="T27" fmla="*/ 2147483647 h 682"/>
                <a:gd name="T28" fmla="*/ 2147483647 w 759"/>
                <a:gd name="T29" fmla="*/ 2147483647 h 682"/>
                <a:gd name="T30" fmla="*/ 2147483647 w 759"/>
                <a:gd name="T31" fmla="*/ 2147483647 h 682"/>
                <a:gd name="T32" fmla="*/ 2147483647 w 759"/>
                <a:gd name="T33" fmla="*/ 2147483647 h 682"/>
                <a:gd name="T34" fmla="*/ 2147483647 w 759"/>
                <a:gd name="T35" fmla="*/ 2147483647 h 682"/>
                <a:gd name="T36" fmla="*/ 2147483647 w 759"/>
                <a:gd name="T37" fmla="*/ 2147483647 h 682"/>
                <a:gd name="T38" fmla="*/ 2147483647 w 759"/>
                <a:gd name="T39" fmla="*/ 2147483647 h 682"/>
                <a:gd name="T40" fmla="*/ 2147483647 w 759"/>
                <a:gd name="T41" fmla="*/ 2147483647 h 682"/>
                <a:gd name="T42" fmla="*/ 2147483647 w 759"/>
                <a:gd name="T43" fmla="*/ 2147483647 h 682"/>
                <a:gd name="T44" fmla="*/ 2147483647 w 759"/>
                <a:gd name="T45" fmla="*/ 2147483647 h 682"/>
                <a:gd name="T46" fmla="*/ 2147483647 w 759"/>
                <a:gd name="T47" fmla="*/ 2147483647 h 682"/>
                <a:gd name="T48" fmla="*/ 2147483647 w 759"/>
                <a:gd name="T49" fmla="*/ 2147483647 h 682"/>
                <a:gd name="T50" fmla="*/ 2147483647 w 759"/>
                <a:gd name="T51" fmla="*/ 2147483647 h 682"/>
                <a:gd name="T52" fmla="*/ 2147483647 w 759"/>
                <a:gd name="T53" fmla="*/ 2147483647 h 682"/>
                <a:gd name="T54" fmla="*/ 2147483647 w 759"/>
                <a:gd name="T55" fmla="*/ 2147483647 h 682"/>
                <a:gd name="T56" fmla="*/ 0 w 759"/>
                <a:gd name="T57" fmla="*/ 2147483647 h 682"/>
                <a:gd name="T58" fmla="*/ 2147483647 w 759"/>
                <a:gd name="T59" fmla="*/ 2147483647 h 682"/>
                <a:gd name="T60" fmla="*/ 2147483647 w 759"/>
                <a:gd name="T61" fmla="*/ 2147483647 h 682"/>
                <a:gd name="T62" fmla="*/ 2147483647 w 759"/>
                <a:gd name="T63" fmla="*/ 2147483647 h 682"/>
                <a:gd name="T64" fmla="*/ 2147483647 w 759"/>
                <a:gd name="T65" fmla="*/ 2147483647 h 682"/>
                <a:gd name="T66" fmla="*/ 2147483647 w 759"/>
                <a:gd name="T67" fmla="*/ 2147483647 h 682"/>
                <a:gd name="T68" fmla="*/ 2147483647 w 759"/>
                <a:gd name="T69" fmla="*/ 2147483647 h 682"/>
                <a:gd name="T70" fmla="*/ 2147483647 w 759"/>
                <a:gd name="T71" fmla="*/ 2147483647 h 682"/>
                <a:gd name="T72" fmla="*/ 2147483647 w 759"/>
                <a:gd name="T73" fmla="*/ 2147483647 h 682"/>
                <a:gd name="T74" fmla="*/ 2147483647 w 759"/>
                <a:gd name="T75" fmla="*/ 2147483647 h 682"/>
                <a:gd name="T76" fmla="*/ 2147483647 w 759"/>
                <a:gd name="T77" fmla="*/ 2147483647 h 682"/>
                <a:gd name="T78" fmla="*/ 2147483647 w 759"/>
                <a:gd name="T79" fmla="*/ 2147483647 h 682"/>
                <a:gd name="T80" fmla="*/ 2147483647 w 759"/>
                <a:gd name="T81" fmla="*/ 2147483647 h 682"/>
                <a:gd name="T82" fmla="*/ 2147483647 w 759"/>
                <a:gd name="T83" fmla="*/ 2147483647 h 682"/>
                <a:gd name="T84" fmla="*/ 2147483647 w 759"/>
                <a:gd name="T85" fmla="*/ 2147483647 h 682"/>
                <a:gd name="T86" fmla="*/ 2147483647 w 759"/>
                <a:gd name="T87" fmla="*/ 2147483647 h 682"/>
                <a:gd name="T88" fmla="*/ 2147483647 w 759"/>
                <a:gd name="T89" fmla="*/ 2147483647 h 682"/>
                <a:gd name="T90" fmla="*/ 2147483647 w 759"/>
                <a:gd name="T91" fmla="*/ 2147483647 h 682"/>
                <a:gd name="T92" fmla="*/ 2147483647 w 759"/>
                <a:gd name="T93" fmla="*/ 2147483647 h 682"/>
                <a:gd name="T94" fmla="*/ 2147483647 w 759"/>
                <a:gd name="T95" fmla="*/ 2147483647 h 682"/>
                <a:gd name="T96" fmla="*/ 2147483647 w 759"/>
                <a:gd name="T97" fmla="*/ 2147483647 h 682"/>
                <a:gd name="T98" fmla="*/ 2147483647 w 759"/>
                <a:gd name="T99" fmla="*/ 2147483647 h 682"/>
                <a:gd name="T100" fmla="*/ 2147483647 w 759"/>
                <a:gd name="T101" fmla="*/ 2147483647 h 682"/>
                <a:gd name="T102" fmla="*/ 2147483647 w 759"/>
                <a:gd name="T103" fmla="*/ 2147483647 h 682"/>
                <a:gd name="T104" fmla="*/ 2147483647 w 759"/>
                <a:gd name="T105" fmla="*/ 2147483647 h 682"/>
                <a:gd name="T106" fmla="*/ 2147483647 w 759"/>
                <a:gd name="T107" fmla="*/ 2147483647 h 682"/>
                <a:gd name="T108" fmla="*/ 2147483647 w 759"/>
                <a:gd name="T109" fmla="*/ 2147483647 h 6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59"/>
                <a:gd name="T166" fmla="*/ 0 h 682"/>
                <a:gd name="T167" fmla="*/ 759 w 759"/>
                <a:gd name="T168" fmla="*/ 682 h 6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30" name="Freeform 160">
              <a:extLst>
                <a:ext uri="{FF2B5EF4-FFF2-40B4-BE49-F238E27FC236}">
                  <a16:creationId xmlns:a16="http://schemas.microsoft.com/office/drawing/2014/main" id="{63965490-1459-CC4F-8178-E0E91B929440}"/>
                </a:ext>
              </a:extLst>
            </p:cNvPr>
            <p:cNvSpPr>
              <a:spLocks/>
            </p:cNvSpPr>
            <p:nvPr>
              <p:custDataLst>
                <p:tags r:id="rId123"/>
              </p:custDataLst>
            </p:nvPr>
          </p:nvSpPr>
          <p:spPr bwMode="auto">
            <a:xfrm>
              <a:off x="5226139" y="2557171"/>
              <a:ext cx="116842" cy="113505"/>
            </a:xfrm>
            <a:custGeom>
              <a:avLst/>
              <a:gdLst>
                <a:gd name="T0" fmla="*/ 2147483647 w 189"/>
                <a:gd name="T1" fmla="*/ 2147483647 h 202"/>
                <a:gd name="T2" fmla="*/ 2147483647 w 189"/>
                <a:gd name="T3" fmla="*/ 2147483647 h 202"/>
                <a:gd name="T4" fmla="*/ 2147483647 w 189"/>
                <a:gd name="T5" fmla="*/ 2147483647 h 202"/>
                <a:gd name="T6" fmla="*/ 2147483647 w 189"/>
                <a:gd name="T7" fmla="*/ 2147483647 h 202"/>
                <a:gd name="T8" fmla="*/ 2147483647 w 189"/>
                <a:gd name="T9" fmla="*/ 2147483647 h 202"/>
                <a:gd name="T10" fmla="*/ 2147483647 w 189"/>
                <a:gd name="T11" fmla="*/ 2147483647 h 202"/>
                <a:gd name="T12" fmla="*/ 2147483647 w 189"/>
                <a:gd name="T13" fmla="*/ 2147483647 h 202"/>
                <a:gd name="T14" fmla="*/ 2147483647 w 189"/>
                <a:gd name="T15" fmla="*/ 2147483647 h 202"/>
                <a:gd name="T16" fmla="*/ 2147483647 w 189"/>
                <a:gd name="T17" fmla="*/ 2147483647 h 202"/>
                <a:gd name="T18" fmla="*/ 2147483647 w 189"/>
                <a:gd name="T19" fmla="*/ 2147483647 h 202"/>
                <a:gd name="T20" fmla="*/ 2147483647 w 189"/>
                <a:gd name="T21" fmla="*/ 2147483647 h 202"/>
                <a:gd name="T22" fmla="*/ 2147483647 w 189"/>
                <a:gd name="T23" fmla="*/ 2147483647 h 202"/>
                <a:gd name="T24" fmla="*/ 2147483647 w 189"/>
                <a:gd name="T25" fmla="*/ 2147483647 h 202"/>
                <a:gd name="T26" fmla="*/ 2147483647 w 189"/>
                <a:gd name="T27" fmla="*/ 2147483647 h 202"/>
                <a:gd name="T28" fmla="*/ 2147483647 w 189"/>
                <a:gd name="T29" fmla="*/ 2147483647 h 202"/>
                <a:gd name="T30" fmla="*/ 2147483647 w 189"/>
                <a:gd name="T31" fmla="*/ 2147483647 h 202"/>
                <a:gd name="T32" fmla="*/ 2147483647 w 189"/>
                <a:gd name="T33" fmla="*/ 2147483647 h 202"/>
                <a:gd name="T34" fmla="*/ 2147483647 w 189"/>
                <a:gd name="T35" fmla="*/ 2147483647 h 202"/>
                <a:gd name="T36" fmla="*/ 2147483647 w 189"/>
                <a:gd name="T37" fmla="*/ 2147483647 h 202"/>
                <a:gd name="T38" fmla="*/ 2147483647 w 189"/>
                <a:gd name="T39" fmla="*/ 2147483647 h 202"/>
                <a:gd name="T40" fmla="*/ 2147483647 w 189"/>
                <a:gd name="T41" fmla="*/ 2147483647 h 202"/>
                <a:gd name="T42" fmla="*/ 2147483647 w 189"/>
                <a:gd name="T43" fmla="*/ 2147483647 h 202"/>
                <a:gd name="T44" fmla="*/ 2147483647 w 189"/>
                <a:gd name="T45" fmla="*/ 2147483647 h 202"/>
                <a:gd name="T46" fmla="*/ 2147483647 w 189"/>
                <a:gd name="T47" fmla="*/ 2147483647 h 202"/>
                <a:gd name="T48" fmla="*/ 2147483647 w 189"/>
                <a:gd name="T49" fmla="*/ 2147483647 h 202"/>
                <a:gd name="T50" fmla="*/ 2147483647 w 189"/>
                <a:gd name="T51" fmla="*/ 2147483647 h 202"/>
                <a:gd name="T52" fmla="*/ 2147483647 w 189"/>
                <a:gd name="T53" fmla="*/ 2147483647 h 202"/>
                <a:gd name="T54" fmla="*/ 2147483647 w 189"/>
                <a:gd name="T55" fmla="*/ 2147483647 h 202"/>
                <a:gd name="T56" fmla="*/ 2147483647 w 189"/>
                <a:gd name="T57" fmla="*/ 2147483647 h 202"/>
                <a:gd name="T58" fmla="*/ 2147483647 w 189"/>
                <a:gd name="T59" fmla="*/ 2147483647 h 202"/>
                <a:gd name="T60" fmla="*/ 2147483647 w 189"/>
                <a:gd name="T61" fmla="*/ 2147483647 h 202"/>
                <a:gd name="T62" fmla="*/ 2147483647 w 189"/>
                <a:gd name="T63" fmla="*/ 2147483647 h 202"/>
                <a:gd name="T64" fmla="*/ 2147483647 w 189"/>
                <a:gd name="T65" fmla="*/ 2147483647 h 202"/>
                <a:gd name="T66" fmla="*/ 2147483647 w 189"/>
                <a:gd name="T67" fmla="*/ 2147483647 h 202"/>
                <a:gd name="T68" fmla="*/ 2147483647 w 189"/>
                <a:gd name="T69" fmla="*/ 2147483647 h 202"/>
                <a:gd name="T70" fmla="*/ 2147483647 w 189"/>
                <a:gd name="T71" fmla="*/ 2147483647 h 202"/>
                <a:gd name="T72" fmla="*/ 2147483647 w 189"/>
                <a:gd name="T73" fmla="*/ 2147483647 h 202"/>
                <a:gd name="T74" fmla="*/ 0 w 189"/>
                <a:gd name="T75" fmla="*/ 2147483647 h 202"/>
                <a:gd name="T76" fmla="*/ 2147483647 w 189"/>
                <a:gd name="T77" fmla="*/ 2147483647 h 202"/>
                <a:gd name="T78" fmla="*/ 2147483647 w 189"/>
                <a:gd name="T79" fmla="*/ 2147483647 h 202"/>
                <a:gd name="T80" fmla="*/ 2147483647 w 189"/>
                <a:gd name="T81" fmla="*/ 2147483647 h 202"/>
                <a:gd name="T82" fmla="*/ 2147483647 w 189"/>
                <a:gd name="T83" fmla="*/ 2147483647 h 202"/>
                <a:gd name="T84" fmla="*/ 2147483647 w 189"/>
                <a:gd name="T85" fmla="*/ 2147483647 h 202"/>
                <a:gd name="T86" fmla="*/ 2147483647 w 189"/>
                <a:gd name="T87" fmla="*/ 2147483647 h 202"/>
                <a:gd name="T88" fmla="*/ 2147483647 w 189"/>
                <a:gd name="T89" fmla="*/ 2147483647 h 202"/>
                <a:gd name="T90" fmla="*/ 2147483647 w 189"/>
                <a:gd name="T91" fmla="*/ 2147483647 h 202"/>
                <a:gd name="T92" fmla="*/ 2147483647 w 189"/>
                <a:gd name="T93" fmla="*/ 2147483647 h 202"/>
                <a:gd name="T94" fmla="*/ 2147483647 w 189"/>
                <a:gd name="T95" fmla="*/ 2147483647 h 202"/>
                <a:gd name="T96" fmla="*/ 2147483647 w 189"/>
                <a:gd name="T97" fmla="*/ 2147483647 h 202"/>
                <a:gd name="T98" fmla="*/ 2147483647 w 189"/>
                <a:gd name="T99" fmla="*/ 2147483647 h 202"/>
                <a:gd name="T100" fmla="*/ 2147483647 w 189"/>
                <a:gd name="T101" fmla="*/ 2147483647 h 202"/>
                <a:gd name="T102" fmla="*/ 2147483647 w 189"/>
                <a:gd name="T103" fmla="*/ 2147483647 h 202"/>
                <a:gd name="T104" fmla="*/ 2147483647 w 189"/>
                <a:gd name="T105" fmla="*/ 2147483647 h 202"/>
                <a:gd name="T106" fmla="*/ 2147483647 w 189"/>
                <a:gd name="T107" fmla="*/ 2147483647 h 2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9"/>
                <a:gd name="T163" fmla="*/ 0 h 202"/>
                <a:gd name="T164" fmla="*/ 189 w 189"/>
                <a:gd name="T165" fmla="*/ 202 h 20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31" name="Freeform 162">
              <a:extLst>
                <a:ext uri="{FF2B5EF4-FFF2-40B4-BE49-F238E27FC236}">
                  <a16:creationId xmlns:a16="http://schemas.microsoft.com/office/drawing/2014/main" id="{78E1B857-BC80-FD48-AEFB-E665BCB9B76D}"/>
                </a:ext>
              </a:extLst>
            </p:cNvPr>
            <p:cNvSpPr>
              <a:spLocks noEditPoints="1"/>
            </p:cNvSpPr>
            <p:nvPr>
              <p:custDataLst>
                <p:tags r:id="rId124"/>
              </p:custDataLst>
            </p:nvPr>
          </p:nvSpPr>
          <p:spPr bwMode="auto">
            <a:xfrm>
              <a:off x="6019004" y="2435320"/>
              <a:ext cx="148559" cy="60092"/>
            </a:xfrm>
            <a:custGeom>
              <a:avLst/>
              <a:gdLst>
                <a:gd name="T0" fmla="*/ 2147483647 w 237"/>
                <a:gd name="T1" fmla="*/ 2147483647 h 107"/>
                <a:gd name="T2" fmla="*/ 2147483647 w 237"/>
                <a:gd name="T3" fmla="*/ 2147483647 h 107"/>
                <a:gd name="T4" fmla="*/ 2147483647 w 237"/>
                <a:gd name="T5" fmla="*/ 2147483647 h 107"/>
                <a:gd name="T6" fmla="*/ 2147483647 w 237"/>
                <a:gd name="T7" fmla="*/ 2147483647 h 107"/>
                <a:gd name="T8" fmla="*/ 2147483647 w 237"/>
                <a:gd name="T9" fmla="*/ 2147483647 h 107"/>
                <a:gd name="T10" fmla="*/ 2147483647 w 237"/>
                <a:gd name="T11" fmla="*/ 2147483647 h 107"/>
                <a:gd name="T12" fmla="*/ 2147483647 w 237"/>
                <a:gd name="T13" fmla="*/ 2147483647 h 107"/>
                <a:gd name="T14" fmla="*/ 2147483647 w 237"/>
                <a:gd name="T15" fmla="*/ 2147483647 h 107"/>
                <a:gd name="T16" fmla="*/ 2147483647 w 237"/>
                <a:gd name="T17" fmla="*/ 2147483647 h 107"/>
                <a:gd name="T18" fmla="*/ 2147483647 w 237"/>
                <a:gd name="T19" fmla="*/ 2147483647 h 107"/>
                <a:gd name="T20" fmla="*/ 2147483647 w 237"/>
                <a:gd name="T21" fmla="*/ 2147483647 h 107"/>
                <a:gd name="T22" fmla="*/ 2147483647 w 237"/>
                <a:gd name="T23" fmla="*/ 2147483647 h 107"/>
                <a:gd name="T24" fmla="*/ 2147483647 w 237"/>
                <a:gd name="T25" fmla="*/ 2147483647 h 107"/>
                <a:gd name="T26" fmla="*/ 2147483647 w 237"/>
                <a:gd name="T27" fmla="*/ 2147483647 h 107"/>
                <a:gd name="T28" fmla="*/ 2147483647 w 237"/>
                <a:gd name="T29" fmla="*/ 2147483647 h 107"/>
                <a:gd name="T30" fmla="*/ 2147483647 w 237"/>
                <a:gd name="T31" fmla="*/ 2147483647 h 107"/>
                <a:gd name="T32" fmla="*/ 2147483647 w 237"/>
                <a:gd name="T33" fmla="*/ 2147483647 h 107"/>
                <a:gd name="T34" fmla="*/ 2147483647 w 237"/>
                <a:gd name="T35" fmla="*/ 2147483647 h 107"/>
                <a:gd name="T36" fmla="*/ 2147483647 w 237"/>
                <a:gd name="T37" fmla="*/ 2147483647 h 107"/>
                <a:gd name="T38" fmla="*/ 2147483647 w 237"/>
                <a:gd name="T39" fmla="*/ 2147483647 h 107"/>
                <a:gd name="T40" fmla="*/ 2147483647 w 237"/>
                <a:gd name="T41" fmla="*/ 2147483647 h 107"/>
                <a:gd name="T42" fmla="*/ 2147483647 w 237"/>
                <a:gd name="T43" fmla="*/ 2147483647 h 107"/>
                <a:gd name="T44" fmla="*/ 2147483647 w 237"/>
                <a:gd name="T45" fmla="*/ 2147483647 h 107"/>
                <a:gd name="T46" fmla="*/ 2147483647 w 237"/>
                <a:gd name="T47" fmla="*/ 2147483647 h 107"/>
                <a:gd name="T48" fmla="*/ 2147483647 w 237"/>
                <a:gd name="T49" fmla="*/ 2147483647 h 107"/>
                <a:gd name="T50" fmla="*/ 2147483647 w 237"/>
                <a:gd name="T51" fmla="*/ 2147483647 h 107"/>
                <a:gd name="T52" fmla="*/ 2147483647 w 237"/>
                <a:gd name="T53" fmla="*/ 2147483647 h 107"/>
                <a:gd name="T54" fmla="*/ 2147483647 w 237"/>
                <a:gd name="T55" fmla="*/ 2147483647 h 107"/>
                <a:gd name="T56" fmla="*/ 2147483647 w 237"/>
                <a:gd name="T57" fmla="*/ 2147483647 h 107"/>
                <a:gd name="T58" fmla="*/ 2147483647 w 237"/>
                <a:gd name="T59" fmla="*/ 2147483647 h 107"/>
                <a:gd name="T60" fmla="*/ 2147483647 w 237"/>
                <a:gd name="T61" fmla="*/ 2147483647 h 107"/>
                <a:gd name="T62" fmla="*/ 2147483647 w 237"/>
                <a:gd name="T63" fmla="*/ 2147483647 h 107"/>
                <a:gd name="T64" fmla="*/ 2147483647 w 237"/>
                <a:gd name="T65" fmla="*/ 2147483647 h 107"/>
                <a:gd name="T66" fmla="*/ 2147483647 w 237"/>
                <a:gd name="T67" fmla="*/ 2147483647 h 107"/>
                <a:gd name="T68" fmla="*/ 2147483647 w 237"/>
                <a:gd name="T69" fmla="*/ 2147483647 h 107"/>
                <a:gd name="T70" fmla="*/ 2147483647 w 237"/>
                <a:gd name="T71" fmla="*/ 2147483647 h 1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7"/>
                <a:gd name="T109" fmla="*/ 0 h 107"/>
                <a:gd name="T110" fmla="*/ 237 w 237"/>
                <a:gd name="T111" fmla="*/ 107 h 10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32" name="Freeform 163">
              <a:extLst>
                <a:ext uri="{FF2B5EF4-FFF2-40B4-BE49-F238E27FC236}">
                  <a16:creationId xmlns:a16="http://schemas.microsoft.com/office/drawing/2014/main" id="{09303299-D6EA-A947-A65D-FE0ADC02BF45}"/>
                </a:ext>
              </a:extLst>
            </p:cNvPr>
            <p:cNvSpPr>
              <a:spLocks/>
            </p:cNvSpPr>
            <p:nvPr>
              <p:custDataLst>
                <p:tags r:id="rId125"/>
              </p:custDataLst>
            </p:nvPr>
          </p:nvSpPr>
          <p:spPr bwMode="auto">
            <a:xfrm>
              <a:off x="8671350" y="3989336"/>
              <a:ext cx="287102" cy="196965"/>
            </a:xfrm>
            <a:custGeom>
              <a:avLst/>
              <a:gdLst>
                <a:gd name="T0" fmla="*/ 2147483647 w 461"/>
                <a:gd name="T1" fmla="*/ 2147483647 h 355"/>
                <a:gd name="T2" fmla="*/ 2147483647 w 461"/>
                <a:gd name="T3" fmla="*/ 2147483647 h 355"/>
                <a:gd name="T4" fmla="*/ 2147483647 w 461"/>
                <a:gd name="T5" fmla="*/ 2147483647 h 355"/>
                <a:gd name="T6" fmla="*/ 2147483647 w 461"/>
                <a:gd name="T7" fmla="*/ 2147483647 h 355"/>
                <a:gd name="T8" fmla="*/ 2147483647 w 461"/>
                <a:gd name="T9" fmla="*/ 2147483647 h 355"/>
                <a:gd name="T10" fmla="*/ 2147483647 w 461"/>
                <a:gd name="T11" fmla="*/ 2147483647 h 355"/>
                <a:gd name="T12" fmla="*/ 2147483647 w 461"/>
                <a:gd name="T13" fmla="*/ 2147483647 h 355"/>
                <a:gd name="T14" fmla="*/ 2147483647 w 461"/>
                <a:gd name="T15" fmla="*/ 2147483647 h 355"/>
                <a:gd name="T16" fmla="*/ 2147483647 w 461"/>
                <a:gd name="T17" fmla="*/ 2147483647 h 355"/>
                <a:gd name="T18" fmla="*/ 2147483647 w 461"/>
                <a:gd name="T19" fmla="*/ 2147483647 h 355"/>
                <a:gd name="T20" fmla="*/ 2147483647 w 461"/>
                <a:gd name="T21" fmla="*/ 2147483647 h 355"/>
                <a:gd name="T22" fmla="*/ 2147483647 w 461"/>
                <a:gd name="T23" fmla="*/ 2147483647 h 355"/>
                <a:gd name="T24" fmla="*/ 2147483647 w 461"/>
                <a:gd name="T25" fmla="*/ 2147483647 h 355"/>
                <a:gd name="T26" fmla="*/ 2147483647 w 461"/>
                <a:gd name="T27" fmla="*/ 2147483647 h 355"/>
                <a:gd name="T28" fmla="*/ 2147483647 w 461"/>
                <a:gd name="T29" fmla="*/ 2147483647 h 355"/>
                <a:gd name="T30" fmla="*/ 2147483647 w 461"/>
                <a:gd name="T31" fmla="*/ 2147483647 h 355"/>
                <a:gd name="T32" fmla="*/ 2147483647 w 461"/>
                <a:gd name="T33" fmla="*/ 2147483647 h 355"/>
                <a:gd name="T34" fmla="*/ 2147483647 w 461"/>
                <a:gd name="T35" fmla="*/ 2147483647 h 355"/>
                <a:gd name="T36" fmla="*/ 2147483647 w 461"/>
                <a:gd name="T37" fmla="*/ 2147483647 h 355"/>
                <a:gd name="T38" fmla="*/ 2147483647 w 461"/>
                <a:gd name="T39" fmla="*/ 2147483647 h 355"/>
                <a:gd name="T40" fmla="*/ 2147483647 w 461"/>
                <a:gd name="T41" fmla="*/ 2147483647 h 355"/>
                <a:gd name="T42" fmla="*/ 2147483647 w 461"/>
                <a:gd name="T43" fmla="*/ 2147483647 h 355"/>
                <a:gd name="T44" fmla="*/ 2147483647 w 461"/>
                <a:gd name="T45" fmla="*/ 2147483647 h 355"/>
                <a:gd name="T46" fmla="*/ 2147483647 w 461"/>
                <a:gd name="T47" fmla="*/ 2147483647 h 355"/>
                <a:gd name="T48" fmla="*/ 2147483647 w 461"/>
                <a:gd name="T49" fmla="*/ 2147483647 h 355"/>
                <a:gd name="T50" fmla="*/ 2147483647 w 461"/>
                <a:gd name="T51" fmla="*/ 2147483647 h 355"/>
                <a:gd name="T52" fmla="*/ 2147483647 w 461"/>
                <a:gd name="T53" fmla="*/ 2147483647 h 355"/>
                <a:gd name="T54" fmla="*/ 2147483647 w 461"/>
                <a:gd name="T55" fmla="*/ 2147483647 h 355"/>
                <a:gd name="T56" fmla="*/ 2147483647 w 461"/>
                <a:gd name="T57" fmla="*/ 2147483647 h 355"/>
                <a:gd name="T58" fmla="*/ 2147483647 w 461"/>
                <a:gd name="T59" fmla="*/ 2147483647 h 355"/>
                <a:gd name="T60" fmla="*/ 2147483647 w 461"/>
                <a:gd name="T61" fmla="*/ 2147483647 h 355"/>
                <a:gd name="T62" fmla="*/ 2147483647 w 461"/>
                <a:gd name="T63" fmla="*/ 2147483647 h 355"/>
                <a:gd name="T64" fmla="*/ 2147483647 w 461"/>
                <a:gd name="T65" fmla="*/ 2147483647 h 355"/>
                <a:gd name="T66" fmla="*/ 2147483647 w 461"/>
                <a:gd name="T67" fmla="*/ 0 h 355"/>
                <a:gd name="T68" fmla="*/ 2147483647 w 461"/>
                <a:gd name="T69" fmla="*/ 2147483647 h 355"/>
                <a:gd name="T70" fmla="*/ 2147483647 w 461"/>
                <a:gd name="T71" fmla="*/ 2147483647 h 355"/>
                <a:gd name="T72" fmla="*/ 2147483647 w 461"/>
                <a:gd name="T73" fmla="*/ 2147483647 h 355"/>
                <a:gd name="T74" fmla="*/ 2147483647 w 461"/>
                <a:gd name="T75" fmla="*/ 2147483647 h 355"/>
                <a:gd name="T76" fmla="*/ 2147483647 w 461"/>
                <a:gd name="T77" fmla="*/ 2147483647 h 355"/>
                <a:gd name="T78" fmla="*/ 2147483647 w 461"/>
                <a:gd name="T79" fmla="*/ 2147483647 h 355"/>
                <a:gd name="T80" fmla="*/ 2147483647 w 461"/>
                <a:gd name="T81" fmla="*/ 2147483647 h 355"/>
                <a:gd name="T82" fmla="*/ 2147483647 w 461"/>
                <a:gd name="T83" fmla="*/ 2147483647 h 355"/>
                <a:gd name="T84" fmla="*/ 2147483647 w 461"/>
                <a:gd name="T85" fmla="*/ 2147483647 h 355"/>
                <a:gd name="T86" fmla="*/ 2147483647 w 461"/>
                <a:gd name="T87" fmla="*/ 2147483647 h 355"/>
                <a:gd name="T88" fmla="*/ 2147483647 w 461"/>
                <a:gd name="T89" fmla="*/ 2147483647 h 355"/>
                <a:gd name="T90" fmla="*/ 2147483647 w 461"/>
                <a:gd name="T91" fmla="*/ 2147483647 h 355"/>
                <a:gd name="T92" fmla="*/ 2147483647 w 461"/>
                <a:gd name="T93" fmla="*/ 2147483647 h 355"/>
                <a:gd name="T94" fmla="*/ 2147483647 w 461"/>
                <a:gd name="T95" fmla="*/ 2147483647 h 355"/>
                <a:gd name="T96" fmla="*/ 0 w 461"/>
                <a:gd name="T97" fmla="*/ 2147483647 h 355"/>
                <a:gd name="T98" fmla="*/ 0 w 461"/>
                <a:gd name="T99" fmla="*/ 2147483647 h 355"/>
                <a:gd name="T100" fmla="*/ 2147483647 w 461"/>
                <a:gd name="T101" fmla="*/ 2147483647 h 3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1"/>
                <a:gd name="T154" fmla="*/ 0 h 355"/>
                <a:gd name="T155" fmla="*/ 461 w 461"/>
                <a:gd name="T156" fmla="*/ 355 h 35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33" name="Freeform 164">
              <a:extLst>
                <a:ext uri="{FF2B5EF4-FFF2-40B4-BE49-F238E27FC236}">
                  <a16:creationId xmlns:a16="http://schemas.microsoft.com/office/drawing/2014/main" id="{D5C226A0-F772-CF47-B524-257EF6559517}"/>
                </a:ext>
              </a:extLst>
            </p:cNvPr>
            <p:cNvSpPr>
              <a:spLocks noEditPoints="1"/>
            </p:cNvSpPr>
            <p:nvPr>
              <p:custDataLst>
                <p:tags r:id="rId126"/>
              </p:custDataLst>
            </p:nvPr>
          </p:nvSpPr>
          <p:spPr bwMode="auto">
            <a:xfrm>
              <a:off x="9073625" y="4460048"/>
              <a:ext cx="105159" cy="41730"/>
            </a:xfrm>
            <a:custGeom>
              <a:avLst/>
              <a:gdLst>
                <a:gd name="T0" fmla="*/ 2147483647 w 168"/>
                <a:gd name="T1" fmla="*/ 2147483647 h 77"/>
                <a:gd name="T2" fmla="*/ 2147483647 w 168"/>
                <a:gd name="T3" fmla="*/ 2147483647 h 77"/>
                <a:gd name="T4" fmla="*/ 2147483647 w 168"/>
                <a:gd name="T5" fmla="*/ 2147483647 h 77"/>
                <a:gd name="T6" fmla="*/ 2147483647 w 168"/>
                <a:gd name="T7" fmla="*/ 2147483647 h 77"/>
                <a:gd name="T8" fmla="*/ 2147483647 w 168"/>
                <a:gd name="T9" fmla="*/ 0 h 77"/>
                <a:gd name="T10" fmla="*/ 2147483647 w 168"/>
                <a:gd name="T11" fmla="*/ 2147483647 h 77"/>
                <a:gd name="T12" fmla="*/ 2147483647 w 168"/>
                <a:gd name="T13" fmla="*/ 2147483647 h 77"/>
                <a:gd name="T14" fmla="*/ 2147483647 w 168"/>
                <a:gd name="T15" fmla="*/ 2147483647 h 77"/>
                <a:gd name="T16" fmla="*/ 2147483647 w 168"/>
                <a:gd name="T17" fmla="*/ 2147483647 h 77"/>
                <a:gd name="T18" fmla="*/ 2147483647 w 168"/>
                <a:gd name="T19" fmla="*/ 2147483647 h 77"/>
                <a:gd name="T20" fmla="*/ 2147483647 w 168"/>
                <a:gd name="T21" fmla="*/ 2147483647 h 77"/>
                <a:gd name="T22" fmla="*/ 2147483647 w 168"/>
                <a:gd name="T23" fmla="*/ 2147483647 h 77"/>
                <a:gd name="T24" fmla="*/ 2147483647 w 168"/>
                <a:gd name="T25" fmla="*/ 2147483647 h 77"/>
                <a:gd name="T26" fmla="*/ 2147483647 w 168"/>
                <a:gd name="T27" fmla="*/ 2147483647 h 77"/>
                <a:gd name="T28" fmla="*/ 2147483647 w 168"/>
                <a:gd name="T29" fmla="*/ 2147483647 h 77"/>
                <a:gd name="T30" fmla="*/ 2147483647 w 168"/>
                <a:gd name="T31" fmla="*/ 2147483647 h 77"/>
                <a:gd name="T32" fmla="*/ 2147483647 w 168"/>
                <a:gd name="T33" fmla="*/ 2147483647 h 77"/>
                <a:gd name="T34" fmla="*/ 2147483647 w 168"/>
                <a:gd name="T35" fmla="*/ 0 h 77"/>
                <a:gd name="T36" fmla="*/ 0 w 168"/>
                <a:gd name="T37" fmla="*/ 2147483647 h 77"/>
                <a:gd name="T38" fmla="*/ 2147483647 w 168"/>
                <a:gd name="T39" fmla="*/ 2147483647 h 77"/>
                <a:gd name="T40" fmla="*/ 2147483647 w 168"/>
                <a:gd name="T41" fmla="*/ 2147483647 h 77"/>
                <a:gd name="T42" fmla="*/ 2147483647 w 168"/>
                <a:gd name="T43" fmla="*/ 2147483647 h 77"/>
                <a:gd name="T44" fmla="*/ 2147483647 w 168"/>
                <a:gd name="T45" fmla="*/ 2147483647 h 77"/>
                <a:gd name="T46" fmla="*/ 0 w 168"/>
                <a:gd name="T47" fmla="*/ 2147483647 h 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8"/>
                <a:gd name="T73" fmla="*/ 0 h 77"/>
                <a:gd name="T74" fmla="*/ 168 w 168"/>
                <a:gd name="T75" fmla="*/ 77 h 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34" name="Freeform 165">
              <a:extLst>
                <a:ext uri="{FF2B5EF4-FFF2-40B4-BE49-F238E27FC236}">
                  <a16:creationId xmlns:a16="http://schemas.microsoft.com/office/drawing/2014/main" id="{60BDE31C-F543-FB45-83AC-CEC26A3690A8}"/>
                </a:ext>
              </a:extLst>
            </p:cNvPr>
            <p:cNvSpPr>
              <a:spLocks noEditPoints="1"/>
            </p:cNvSpPr>
            <p:nvPr>
              <p:custDataLst>
                <p:tags r:id="rId127"/>
              </p:custDataLst>
            </p:nvPr>
          </p:nvSpPr>
          <p:spPr bwMode="auto">
            <a:xfrm>
              <a:off x="8235690" y="4039412"/>
              <a:ext cx="1350377" cy="492412"/>
            </a:xfrm>
            <a:custGeom>
              <a:avLst/>
              <a:gdLst>
                <a:gd name="T0" fmla="*/ 2147483647 w 2179"/>
                <a:gd name="T1" fmla="*/ 2147483647 h 879"/>
                <a:gd name="T2" fmla="*/ 2147483647 w 2179"/>
                <a:gd name="T3" fmla="*/ 2147483647 h 879"/>
                <a:gd name="T4" fmla="*/ 2147483647 w 2179"/>
                <a:gd name="T5" fmla="*/ 2147483647 h 879"/>
                <a:gd name="T6" fmla="*/ 2147483647 w 2179"/>
                <a:gd name="T7" fmla="*/ 2147483647 h 879"/>
                <a:gd name="T8" fmla="*/ 2147483647 w 2179"/>
                <a:gd name="T9" fmla="*/ 2147483647 h 879"/>
                <a:gd name="T10" fmla="*/ 2147483647 w 2179"/>
                <a:gd name="T11" fmla="*/ 2147483647 h 879"/>
                <a:gd name="T12" fmla="*/ 2147483647 w 2179"/>
                <a:gd name="T13" fmla="*/ 2147483647 h 879"/>
                <a:gd name="T14" fmla="*/ 2147483647 w 2179"/>
                <a:gd name="T15" fmla="*/ 2147483647 h 879"/>
                <a:gd name="T16" fmla="*/ 2147483647 w 2179"/>
                <a:gd name="T17" fmla="*/ 2147483647 h 879"/>
                <a:gd name="T18" fmla="*/ 2147483647 w 2179"/>
                <a:gd name="T19" fmla="*/ 2147483647 h 879"/>
                <a:gd name="T20" fmla="*/ 2147483647 w 2179"/>
                <a:gd name="T21" fmla="*/ 2147483647 h 879"/>
                <a:gd name="T22" fmla="*/ 2147483647 w 2179"/>
                <a:gd name="T23" fmla="*/ 2147483647 h 879"/>
                <a:gd name="T24" fmla="*/ 2147483647 w 2179"/>
                <a:gd name="T25" fmla="*/ 2147483647 h 879"/>
                <a:gd name="T26" fmla="*/ 2147483647 w 2179"/>
                <a:gd name="T27" fmla="*/ 2147483647 h 879"/>
                <a:gd name="T28" fmla="*/ 2147483647 w 2179"/>
                <a:gd name="T29" fmla="*/ 2147483647 h 879"/>
                <a:gd name="T30" fmla="*/ 2147483647 w 2179"/>
                <a:gd name="T31" fmla="*/ 2147483647 h 879"/>
                <a:gd name="T32" fmla="*/ 2147483647 w 2179"/>
                <a:gd name="T33" fmla="*/ 2147483647 h 879"/>
                <a:gd name="T34" fmla="*/ 2147483647 w 2179"/>
                <a:gd name="T35" fmla="*/ 2147483647 h 879"/>
                <a:gd name="T36" fmla="*/ 2147483647 w 2179"/>
                <a:gd name="T37" fmla="*/ 2147483647 h 879"/>
                <a:gd name="T38" fmla="*/ 2147483647 w 2179"/>
                <a:gd name="T39" fmla="*/ 2147483647 h 879"/>
                <a:gd name="T40" fmla="*/ 2147483647 w 2179"/>
                <a:gd name="T41" fmla="*/ 2147483647 h 879"/>
                <a:gd name="T42" fmla="*/ 2147483647 w 2179"/>
                <a:gd name="T43" fmla="*/ 2147483647 h 879"/>
                <a:gd name="T44" fmla="*/ 2147483647 w 2179"/>
                <a:gd name="T45" fmla="*/ 2147483647 h 879"/>
                <a:gd name="T46" fmla="*/ 2147483647 w 2179"/>
                <a:gd name="T47" fmla="*/ 2147483647 h 879"/>
                <a:gd name="T48" fmla="*/ 2147483647 w 2179"/>
                <a:gd name="T49" fmla="*/ 2147483647 h 879"/>
                <a:gd name="T50" fmla="*/ 2147483647 w 2179"/>
                <a:gd name="T51" fmla="*/ 2147483647 h 879"/>
                <a:gd name="T52" fmla="*/ 2147483647 w 2179"/>
                <a:gd name="T53" fmla="*/ 2147483647 h 879"/>
                <a:gd name="T54" fmla="*/ 2147483647 w 2179"/>
                <a:gd name="T55" fmla="*/ 2147483647 h 879"/>
                <a:gd name="T56" fmla="*/ 2147483647 w 2179"/>
                <a:gd name="T57" fmla="*/ 2147483647 h 879"/>
                <a:gd name="T58" fmla="*/ 2147483647 w 2179"/>
                <a:gd name="T59" fmla="*/ 2147483647 h 879"/>
                <a:gd name="T60" fmla="*/ 2147483647 w 2179"/>
                <a:gd name="T61" fmla="*/ 2147483647 h 879"/>
                <a:gd name="T62" fmla="*/ 2147483647 w 2179"/>
                <a:gd name="T63" fmla="*/ 2147483647 h 879"/>
                <a:gd name="T64" fmla="*/ 2147483647 w 2179"/>
                <a:gd name="T65" fmla="*/ 2147483647 h 879"/>
                <a:gd name="T66" fmla="*/ 2147483647 w 2179"/>
                <a:gd name="T67" fmla="*/ 2147483647 h 879"/>
                <a:gd name="T68" fmla="*/ 2147483647 w 2179"/>
                <a:gd name="T69" fmla="*/ 2147483647 h 879"/>
                <a:gd name="T70" fmla="*/ 2147483647 w 2179"/>
                <a:gd name="T71" fmla="*/ 2147483647 h 879"/>
                <a:gd name="T72" fmla="*/ 2147483647 w 2179"/>
                <a:gd name="T73" fmla="*/ 2147483647 h 879"/>
                <a:gd name="T74" fmla="*/ 2147483647 w 2179"/>
                <a:gd name="T75" fmla="*/ 2147483647 h 879"/>
                <a:gd name="T76" fmla="*/ 2147483647 w 2179"/>
                <a:gd name="T77" fmla="*/ 2147483647 h 879"/>
                <a:gd name="T78" fmla="*/ 2147483647 w 2179"/>
                <a:gd name="T79" fmla="*/ 2147483647 h 879"/>
                <a:gd name="T80" fmla="*/ 2147483647 w 2179"/>
                <a:gd name="T81" fmla="*/ 2147483647 h 879"/>
                <a:gd name="T82" fmla="*/ 2147483647 w 2179"/>
                <a:gd name="T83" fmla="*/ 2147483647 h 879"/>
                <a:gd name="T84" fmla="*/ 2147483647 w 2179"/>
                <a:gd name="T85" fmla="*/ 2147483647 h 879"/>
                <a:gd name="T86" fmla="*/ 2147483647 w 2179"/>
                <a:gd name="T87" fmla="*/ 2147483647 h 879"/>
                <a:gd name="T88" fmla="*/ 2147483647 w 2179"/>
                <a:gd name="T89" fmla="*/ 2147483647 h 879"/>
                <a:gd name="T90" fmla="*/ 2147483647 w 2179"/>
                <a:gd name="T91" fmla="*/ 2147483647 h 879"/>
                <a:gd name="T92" fmla="*/ 2147483647 w 2179"/>
                <a:gd name="T93" fmla="*/ 2147483647 h 879"/>
                <a:gd name="T94" fmla="*/ 2147483647 w 2179"/>
                <a:gd name="T95" fmla="*/ 2147483647 h 879"/>
                <a:gd name="T96" fmla="*/ 2147483647 w 2179"/>
                <a:gd name="T97" fmla="*/ 2147483647 h 879"/>
                <a:gd name="T98" fmla="*/ 2147483647 w 2179"/>
                <a:gd name="T99" fmla="*/ 2147483647 h 879"/>
                <a:gd name="T100" fmla="*/ 2147483647 w 2179"/>
                <a:gd name="T101" fmla="*/ 2147483647 h 879"/>
                <a:gd name="T102" fmla="*/ 2147483647 w 2179"/>
                <a:gd name="T103" fmla="*/ 2147483647 h 879"/>
                <a:gd name="T104" fmla="*/ 2147483647 w 2179"/>
                <a:gd name="T105" fmla="*/ 2147483647 h 879"/>
                <a:gd name="T106" fmla="*/ 2147483647 w 2179"/>
                <a:gd name="T107" fmla="*/ 2147483647 h 879"/>
                <a:gd name="T108" fmla="*/ 2147483647 w 2179"/>
                <a:gd name="T109" fmla="*/ 2147483647 h 879"/>
                <a:gd name="T110" fmla="*/ 2147483647 w 2179"/>
                <a:gd name="T111" fmla="*/ 2147483647 h 879"/>
                <a:gd name="T112" fmla="*/ 2147483647 w 2179"/>
                <a:gd name="T113" fmla="*/ 2147483647 h 879"/>
                <a:gd name="T114" fmla="*/ 2147483647 w 2179"/>
                <a:gd name="T115" fmla="*/ 2147483647 h 8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79"/>
                <a:gd name="T175" fmla="*/ 0 h 879"/>
                <a:gd name="T176" fmla="*/ 2179 w 2179"/>
                <a:gd name="T177" fmla="*/ 879 h 8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35" name="Freeform 166">
              <a:extLst>
                <a:ext uri="{FF2B5EF4-FFF2-40B4-BE49-F238E27FC236}">
                  <a16:creationId xmlns:a16="http://schemas.microsoft.com/office/drawing/2014/main" id="{11ABE8DA-9FD5-9F4E-AF2B-1609B70B37C8}"/>
                </a:ext>
              </a:extLst>
            </p:cNvPr>
            <p:cNvSpPr>
              <a:spLocks noEditPoints="1"/>
            </p:cNvSpPr>
            <p:nvPr>
              <p:custDataLst>
                <p:tags r:id="rId128"/>
              </p:custDataLst>
            </p:nvPr>
          </p:nvSpPr>
          <p:spPr bwMode="auto">
            <a:xfrm>
              <a:off x="8641305" y="4531823"/>
              <a:ext cx="1170102" cy="991499"/>
            </a:xfrm>
            <a:custGeom>
              <a:avLst/>
              <a:gdLst>
                <a:gd name="T0" fmla="*/ 2147483647 w 1898"/>
                <a:gd name="T1" fmla="*/ 2147483647 h 1774"/>
                <a:gd name="T2" fmla="*/ 2147483647 w 1898"/>
                <a:gd name="T3" fmla="*/ 2147483647 h 1774"/>
                <a:gd name="T4" fmla="*/ 2147483647 w 1898"/>
                <a:gd name="T5" fmla="*/ 2147483647 h 1774"/>
                <a:gd name="T6" fmla="*/ 2147483647 w 1898"/>
                <a:gd name="T7" fmla="*/ 2147483647 h 1774"/>
                <a:gd name="T8" fmla="*/ 2147483647 w 1898"/>
                <a:gd name="T9" fmla="*/ 2147483647 h 1774"/>
                <a:gd name="T10" fmla="*/ 2147483647 w 1898"/>
                <a:gd name="T11" fmla="*/ 2147483647 h 1774"/>
                <a:gd name="T12" fmla="*/ 2147483647 w 1898"/>
                <a:gd name="T13" fmla="*/ 2147483647 h 1774"/>
                <a:gd name="T14" fmla="*/ 2147483647 w 1898"/>
                <a:gd name="T15" fmla="*/ 2147483647 h 1774"/>
                <a:gd name="T16" fmla="*/ 2147483647 w 1898"/>
                <a:gd name="T17" fmla="*/ 2147483647 h 1774"/>
                <a:gd name="T18" fmla="*/ 2147483647 w 1898"/>
                <a:gd name="T19" fmla="*/ 2147483647 h 1774"/>
                <a:gd name="T20" fmla="*/ 2147483647 w 1898"/>
                <a:gd name="T21" fmla="*/ 2147483647 h 1774"/>
                <a:gd name="T22" fmla="*/ 2147483647 w 1898"/>
                <a:gd name="T23" fmla="*/ 2147483647 h 1774"/>
                <a:gd name="T24" fmla="*/ 2147483647 w 1898"/>
                <a:gd name="T25" fmla="*/ 2147483647 h 1774"/>
                <a:gd name="T26" fmla="*/ 2147483647 w 1898"/>
                <a:gd name="T27" fmla="*/ 2147483647 h 1774"/>
                <a:gd name="T28" fmla="*/ 2147483647 w 1898"/>
                <a:gd name="T29" fmla="*/ 2147483647 h 1774"/>
                <a:gd name="T30" fmla="*/ 2147483647 w 1898"/>
                <a:gd name="T31" fmla="*/ 2147483647 h 1774"/>
                <a:gd name="T32" fmla="*/ 2147483647 w 1898"/>
                <a:gd name="T33" fmla="*/ 2147483647 h 1774"/>
                <a:gd name="T34" fmla="*/ 2147483647 w 1898"/>
                <a:gd name="T35" fmla="*/ 2147483647 h 1774"/>
                <a:gd name="T36" fmla="*/ 2147483647 w 1898"/>
                <a:gd name="T37" fmla="*/ 2147483647 h 1774"/>
                <a:gd name="T38" fmla="*/ 2147483647 w 1898"/>
                <a:gd name="T39" fmla="*/ 2147483647 h 1774"/>
                <a:gd name="T40" fmla="*/ 2147483647 w 1898"/>
                <a:gd name="T41" fmla="*/ 2147483647 h 1774"/>
                <a:gd name="T42" fmla="*/ 2147483647 w 1898"/>
                <a:gd name="T43" fmla="*/ 2147483647 h 1774"/>
                <a:gd name="T44" fmla="*/ 2147483647 w 1898"/>
                <a:gd name="T45" fmla="*/ 2147483647 h 1774"/>
                <a:gd name="T46" fmla="*/ 2147483647 w 1898"/>
                <a:gd name="T47" fmla="*/ 2147483647 h 1774"/>
                <a:gd name="T48" fmla="*/ 2147483647 w 1898"/>
                <a:gd name="T49" fmla="*/ 2147483647 h 1774"/>
                <a:gd name="T50" fmla="*/ 2147483647 w 1898"/>
                <a:gd name="T51" fmla="*/ 2147483647 h 1774"/>
                <a:gd name="T52" fmla="*/ 2147483647 w 1898"/>
                <a:gd name="T53" fmla="*/ 2147483647 h 1774"/>
                <a:gd name="T54" fmla="*/ 2147483647 w 1898"/>
                <a:gd name="T55" fmla="*/ 2147483647 h 1774"/>
                <a:gd name="T56" fmla="*/ 2147483647 w 1898"/>
                <a:gd name="T57" fmla="*/ 2147483647 h 1774"/>
                <a:gd name="T58" fmla="*/ 2147483647 w 1898"/>
                <a:gd name="T59" fmla="*/ 2147483647 h 1774"/>
                <a:gd name="T60" fmla="*/ 2147483647 w 1898"/>
                <a:gd name="T61" fmla="*/ 2147483647 h 1774"/>
                <a:gd name="T62" fmla="*/ 2147483647 w 1898"/>
                <a:gd name="T63" fmla="*/ 2147483647 h 1774"/>
                <a:gd name="T64" fmla="*/ 2147483647 w 1898"/>
                <a:gd name="T65" fmla="*/ 2147483647 h 1774"/>
                <a:gd name="T66" fmla="*/ 2147483647 w 1898"/>
                <a:gd name="T67" fmla="*/ 2147483647 h 1774"/>
                <a:gd name="T68" fmla="*/ 2147483647 w 1898"/>
                <a:gd name="T69" fmla="*/ 2147483647 h 1774"/>
                <a:gd name="T70" fmla="*/ 2147483647 w 1898"/>
                <a:gd name="T71" fmla="*/ 2147483647 h 1774"/>
                <a:gd name="T72" fmla="*/ 2147483647 w 1898"/>
                <a:gd name="T73" fmla="*/ 2147483647 h 1774"/>
                <a:gd name="T74" fmla="*/ 2147483647 w 1898"/>
                <a:gd name="T75" fmla="*/ 2147483647 h 1774"/>
                <a:gd name="T76" fmla="*/ 2147483647 w 1898"/>
                <a:gd name="T77" fmla="*/ 2147483647 h 1774"/>
                <a:gd name="T78" fmla="*/ 2147483647 w 1898"/>
                <a:gd name="T79" fmla="*/ 2147483647 h 1774"/>
                <a:gd name="T80" fmla="*/ 2147483647 w 1898"/>
                <a:gd name="T81" fmla="*/ 2147483647 h 1774"/>
                <a:gd name="T82" fmla="*/ 2147483647 w 1898"/>
                <a:gd name="T83" fmla="*/ 2147483647 h 1774"/>
                <a:gd name="T84" fmla="*/ 2147483647 w 1898"/>
                <a:gd name="T85" fmla="*/ 2147483647 h 1774"/>
                <a:gd name="T86" fmla="*/ 2147483647 w 1898"/>
                <a:gd name="T87" fmla="*/ 2147483647 h 1774"/>
                <a:gd name="T88" fmla="*/ 2147483647 w 1898"/>
                <a:gd name="T89" fmla="*/ 2147483647 h 1774"/>
                <a:gd name="T90" fmla="*/ 2147483647 w 1898"/>
                <a:gd name="T91" fmla="*/ 2147483647 h 1774"/>
                <a:gd name="T92" fmla="*/ 2147483647 w 1898"/>
                <a:gd name="T93" fmla="*/ 2147483647 h 1774"/>
                <a:gd name="T94" fmla="*/ 2147483647 w 1898"/>
                <a:gd name="T95" fmla="*/ 2147483647 h 1774"/>
                <a:gd name="T96" fmla="*/ 2147483647 w 1898"/>
                <a:gd name="T97" fmla="*/ 2147483647 h 1774"/>
                <a:gd name="T98" fmla="*/ 2147483647 w 1898"/>
                <a:gd name="T99" fmla="*/ 2147483647 h 1774"/>
                <a:gd name="T100" fmla="*/ 2147483647 w 1898"/>
                <a:gd name="T101" fmla="*/ 2147483647 h 1774"/>
                <a:gd name="T102" fmla="*/ 2147483647 w 1898"/>
                <a:gd name="T103" fmla="*/ 2147483647 h 1774"/>
                <a:gd name="T104" fmla="*/ 2147483647 w 1898"/>
                <a:gd name="T105" fmla="*/ 2147483647 h 1774"/>
                <a:gd name="T106" fmla="*/ 2147483647 w 1898"/>
                <a:gd name="T107" fmla="*/ 2147483647 h 1774"/>
                <a:gd name="T108" fmla="*/ 2147483647 w 1898"/>
                <a:gd name="T109" fmla="*/ 2147483647 h 1774"/>
                <a:gd name="T110" fmla="*/ 2147483647 w 1898"/>
                <a:gd name="T111" fmla="*/ 2147483647 h 17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98"/>
                <a:gd name="T169" fmla="*/ 0 h 1774"/>
                <a:gd name="T170" fmla="*/ 1898 w 1898"/>
                <a:gd name="T171" fmla="*/ 1774 h 177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0"/>
                    <a:pt x="1223" y="260"/>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2"/>
                    <a:pt x="569" y="332"/>
                    <a:pt x="569" y="332"/>
                  </a:cubicBezTo>
                  <a:cubicBezTo>
                    <a:pt x="569" y="332"/>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36" name="Freeform 167">
              <a:extLst>
                <a:ext uri="{FF2B5EF4-FFF2-40B4-BE49-F238E27FC236}">
                  <a16:creationId xmlns:a16="http://schemas.microsoft.com/office/drawing/2014/main" id="{D2C9E7D1-4B94-584B-A142-1BF621863A67}"/>
                </a:ext>
              </a:extLst>
            </p:cNvPr>
            <p:cNvSpPr>
              <a:spLocks/>
            </p:cNvSpPr>
            <p:nvPr>
              <p:custDataLst>
                <p:tags r:id="rId129"/>
              </p:custDataLst>
            </p:nvPr>
          </p:nvSpPr>
          <p:spPr bwMode="auto">
            <a:xfrm>
              <a:off x="3256494" y="2926061"/>
              <a:ext cx="15023" cy="13353"/>
            </a:xfrm>
            <a:custGeom>
              <a:avLst/>
              <a:gdLst>
                <a:gd name="T0" fmla="*/ 0 w 22"/>
                <a:gd name="T1" fmla="*/ 2147483647 h 25"/>
                <a:gd name="T2" fmla="*/ 2147483647 w 22"/>
                <a:gd name="T3" fmla="*/ 2147483647 h 25"/>
                <a:gd name="T4" fmla="*/ 2147483647 w 22"/>
                <a:gd name="T5" fmla="*/ 2147483647 h 25"/>
                <a:gd name="T6" fmla="*/ 0 w 22"/>
                <a:gd name="T7" fmla="*/ 2147483647 h 25"/>
                <a:gd name="T8" fmla="*/ 0 60000 65536"/>
                <a:gd name="T9" fmla="*/ 0 60000 65536"/>
                <a:gd name="T10" fmla="*/ 0 60000 65536"/>
                <a:gd name="T11" fmla="*/ 0 60000 65536"/>
                <a:gd name="T12" fmla="*/ 0 w 22"/>
                <a:gd name="T13" fmla="*/ 0 h 25"/>
                <a:gd name="T14" fmla="*/ 22 w 22"/>
                <a:gd name="T15" fmla="*/ 25 h 25"/>
              </a:gdLst>
              <a:ahLst/>
              <a:cxnLst>
                <a:cxn ang="T8">
                  <a:pos x="T0" y="T1"/>
                </a:cxn>
                <a:cxn ang="T9">
                  <a:pos x="T2" y="T3"/>
                </a:cxn>
                <a:cxn ang="T10">
                  <a:pos x="T4" y="T5"/>
                </a:cxn>
                <a:cxn ang="T11">
                  <a:pos x="T6" y="T7"/>
                </a:cxn>
              </a:cxnLst>
              <a:rect l="T12" t="T13" r="T14" b="T15"/>
              <a:pathLst>
                <a:path w="22" h="25">
                  <a:moveTo>
                    <a:pt x="0" y="15"/>
                  </a:moveTo>
                  <a:cubicBezTo>
                    <a:pt x="0" y="15"/>
                    <a:pt x="2" y="25"/>
                    <a:pt x="12" y="22"/>
                  </a:cubicBezTo>
                  <a:cubicBezTo>
                    <a:pt x="22" y="19"/>
                    <a:pt x="18" y="18"/>
                    <a:pt x="15" y="9"/>
                  </a:cubicBezTo>
                  <a:cubicBezTo>
                    <a:pt x="12" y="0"/>
                    <a:pt x="0" y="4"/>
                    <a:pt x="0" y="15"/>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37" name="Freeform 168">
              <a:extLst>
                <a:ext uri="{FF2B5EF4-FFF2-40B4-BE49-F238E27FC236}">
                  <a16:creationId xmlns:a16="http://schemas.microsoft.com/office/drawing/2014/main" id="{1CF4C47E-446A-0C4D-B680-0D9CD4C30D4C}"/>
                </a:ext>
              </a:extLst>
            </p:cNvPr>
            <p:cNvSpPr>
              <a:spLocks noEditPoints="1"/>
            </p:cNvSpPr>
            <p:nvPr>
              <p:custDataLst>
                <p:tags r:id="rId130"/>
              </p:custDataLst>
            </p:nvPr>
          </p:nvSpPr>
          <p:spPr bwMode="auto">
            <a:xfrm>
              <a:off x="2189880" y="1869464"/>
              <a:ext cx="2298476" cy="1078297"/>
            </a:xfrm>
            <a:custGeom>
              <a:avLst/>
              <a:gdLst>
                <a:gd name="T0" fmla="*/ 2147483647 w 3718"/>
                <a:gd name="T1" fmla="*/ 2147483647 h 1928"/>
                <a:gd name="T2" fmla="*/ 2147483647 w 3718"/>
                <a:gd name="T3" fmla="*/ 2147483647 h 1928"/>
                <a:gd name="T4" fmla="*/ 2147483647 w 3718"/>
                <a:gd name="T5" fmla="*/ 2147483647 h 1928"/>
                <a:gd name="T6" fmla="*/ 2147483647 w 3718"/>
                <a:gd name="T7" fmla="*/ 2147483647 h 1928"/>
                <a:gd name="T8" fmla="*/ 2147483647 w 3718"/>
                <a:gd name="T9" fmla="*/ 2147483647 h 1928"/>
                <a:gd name="T10" fmla="*/ 2147483647 w 3718"/>
                <a:gd name="T11" fmla="*/ 2147483647 h 1928"/>
                <a:gd name="T12" fmla="*/ 2147483647 w 3718"/>
                <a:gd name="T13" fmla="*/ 2147483647 h 1928"/>
                <a:gd name="T14" fmla="*/ 2147483647 w 3718"/>
                <a:gd name="T15" fmla="*/ 2147483647 h 1928"/>
                <a:gd name="T16" fmla="*/ 2147483647 w 3718"/>
                <a:gd name="T17" fmla="*/ 2147483647 h 1928"/>
                <a:gd name="T18" fmla="*/ 2147483647 w 3718"/>
                <a:gd name="T19" fmla="*/ 2147483647 h 1928"/>
                <a:gd name="T20" fmla="*/ 2147483647 w 3718"/>
                <a:gd name="T21" fmla="*/ 2147483647 h 1928"/>
                <a:gd name="T22" fmla="*/ 2147483647 w 3718"/>
                <a:gd name="T23" fmla="*/ 2147483647 h 1928"/>
                <a:gd name="T24" fmla="*/ 2147483647 w 3718"/>
                <a:gd name="T25" fmla="*/ 2147483647 h 1928"/>
                <a:gd name="T26" fmla="*/ 2147483647 w 3718"/>
                <a:gd name="T27" fmla="*/ 2147483647 h 1928"/>
                <a:gd name="T28" fmla="*/ 2147483647 w 3718"/>
                <a:gd name="T29" fmla="*/ 2147483647 h 1928"/>
                <a:gd name="T30" fmla="*/ 2147483647 w 3718"/>
                <a:gd name="T31" fmla="*/ 2147483647 h 1928"/>
                <a:gd name="T32" fmla="*/ 2147483647 w 3718"/>
                <a:gd name="T33" fmla="*/ 2147483647 h 1928"/>
                <a:gd name="T34" fmla="*/ 2147483647 w 3718"/>
                <a:gd name="T35" fmla="*/ 2147483647 h 1928"/>
                <a:gd name="T36" fmla="*/ 2147483647 w 3718"/>
                <a:gd name="T37" fmla="*/ 2147483647 h 1928"/>
                <a:gd name="T38" fmla="*/ 2147483647 w 3718"/>
                <a:gd name="T39" fmla="*/ 2147483647 h 1928"/>
                <a:gd name="T40" fmla="*/ 2147483647 w 3718"/>
                <a:gd name="T41" fmla="*/ 2147483647 h 1928"/>
                <a:gd name="T42" fmla="*/ 2147483647 w 3718"/>
                <a:gd name="T43" fmla="*/ 2147483647 h 1928"/>
                <a:gd name="T44" fmla="*/ 2147483647 w 3718"/>
                <a:gd name="T45" fmla="*/ 2147483647 h 1928"/>
                <a:gd name="T46" fmla="*/ 2147483647 w 3718"/>
                <a:gd name="T47" fmla="*/ 2147483647 h 1928"/>
                <a:gd name="T48" fmla="*/ 2147483647 w 3718"/>
                <a:gd name="T49" fmla="*/ 2147483647 h 1928"/>
                <a:gd name="T50" fmla="*/ 2147483647 w 3718"/>
                <a:gd name="T51" fmla="*/ 2147483647 h 1928"/>
                <a:gd name="T52" fmla="*/ 2147483647 w 3718"/>
                <a:gd name="T53" fmla="*/ 2147483647 h 1928"/>
                <a:gd name="T54" fmla="*/ 2147483647 w 3718"/>
                <a:gd name="T55" fmla="*/ 2147483647 h 1928"/>
                <a:gd name="T56" fmla="*/ 2147483647 w 3718"/>
                <a:gd name="T57" fmla="*/ 2147483647 h 1928"/>
                <a:gd name="T58" fmla="*/ 2147483647 w 3718"/>
                <a:gd name="T59" fmla="*/ 2147483647 h 1928"/>
                <a:gd name="T60" fmla="*/ 2147483647 w 3718"/>
                <a:gd name="T61" fmla="*/ 2147483647 h 1928"/>
                <a:gd name="T62" fmla="*/ 2147483647 w 3718"/>
                <a:gd name="T63" fmla="*/ 2147483647 h 1928"/>
                <a:gd name="T64" fmla="*/ 2147483647 w 3718"/>
                <a:gd name="T65" fmla="*/ 2147483647 h 1928"/>
                <a:gd name="T66" fmla="*/ 2147483647 w 3718"/>
                <a:gd name="T67" fmla="*/ 2147483647 h 1928"/>
                <a:gd name="T68" fmla="*/ 2147483647 w 3718"/>
                <a:gd name="T69" fmla="*/ 2147483647 h 1928"/>
                <a:gd name="T70" fmla="*/ 2147483647 w 3718"/>
                <a:gd name="T71" fmla="*/ 2147483647 h 1928"/>
                <a:gd name="T72" fmla="*/ 2147483647 w 3718"/>
                <a:gd name="T73" fmla="*/ 2147483647 h 1928"/>
                <a:gd name="T74" fmla="*/ 2147483647 w 3718"/>
                <a:gd name="T75" fmla="*/ 2147483647 h 1928"/>
                <a:gd name="T76" fmla="*/ 2147483647 w 3718"/>
                <a:gd name="T77" fmla="*/ 2147483647 h 1928"/>
                <a:gd name="T78" fmla="*/ 2147483647 w 3718"/>
                <a:gd name="T79" fmla="*/ 2147483647 h 1928"/>
                <a:gd name="T80" fmla="*/ 2147483647 w 3718"/>
                <a:gd name="T81" fmla="*/ 2147483647 h 1928"/>
                <a:gd name="T82" fmla="*/ 2147483647 w 3718"/>
                <a:gd name="T83" fmla="*/ 2147483647 h 1928"/>
                <a:gd name="T84" fmla="*/ 2147483647 w 3718"/>
                <a:gd name="T85" fmla="*/ 2147483647 h 1928"/>
                <a:gd name="T86" fmla="*/ 2147483647 w 3718"/>
                <a:gd name="T87" fmla="*/ 2147483647 h 1928"/>
                <a:gd name="T88" fmla="*/ 2147483647 w 3718"/>
                <a:gd name="T89" fmla="*/ 2147483647 h 1928"/>
                <a:gd name="T90" fmla="*/ 2147483647 w 3718"/>
                <a:gd name="T91" fmla="*/ 2147483647 h 1928"/>
                <a:gd name="T92" fmla="*/ 2147483647 w 3718"/>
                <a:gd name="T93" fmla="*/ 2147483647 h 1928"/>
                <a:gd name="T94" fmla="*/ 2147483647 w 3718"/>
                <a:gd name="T95" fmla="*/ 2147483647 h 1928"/>
                <a:gd name="T96" fmla="*/ 2147483647 w 3718"/>
                <a:gd name="T97" fmla="*/ 2147483647 h 1928"/>
                <a:gd name="T98" fmla="*/ 2147483647 w 3718"/>
                <a:gd name="T99" fmla="*/ 2147483647 h 1928"/>
                <a:gd name="T100" fmla="*/ 2147483647 w 3718"/>
                <a:gd name="T101" fmla="*/ 2147483647 h 1928"/>
                <a:gd name="T102" fmla="*/ 2147483647 w 3718"/>
                <a:gd name="T103" fmla="*/ 2147483647 h 1928"/>
                <a:gd name="T104" fmla="*/ 2147483647 w 3718"/>
                <a:gd name="T105" fmla="*/ 2147483647 h 1928"/>
                <a:gd name="T106" fmla="*/ 2147483647 w 3718"/>
                <a:gd name="T107" fmla="*/ 2147483647 h 1928"/>
                <a:gd name="T108" fmla="*/ 2147483647 w 3718"/>
                <a:gd name="T109" fmla="*/ 2147483647 h 1928"/>
                <a:gd name="T110" fmla="*/ 2147483647 w 3718"/>
                <a:gd name="T111" fmla="*/ 2147483647 h 1928"/>
                <a:gd name="T112" fmla="*/ 2147483647 w 3718"/>
                <a:gd name="T113" fmla="*/ 2147483647 h 1928"/>
                <a:gd name="T114" fmla="*/ 2147483647 w 3718"/>
                <a:gd name="T115" fmla="*/ 2147483647 h 1928"/>
                <a:gd name="T116" fmla="*/ 2147483647 w 3718"/>
                <a:gd name="T117" fmla="*/ 2147483647 h 1928"/>
                <a:gd name="T118" fmla="*/ 2147483647 w 3718"/>
                <a:gd name="T119" fmla="*/ 2147483647 h 1928"/>
                <a:gd name="T120" fmla="*/ 2147483647 w 3718"/>
                <a:gd name="T121" fmla="*/ 2147483647 h 1928"/>
                <a:gd name="T122" fmla="*/ 2147483647 w 3718"/>
                <a:gd name="T123" fmla="*/ 2147483647 h 19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718"/>
                <a:gd name="T187" fmla="*/ 0 h 1928"/>
                <a:gd name="T188" fmla="*/ 3718 w 3718"/>
                <a:gd name="T189" fmla="*/ 1928 h 192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38" name="Freeform 171">
              <a:extLst>
                <a:ext uri="{FF2B5EF4-FFF2-40B4-BE49-F238E27FC236}">
                  <a16:creationId xmlns:a16="http://schemas.microsoft.com/office/drawing/2014/main" id="{3AD0FCCB-3B69-184B-A078-2FCD3EAB3825}"/>
                </a:ext>
              </a:extLst>
            </p:cNvPr>
            <p:cNvSpPr>
              <a:spLocks/>
            </p:cNvSpPr>
            <p:nvPr>
              <p:custDataLst>
                <p:tags r:id="rId131"/>
              </p:custDataLst>
            </p:nvPr>
          </p:nvSpPr>
          <p:spPr bwMode="auto">
            <a:xfrm>
              <a:off x="6950413" y="2840933"/>
              <a:ext cx="495750" cy="250378"/>
            </a:xfrm>
            <a:custGeom>
              <a:avLst/>
              <a:gdLst>
                <a:gd name="T0" fmla="*/ 2147483647 w 798"/>
                <a:gd name="T1" fmla="*/ 2147483647 h 447"/>
                <a:gd name="T2" fmla="*/ 2147483647 w 798"/>
                <a:gd name="T3" fmla="*/ 2147483647 h 447"/>
                <a:gd name="T4" fmla="*/ 2147483647 w 798"/>
                <a:gd name="T5" fmla="*/ 2147483647 h 447"/>
                <a:gd name="T6" fmla="*/ 2147483647 w 798"/>
                <a:gd name="T7" fmla="*/ 2147483647 h 447"/>
                <a:gd name="T8" fmla="*/ 2147483647 w 798"/>
                <a:gd name="T9" fmla="*/ 2147483647 h 447"/>
                <a:gd name="T10" fmla="*/ 2147483647 w 798"/>
                <a:gd name="T11" fmla="*/ 2147483647 h 447"/>
                <a:gd name="T12" fmla="*/ 2147483647 w 798"/>
                <a:gd name="T13" fmla="*/ 2147483647 h 447"/>
                <a:gd name="T14" fmla="*/ 2147483647 w 798"/>
                <a:gd name="T15" fmla="*/ 2147483647 h 447"/>
                <a:gd name="T16" fmla="*/ 2147483647 w 798"/>
                <a:gd name="T17" fmla="*/ 2147483647 h 447"/>
                <a:gd name="T18" fmla="*/ 2147483647 w 798"/>
                <a:gd name="T19" fmla="*/ 2147483647 h 447"/>
                <a:gd name="T20" fmla="*/ 2147483647 w 798"/>
                <a:gd name="T21" fmla="*/ 2147483647 h 447"/>
                <a:gd name="T22" fmla="*/ 2147483647 w 798"/>
                <a:gd name="T23" fmla="*/ 2147483647 h 447"/>
                <a:gd name="T24" fmla="*/ 2147483647 w 798"/>
                <a:gd name="T25" fmla="*/ 2147483647 h 447"/>
                <a:gd name="T26" fmla="*/ 2147483647 w 798"/>
                <a:gd name="T27" fmla="*/ 2147483647 h 447"/>
                <a:gd name="T28" fmla="*/ 2147483647 w 798"/>
                <a:gd name="T29" fmla="*/ 2147483647 h 447"/>
                <a:gd name="T30" fmla="*/ 2147483647 w 798"/>
                <a:gd name="T31" fmla="*/ 2147483647 h 447"/>
                <a:gd name="T32" fmla="*/ 2147483647 w 798"/>
                <a:gd name="T33" fmla="*/ 2147483647 h 447"/>
                <a:gd name="T34" fmla="*/ 2147483647 w 798"/>
                <a:gd name="T35" fmla="*/ 2147483647 h 447"/>
                <a:gd name="T36" fmla="*/ 2147483647 w 798"/>
                <a:gd name="T37" fmla="*/ 2147483647 h 447"/>
                <a:gd name="T38" fmla="*/ 2147483647 w 798"/>
                <a:gd name="T39" fmla="*/ 2147483647 h 447"/>
                <a:gd name="T40" fmla="*/ 2147483647 w 798"/>
                <a:gd name="T41" fmla="*/ 2147483647 h 447"/>
                <a:gd name="T42" fmla="*/ 2147483647 w 798"/>
                <a:gd name="T43" fmla="*/ 2147483647 h 447"/>
                <a:gd name="T44" fmla="*/ 2147483647 w 798"/>
                <a:gd name="T45" fmla="*/ 2147483647 h 447"/>
                <a:gd name="T46" fmla="*/ 2147483647 w 798"/>
                <a:gd name="T47" fmla="*/ 2147483647 h 447"/>
                <a:gd name="T48" fmla="*/ 0 w 798"/>
                <a:gd name="T49" fmla="*/ 2147483647 h 447"/>
                <a:gd name="T50" fmla="*/ 2147483647 w 798"/>
                <a:gd name="T51" fmla="*/ 2147483647 h 447"/>
                <a:gd name="T52" fmla="*/ 2147483647 w 798"/>
                <a:gd name="T53" fmla="*/ 2147483647 h 447"/>
                <a:gd name="T54" fmla="*/ 2147483647 w 798"/>
                <a:gd name="T55" fmla="*/ 2147483647 h 447"/>
                <a:gd name="T56" fmla="*/ 2147483647 w 798"/>
                <a:gd name="T57" fmla="*/ 2147483647 h 447"/>
                <a:gd name="T58" fmla="*/ 2147483647 w 798"/>
                <a:gd name="T59" fmla="*/ 2147483647 h 447"/>
                <a:gd name="T60" fmla="*/ 2147483647 w 798"/>
                <a:gd name="T61" fmla="*/ 2147483647 h 447"/>
                <a:gd name="T62" fmla="*/ 2147483647 w 798"/>
                <a:gd name="T63" fmla="*/ 2147483647 h 447"/>
                <a:gd name="T64" fmla="*/ 2147483647 w 798"/>
                <a:gd name="T65" fmla="*/ 2147483647 h 447"/>
                <a:gd name="T66" fmla="*/ 2147483647 w 798"/>
                <a:gd name="T67" fmla="*/ 2147483647 h 447"/>
                <a:gd name="T68" fmla="*/ 2147483647 w 798"/>
                <a:gd name="T69" fmla="*/ 2147483647 h 447"/>
                <a:gd name="T70" fmla="*/ 2147483647 w 798"/>
                <a:gd name="T71" fmla="*/ 2147483647 h 447"/>
                <a:gd name="T72" fmla="*/ 2147483647 w 798"/>
                <a:gd name="T73" fmla="*/ 2147483647 h 447"/>
                <a:gd name="T74" fmla="*/ 2147483647 w 798"/>
                <a:gd name="T75" fmla="*/ 2147483647 h 447"/>
                <a:gd name="T76" fmla="*/ 2147483647 w 798"/>
                <a:gd name="T77" fmla="*/ 2147483647 h 447"/>
                <a:gd name="T78" fmla="*/ 2147483647 w 798"/>
                <a:gd name="T79" fmla="*/ 2147483647 h 447"/>
                <a:gd name="T80" fmla="*/ 2147483647 w 798"/>
                <a:gd name="T81" fmla="*/ 2147483647 h 447"/>
                <a:gd name="T82" fmla="*/ 2147483647 w 798"/>
                <a:gd name="T83" fmla="*/ 2147483647 h 447"/>
                <a:gd name="T84" fmla="*/ 2147483647 w 798"/>
                <a:gd name="T85" fmla="*/ 2147483647 h 447"/>
                <a:gd name="T86" fmla="*/ 2147483647 w 798"/>
                <a:gd name="T87" fmla="*/ 2147483647 h 447"/>
                <a:gd name="T88" fmla="*/ 2147483647 w 798"/>
                <a:gd name="T89" fmla="*/ 2147483647 h 447"/>
                <a:gd name="T90" fmla="*/ 2147483647 w 798"/>
                <a:gd name="T91" fmla="*/ 2147483647 h 447"/>
                <a:gd name="T92" fmla="*/ 2147483647 w 798"/>
                <a:gd name="T93" fmla="*/ 2147483647 h 447"/>
                <a:gd name="T94" fmla="*/ 2147483647 w 798"/>
                <a:gd name="T95" fmla="*/ 2147483647 h 447"/>
                <a:gd name="T96" fmla="*/ 2147483647 w 798"/>
                <a:gd name="T97" fmla="*/ 2147483647 h 447"/>
                <a:gd name="T98" fmla="*/ 2147483647 w 798"/>
                <a:gd name="T99" fmla="*/ 2147483647 h 447"/>
                <a:gd name="T100" fmla="*/ 2147483647 w 798"/>
                <a:gd name="T101" fmla="*/ 2147483647 h 447"/>
                <a:gd name="T102" fmla="*/ 2147483647 w 798"/>
                <a:gd name="T103" fmla="*/ 2147483647 h 447"/>
                <a:gd name="T104" fmla="*/ 2147483647 w 798"/>
                <a:gd name="T105" fmla="*/ 2147483647 h 447"/>
                <a:gd name="T106" fmla="*/ 2147483647 w 798"/>
                <a:gd name="T107" fmla="*/ 2147483647 h 447"/>
                <a:gd name="T108" fmla="*/ 2147483647 w 798"/>
                <a:gd name="T109" fmla="*/ 2147483647 h 447"/>
                <a:gd name="T110" fmla="*/ 2147483647 w 798"/>
                <a:gd name="T111" fmla="*/ 2147483647 h 447"/>
                <a:gd name="T112" fmla="*/ 2147483647 w 798"/>
                <a:gd name="T113" fmla="*/ 2147483647 h 447"/>
                <a:gd name="T114" fmla="*/ 2147483647 w 798"/>
                <a:gd name="T115" fmla="*/ 2147483647 h 447"/>
                <a:gd name="T116" fmla="*/ 2147483647 w 798"/>
                <a:gd name="T117" fmla="*/ 2147483647 h 447"/>
                <a:gd name="T118" fmla="*/ 2147483647 w 798"/>
                <a:gd name="T119" fmla="*/ 2147483647 h 447"/>
                <a:gd name="T120" fmla="*/ 2147483647 w 798"/>
                <a:gd name="T121" fmla="*/ 2147483647 h 44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8"/>
                <a:gd name="T184" fmla="*/ 0 h 447"/>
                <a:gd name="T185" fmla="*/ 798 w 798"/>
                <a:gd name="T186" fmla="*/ 447 h 44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39" name="Freeform 172">
              <a:extLst>
                <a:ext uri="{FF2B5EF4-FFF2-40B4-BE49-F238E27FC236}">
                  <a16:creationId xmlns:a16="http://schemas.microsoft.com/office/drawing/2014/main" id="{5885F4FB-25D3-3A4C-9CB2-FE1101BF088F}"/>
                </a:ext>
              </a:extLst>
            </p:cNvPr>
            <p:cNvSpPr>
              <a:spLocks noEditPoints="1"/>
            </p:cNvSpPr>
            <p:nvPr>
              <p:custDataLst>
                <p:tags r:id="rId132"/>
              </p:custDataLst>
            </p:nvPr>
          </p:nvSpPr>
          <p:spPr bwMode="auto">
            <a:xfrm>
              <a:off x="6683343" y="2555500"/>
              <a:ext cx="1036568" cy="435660"/>
            </a:xfrm>
            <a:custGeom>
              <a:avLst/>
              <a:gdLst>
                <a:gd name="T0" fmla="*/ 2147483647 w 1673"/>
                <a:gd name="T1" fmla="*/ 2147483647 h 778"/>
                <a:gd name="T2" fmla="*/ 2147483647 w 1673"/>
                <a:gd name="T3" fmla="*/ 2147483647 h 778"/>
                <a:gd name="T4" fmla="*/ 2147483647 w 1673"/>
                <a:gd name="T5" fmla="*/ 2147483647 h 778"/>
                <a:gd name="T6" fmla="*/ 2147483647 w 1673"/>
                <a:gd name="T7" fmla="*/ 2147483647 h 778"/>
                <a:gd name="T8" fmla="*/ 2147483647 w 1673"/>
                <a:gd name="T9" fmla="*/ 2147483647 h 778"/>
                <a:gd name="T10" fmla="*/ 2147483647 w 1673"/>
                <a:gd name="T11" fmla="*/ 2147483647 h 778"/>
                <a:gd name="T12" fmla="*/ 2147483647 w 1673"/>
                <a:gd name="T13" fmla="*/ 2147483647 h 778"/>
                <a:gd name="T14" fmla="*/ 2147483647 w 1673"/>
                <a:gd name="T15" fmla="*/ 2147483647 h 778"/>
                <a:gd name="T16" fmla="*/ 2147483647 w 1673"/>
                <a:gd name="T17" fmla="*/ 2147483647 h 778"/>
                <a:gd name="T18" fmla="*/ 2147483647 w 1673"/>
                <a:gd name="T19" fmla="*/ 2147483647 h 778"/>
                <a:gd name="T20" fmla="*/ 2147483647 w 1673"/>
                <a:gd name="T21" fmla="*/ 2147483647 h 778"/>
                <a:gd name="T22" fmla="*/ 2147483647 w 1673"/>
                <a:gd name="T23" fmla="*/ 2147483647 h 778"/>
                <a:gd name="T24" fmla="*/ 2147483647 w 1673"/>
                <a:gd name="T25" fmla="*/ 2147483647 h 778"/>
                <a:gd name="T26" fmla="*/ 2147483647 w 1673"/>
                <a:gd name="T27" fmla="*/ 2147483647 h 778"/>
                <a:gd name="T28" fmla="*/ 2147483647 w 1673"/>
                <a:gd name="T29" fmla="*/ 2147483647 h 778"/>
                <a:gd name="T30" fmla="*/ 2147483647 w 1673"/>
                <a:gd name="T31" fmla="*/ 2147483647 h 778"/>
                <a:gd name="T32" fmla="*/ 2147483647 w 1673"/>
                <a:gd name="T33" fmla="*/ 2147483647 h 778"/>
                <a:gd name="T34" fmla="*/ 2147483647 w 1673"/>
                <a:gd name="T35" fmla="*/ 2147483647 h 778"/>
                <a:gd name="T36" fmla="*/ 2147483647 w 1673"/>
                <a:gd name="T37" fmla="*/ 2147483647 h 778"/>
                <a:gd name="T38" fmla="*/ 2147483647 w 1673"/>
                <a:gd name="T39" fmla="*/ 2147483647 h 778"/>
                <a:gd name="T40" fmla="*/ 2147483647 w 1673"/>
                <a:gd name="T41" fmla="*/ 2147483647 h 778"/>
                <a:gd name="T42" fmla="*/ 2147483647 w 1673"/>
                <a:gd name="T43" fmla="*/ 2147483647 h 778"/>
                <a:gd name="T44" fmla="*/ 2147483647 w 1673"/>
                <a:gd name="T45" fmla="*/ 2147483647 h 778"/>
                <a:gd name="T46" fmla="*/ 2147483647 w 1673"/>
                <a:gd name="T47" fmla="*/ 2147483647 h 778"/>
                <a:gd name="T48" fmla="*/ 2147483647 w 1673"/>
                <a:gd name="T49" fmla="*/ 2147483647 h 778"/>
                <a:gd name="T50" fmla="*/ 2147483647 w 1673"/>
                <a:gd name="T51" fmla="*/ 2147483647 h 778"/>
                <a:gd name="T52" fmla="*/ 2147483647 w 1673"/>
                <a:gd name="T53" fmla="*/ 2147483647 h 778"/>
                <a:gd name="T54" fmla="*/ 2147483647 w 1673"/>
                <a:gd name="T55" fmla="*/ 2147483647 h 778"/>
                <a:gd name="T56" fmla="*/ 2147483647 w 1673"/>
                <a:gd name="T57" fmla="*/ 2147483647 h 778"/>
                <a:gd name="T58" fmla="*/ 2147483647 w 1673"/>
                <a:gd name="T59" fmla="*/ 2147483647 h 778"/>
                <a:gd name="T60" fmla="*/ 2147483647 w 1673"/>
                <a:gd name="T61" fmla="*/ 2147483647 h 778"/>
                <a:gd name="T62" fmla="*/ 2147483647 w 1673"/>
                <a:gd name="T63" fmla="*/ 2147483647 h 778"/>
                <a:gd name="T64" fmla="*/ 2147483647 w 1673"/>
                <a:gd name="T65" fmla="*/ 2147483647 h 778"/>
                <a:gd name="T66" fmla="*/ 2147483647 w 1673"/>
                <a:gd name="T67" fmla="*/ 2147483647 h 778"/>
                <a:gd name="T68" fmla="*/ 2147483647 w 1673"/>
                <a:gd name="T69" fmla="*/ 2147483647 h 778"/>
                <a:gd name="T70" fmla="*/ 2147483647 w 1673"/>
                <a:gd name="T71" fmla="*/ 2147483647 h 778"/>
                <a:gd name="T72" fmla="*/ 2147483647 w 1673"/>
                <a:gd name="T73" fmla="*/ 2147483647 h 778"/>
                <a:gd name="T74" fmla="*/ 2147483647 w 1673"/>
                <a:gd name="T75" fmla="*/ 2147483647 h 778"/>
                <a:gd name="T76" fmla="*/ 2147483647 w 1673"/>
                <a:gd name="T77" fmla="*/ 2147483647 h 778"/>
                <a:gd name="T78" fmla="*/ 2147483647 w 1673"/>
                <a:gd name="T79" fmla="*/ 2147483647 h 778"/>
                <a:gd name="T80" fmla="*/ 2147483647 w 1673"/>
                <a:gd name="T81" fmla="*/ 2147483647 h 778"/>
                <a:gd name="T82" fmla="*/ 2147483647 w 1673"/>
                <a:gd name="T83" fmla="*/ 2147483647 h 778"/>
                <a:gd name="T84" fmla="*/ 2147483647 w 1673"/>
                <a:gd name="T85" fmla="*/ 2147483647 h 778"/>
                <a:gd name="T86" fmla="*/ 2147483647 w 1673"/>
                <a:gd name="T87" fmla="*/ 2147483647 h 778"/>
                <a:gd name="T88" fmla="*/ 2147483647 w 1673"/>
                <a:gd name="T89" fmla="*/ 2147483647 h 778"/>
                <a:gd name="T90" fmla="*/ 2147483647 w 1673"/>
                <a:gd name="T91" fmla="*/ 2147483647 h 778"/>
                <a:gd name="T92" fmla="*/ 2147483647 w 1673"/>
                <a:gd name="T93" fmla="*/ 2147483647 h 778"/>
                <a:gd name="T94" fmla="*/ 2147483647 w 1673"/>
                <a:gd name="T95" fmla="*/ 2147483647 h 778"/>
                <a:gd name="T96" fmla="*/ 2147483647 w 1673"/>
                <a:gd name="T97" fmla="*/ 2147483647 h 778"/>
                <a:gd name="T98" fmla="*/ 2147483647 w 1673"/>
                <a:gd name="T99" fmla="*/ 2147483647 h 778"/>
                <a:gd name="T100" fmla="*/ 2147483647 w 1673"/>
                <a:gd name="T101" fmla="*/ 2147483647 h 778"/>
                <a:gd name="T102" fmla="*/ 2147483647 w 1673"/>
                <a:gd name="T103" fmla="*/ 2147483647 h 778"/>
                <a:gd name="T104" fmla="*/ 2147483647 w 1673"/>
                <a:gd name="T105" fmla="*/ 2147483647 h 778"/>
                <a:gd name="T106" fmla="*/ 2147483647 w 1673"/>
                <a:gd name="T107" fmla="*/ 2147483647 h 778"/>
                <a:gd name="T108" fmla="*/ 2147483647 w 1673"/>
                <a:gd name="T109" fmla="*/ 2147483647 h 778"/>
                <a:gd name="T110" fmla="*/ 2147483647 w 1673"/>
                <a:gd name="T111" fmla="*/ 2147483647 h 778"/>
                <a:gd name="T112" fmla="*/ 2147483647 w 1673"/>
                <a:gd name="T113" fmla="*/ 2147483647 h 778"/>
                <a:gd name="T114" fmla="*/ 2147483647 w 1673"/>
                <a:gd name="T115" fmla="*/ 2147483647 h 778"/>
                <a:gd name="T116" fmla="*/ 2147483647 w 1673"/>
                <a:gd name="T117" fmla="*/ 2147483647 h 778"/>
                <a:gd name="T118" fmla="*/ 2147483647 w 1673"/>
                <a:gd name="T119" fmla="*/ 2147483647 h 778"/>
                <a:gd name="T120" fmla="*/ 2147483647 w 1673"/>
                <a:gd name="T121" fmla="*/ 2147483647 h 778"/>
                <a:gd name="T122" fmla="*/ 2147483647 w 1673"/>
                <a:gd name="T123" fmla="*/ 2147483647 h 778"/>
                <a:gd name="T124" fmla="*/ 2147483647 w 1673"/>
                <a:gd name="T125" fmla="*/ 2147483647 h 7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73"/>
                <a:gd name="T190" fmla="*/ 0 h 778"/>
                <a:gd name="T191" fmla="*/ 1673 w 1673"/>
                <a:gd name="T192" fmla="*/ 778 h 7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40" name="Freeform 173">
              <a:extLst>
                <a:ext uri="{FF2B5EF4-FFF2-40B4-BE49-F238E27FC236}">
                  <a16:creationId xmlns:a16="http://schemas.microsoft.com/office/drawing/2014/main" id="{C1B6BE25-3135-6E4D-9C4F-DAC43AC91C43}"/>
                </a:ext>
              </a:extLst>
            </p:cNvPr>
            <p:cNvSpPr>
              <a:spLocks/>
            </p:cNvSpPr>
            <p:nvPr>
              <p:custDataLst>
                <p:tags r:id="rId133"/>
              </p:custDataLst>
            </p:nvPr>
          </p:nvSpPr>
          <p:spPr bwMode="auto">
            <a:xfrm>
              <a:off x="6322798" y="4525146"/>
              <a:ext cx="313807" cy="500758"/>
            </a:xfrm>
            <a:custGeom>
              <a:avLst/>
              <a:gdLst>
                <a:gd name="T0" fmla="*/ 2147483647 w 508"/>
                <a:gd name="T1" fmla="*/ 2147483647 h 891"/>
                <a:gd name="T2" fmla="*/ 2147483647 w 508"/>
                <a:gd name="T3" fmla="*/ 2147483647 h 891"/>
                <a:gd name="T4" fmla="*/ 2147483647 w 508"/>
                <a:gd name="T5" fmla="*/ 2147483647 h 891"/>
                <a:gd name="T6" fmla="*/ 2147483647 w 508"/>
                <a:gd name="T7" fmla="*/ 2147483647 h 891"/>
                <a:gd name="T8" fmla="*/ 2147483647 w 508"/>
                <a:gd name="T9" fmla="*/ 2147483647 h 891"/>
                <a:gd name="T10" fmla="*/ 2147483647 w 508"/>
                <a:gd name="T11" fmla="*/ 0 h 891"/>
                <a:gd name="T12" fmla="*/ 2147483647 w 508"/>
                <a:gd name="T13" fmla="*/ 2147483647 h 891"/>
                <a:gd name="T14" fmla="*/ 2147483647 w 508"/>
                <a:gd name="T15" fmla="*/ 2147483647 h 891"/>
                <a:gd name="T16" fmla="*/ 2147483647 w 508"/>
                <a:gd name="T17" fmla="*/ 2147483647 h 891"/>
                <a:gd name="T18" fmla="*/ 2147483647 w 508"/>
                <a:gd name="T19" fmla="*/ 2147483647 h 891"/>
                <a:gd name="T20" fmla="*/ 2147483647 w 508"/>
                <a:gd name="T21" fmla="*/ 2147483647 h 891"/>
                <a:gd name="T22" fmla="*/ 2147483647 w 508"/>
                <a:gd name="T23" fmla="*/ 2147483647 h 891"/>
                <a:gd name="T24" fmla="*/ 2147483647 w 508"/>
                <a:gd name="T25" fmla="*/ 2147483647 h 891"/>
                <a:gd name="T26" fmla="*/ 2147483647 w 508"/>
                <a:gd name="T27" fmla="*/ 2147483647 h 891"/>
                <a:gd name="T28" fmla="*/ 2147483647 w 508"/>
                <a:gd name="T29" fmla="*/ 2147483647 h 891"/>
                <a:gd name="T30" fmla="*/ 2147483647 w 508"/>
                <a:gd name="T31" fmla="*/ 2147483647 h 891"/>
                <a:gd name="T32" fmla="*/ 2147483647 w 508"/>
                <a:gd name="T33" fmla="*/ 2147483647 h 891"/>
                <a:gd name="T34" fmla="*/ 2147483647 w 508"/>
                <a:gd name="T35" fmla="*/ 2147483647 h 891"/>
                <a:gd name="T36" fmla="*/ 2147483647 w 508"/>
                <a:gd name="T37" fmla="*/ 2147483647 h 891"/>
                <a:gd name="T38" fmla="*/ 2147483647 w 508"/>
                <a:gd name="T39" fmla="*/ 2147483647 h 891"/>
                <a:gd name="T40" fmla="*/ 2147483647 w 508"/>
                <a:gd name="T41" fmla="*/ 2147483647 h 891"/>
                <a:gd name="T42" fmla="*/ 2147483647 w 508"/>
                <a:gd name="T43" fmla="*/ 2147483647 h 891"/>
                <a:gd name="T44" fmla="*/ 2147483647 w 508"/>
                <a:gd name="T45" fmla="*/ 2147483647 h 891"/>
                <a:gd name="T46" fmla="*/ 2147483647 w 508"/>
                <a:gd name="T47" fmla="*/ 2147483647 h 891"/>
                <a:gd name="T48" fmla="*/ 2147483647 w 508"/>
                <a:gd name="T49" fmla="*/ 2147483647 h 891"/>
                <a:gd name="T50" fmla="*/ 2147483647 w 508"/>
                <a:gd name="T51" fmla="*/ 2147483647 h 891"/>
                <a:gd name="T52" fmla="*/ 2147483647 w 508"/>
                <a:gd name="T53" fmla="*/ 2147483647 h 891"/>
                <a:gd name="T54" fmla="*/ 2147483647 w 508"/>
                <a:gd name="T55" fmla="*/ 2147483647 h 891"/>
                <a:gd name="T56" fmla="*/ 2147483647 w 508"/>
                <a:gd name="T57" fmla="*/ 2147483647 h 891"/>
                <a:gd name="T58" fmla="*/ 2147483647 w 508"/>
                <a:gd name="T59" fmla="*/ 2147483647 h 891"/>
                <a:gd name="T60" fmla="*/ 2147483647 w 508"/>
                <a:gd name="T61" fmla="*/ 2147483647 h 891"/>
                <a:gd name="T62" fmla="*/ 2147483647 w 508"/>
                <a:gd name="T63" fmla="*/ 2147483647 h 891"/>
                <a:gd name="T64" fmla="*/ 2147483647 w 508"/>
                <a:gd name="T65" fmla="*/ 2147483647 h 891"/>
                <a:gd name="T66" fmla="*/ 2147483647 w 508"/>
                <a:gd name="T67" fmla="*/ 2147483647 h 891"/>
                <a:gd name="T68" fmla="*/ 2147483647 w 508"/>
                <a:gd name="T69" fmla="*/ 2147483647 h 891"/>
                <a:gd name="T70" fmla="*/ 2147483647 w 508"/>
                <a:gd name="T71" fmla="*/ 2147483647 h 891"/>
                <a:gd name="T72" fmla="*/ 2147483647 w 508"/>
                <a:gd name="T73" fmla="*/ 2147483647 h 891"/>
                <a:gd name="T74" fmla="*/ 2147483647 w 508"/>
                <a:gd name="T75" fmla="*/ 2147483647 h 891"/>
                <a:gd name="T76" fmla="*/ 2147483647 w 508"/>
                <a:gd name="T77" fmla="*/ 2147483647 h 891"/>
                <a:gd name="T78" fmla="*/ 2147483647 w 508"/>
                <a:gd name="T79" fmla="*/ 2147483647 h 891"/>
                <a:gd name="T80" fmla="*/ 2147483647 w 508"/>
                <a:gd name="T81" fmla="*/ 2147483647 h 891"/>
                <a:gd name="T82" fmla="*/ 2147483647 w 508"/>
                <a:gd name="T83" fmla="*/ 2147483647 h 891"/>
                <a:gd name="T84" fmla="*/ 2147483647 w 508"/>
                <a:gd name="T85" fmla="*/ 2147483647 h 891"/>
                <a:gd name="T86" fmla="*/ 2147483647 w 508"/>
                <a:gd name="T87" fmla="*/ 2147483647 h 891"/>
                <a:gd name="T88" fmla="*/ 2147483647 w 508"/>
                <a:gd name="T89" fmla="*/ 2147483647 h 891"/>
                <a:gd name="T90" fmla="*/ 2147483647 w 508"/>
                <a:gd name="T91" fmla="*/ 2147483647 h 891"/>
                <a:gd name="T92" fmla="*/ 2147483647 w 508"/>
                <a:gd name="T93" fmla="*/ 2147483647 h 891"/>
                <a:gd name="T94" fmla="*/ 2147483647 w 508"/>
                <a:gd name="T95" fmla="*/ 2147483647 h 891"/>
                <a:gd name="T96" fmla="*/ 2147483647 w 508"/>
                <a:gd name="T97" fmla="*/ 2147483647 h 891"/>
                <a:gd name="T98" fmla="*/ 2147483647 w 508"/>
                <a:gd name="T99" fmla="*/ 2147483647 h 891"/>
                <a:gd name="T100" fmla="*/ 2147483647 w 508"/>
                <a:gd name="T101" fmla="*/ 2147483647 h 891"/>
                <a:gd name="T102" fmla="*/ 2147483647 w 508"/>
                <a:gd name="T103" fmla="*/ 2147483647 h 891"/>
                <a:gd name="T104" fmla="*/ 2147483647 w 508"/>
                <a:gd name="T105" fmla="*/ 2147483647 h 891"/>
                <a:gd name="T106" fmla="*/ 2147483647 w 508"/>
                <a:gd name="T107" fmla="*/ 2147483647 h 891"/>
                <a:gd name="T108" fmla="*/ 2147483647 w 508"/>
                <a:gd name="T109" fmla="*/ 2147483647 h 891"/>
                <a:gd name="T110" fmla="*/ 2147483647 w 508"/>
                <a:gd name="T111" fmla="*/ 2147483647 h 891"/>
                <a:gd name="T112" fmla="*/ 2147483647 w 508"/>
                <a:gd name="T113" fmla="*/ 2147483647 h 891"/>
                <a:gd name="T114" fmla="*/ 2147483647 w 508"/>
                <a:gd name="T115" fmla="*/ 2147483647 h 891"/>
                <a:gd name="T116" fmla="*/ 2147483647 w 508"/>
                <a:gd name="T117" fmla="*/ 2147483647 h 891"/>
                <a:gd name="T118" fmla="*/ 2147483647 w 508"/>
                <a:gd name="T119" fmla="*/ 2147483647 h 891"/>
                <a:gd name="T120" fmla="*/ 2147483647 w 508"/>
                <a:gd name="T121" fmla="*/ 2147483647 h 8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08"/>
                <a:gd name="T184" fmla="*/ 0 h 891"/>
                <a:gd name="T185" fmla="*/ 508 w 508"/>
                <a:gd name="T186" fmla="*/ 891 h 8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41" name="Freeform 174">
              <a:extLst>
                <a:ext uri="{FF2B5EF4-FFF2-40B4-BE49-F238E27FC236}">
                  <a16:creationId xmlns:a16="http://schemas.microsoft.com/office/drawing/2014/main" id="{07E3B0B0-0A47-394F-9535-0CF2D0E6DE68}"/>
                </a:ext>
              </a:extLst>
            </p:cNvPr>
            <p:cNvSpPr>
              <a:spLocks/>
            </p:cNvSpPr>
            <p:nvPr>
              <p:custDataLst>
                <p:tags r:id="rId134"/>
              </p:custDataLst>
            </p:nvPr>
          </p:nvSpPr>
          <p:spPr bwMode="auto">
            <a:xfrm>
              <a:off x="6399581" y="4495101"/>
              <a:ext cx="101822" cy="232018"/>
            </a:xfrm>
            <a:custGeom>
              <a:avLst/>
              <a:gdLst>
                <a:gd name="T0" fmla="*/ 2147483647 w 162"/>
                <a:gd name="T1" fmla="*/ 2147483647 h 416"/>
                <a:gd name="T2" fmla="*/ 2147483647 w 162"/>
                <a:gd name="T3" fmla="*/ 2147483647 h 416"/>
                <a:gd name="T4" fmla="*/ 2147483647 w 162"/>
                <a:gd name="T5" fmla="*/ 2147483647 h 416"/>
                <a:gd name="T6" fmla="*/ 2147483647 w 162"/>
                <a:gd name="T7" fmla="*/ 2147483647 h 416"/>
                <a:gd name="T8" fmla="*/ 2147483647 w 162"/>
                <a:gd name="T9" fmla="*/ 2147483647 h 416"/>
                <a:gd name="T10" fmla="*/ 2147483647 w 162"/>
                <a:gd name="T11" fmla="*/ 2147483647 h 416"/>
                <a:gd name="T12" fmla="*/ 2147483647 w 162"/>
                <a:gd name="T13" fmla="*/ 2147483647 h 416"/>
                <a:gd name="T14" fmla="*/ 2147483647 w 162"/>
                <a:gd name="T15" fmla="*/ 2147483647 h 416"/>
                <a:gd name="T16" fmla="*/ 2147483647 w 162"/>
                <a:gd name="T17" fmla="*/ 2147483647 h 416"/>
                <a:gd name="T18" fmla="*/ 2147483647 w 162"/>
                <a:gd name="T19" fmla="*/ 2147483647 h 416"/>
                <a:gd name="T20" fmla="*/ 2147483647 w 162"/>
                <a:gd name="T21" fmla="*/ 2147483647 h 416"/>
                <a:gd name="T22" fmla="*/ 2147483647 w 162"/>
                <a:gd name="T23" fmla="*/ 2147483647 h 416"/>
                <a:gd name="T24" fmla="*/ 2147483647 w 162"/>
                <a:gd name="T25" fmla="*/ 2147483647 h 416"/>
                <a:gd name="T26" fmla="*/ 2147483647 w 162"/>
                <a:gd name="T27" fmla="*/ 2147483647 h 416"/>
                <a:gd name="T28" fmla="*/ 2147483647 w 162"/>
                <a:gd name="T29" fmla="*/ 2147483647 h 416"/>
                <a:gd name="T30" fmla="*/ 2147483647 w 162"/>
                <a:gd name="T31" fmla="*/ 2147483647 h 416"/>
                <a:gd name="T32" fmla="*/ 2147483647 w 162"/>
                <a:gd name="T33" fmla="*/ 2147483647 h 416"/>
                <a:gd name="T34" fmla="*/ 2147483647 w 162"/>
                <a:gd name="T35" fmla="*/ 2147483647 h 416"/>
                <a:gd name="T36" fmla="*/ 2147483647 w 162"/>
                <a:gd name="T37" fmla="*/ 2147483647 h 416"/>
                <a:gd name="T38" fmla="*/ 2147483647 w 162"/>
                <a:gd name="T39" fmla="*/ 2147483647 h 416"/>
                <a:gd name="T40" fmla="*/ 2147483647 w 162"/>
                <a:gd name="T41" fmla="*/ 2147483647 h 416"/>
                <a:gd name="T42" fmla="*/ 2147483647 w 162"/>
                <a:gd name="T43" fmla="*/ 0 h 416"/>
                <a:gd name="T44" fmla="*/ 2147483647 w 162"/>
                <a:gd name="T45" fmla="*/ 2147483647 h 416"/>
                <a:gd name="T46" fmla="*/ 2147483647 w 162"/>
                <a:gd name="T47" fmla="*/ 2147483647 h 416"/>
                <a:gd name="T48" fmla="*/ 2147483647 w 162"/>
                <a:gd name="T49" fmla="*/ 2147483647 h 416"/>
                <a:gd name="T50" fmla="*/ 2147483647 w 162"/>
                <a:gd name="T51" fmla="*/ 2147483647 h 416"/>
                <a:gd name="T52" fmla="*/ 2147483647 w 162"/>
                <a:gd name="T53" fmla="*/ 2147483647 h 416"/>
                <a:gd name="T54" fmla="*/ 2147483647 w 162"/>
                <a:gd name="T55" fmla="*/ 2147483647 h 416"/>
                <a:gd name="T56" fmla="*/ 2147483647 w 162"/>
                <a:gd name="T57" fmla="*/ 2147483647 h 416"/>
                <a:gd name="T58" fmla="*/ 2147483647 w 162"/>
                <a:gd name="T59" fmla="*/ 2147483647 h 416"/>
                <a:gd name="T60" fmla="*/ 2147483647 w 162"/>
                <a:gd name="T61" fmla="*/ 2147483647 h 416"/>
                <a:gd name="T62" fmla="*/ 2147483647 w 162"/>
                <a:gd name="T63" fmla="*/ 2147483647 h 416"/>
                <a:gd name="T64" fmla="*/ 2147483647 w 162"/>
                <a:gd name="T65" fmla="*/ 2147483647 h 416"/>
                <a:gd name="T66" fmla="*/ 2147483647 w 162"/>
                <a:gd name="T67" fmla="*/ 2147483647 h 416"/>
                <a:gd name="T68" fmla="*/ 2147483647 w 162"/>
                <a:gd name="T69" fmla="*/ 2147483647 h 416"/>
                <a:gd name="T70" fmla="*/ 2147483647 w 162"/>
                <a:gd name="T71" fmla="*/ 2147483647 h 416"/>
                <a:gd name="T72" fmla="*/ 2147483647 w 162"/>
                <a:gd name="T73" fmla="*/ 2147483647 h 416"/>
                <a:gd name="T74" fmla="*/ 2147483647 w 162"/>
                <a:gd name="T75" fmla="*/ 2147483647 h 416"/>
                <a:gd name="T76" fmla="*/ 2147483647 w 162"/>
                <a:gd name="T77" fmla="*/ 2147483647 h 416"/>
                <a:gd name="T78" fmla="*/ 2147483647 w 162"/>
                <a:gd name="T79" fmla="*/ 2147483647 h 416"/>
                <a:gd name="T80" fmla="*/ 2147483647 w 162"/>
                <a:gd name="T81" fmla="*/ 2147483647 h 416"/>
                <a:gd name="T82" fmla="*/ 2147483647 w 162"/>
                <a:gd name="T83" fmla="*/ 2147483647 h 416"/>
                <a:gd name="T84" fmla="*/ 2147483647 w 162"/>
                <a:gd name="T85" fmla="*/ 2147483647 h 416"/>
                <a:gd name="T86" fmla="*/ 2147483647 w 162"/>
                <a:gd name="T87" fmla="*/ 2147483647 h 416"/>
                <a:gd name="T88" fmla="*/ 2147483647 w 162"/>
                <a:gd name="T89" fmla="*/ 2147483647 h 416"/>
                <a:gd name="T90" fmla="*/ 2147483647 w 162"/>
                <a:gd name="T91" fmla="*/ 2147483647 h 416"/>
                <a:gd name="T92" fmla="*/ 2147483647 w 162"/>
                <a:gd name="T93" fmla="*/ 2147483647 h 416"/>
                <a:gd name="T94" fmla="*/ 2147483647 w 162"/>
                <a:gd name="T95" fmla="*/ 2147483647 h 416"/>
                <a:gd name="T96" fmla="*/ 2147483647 w 162"/>
                <a:gd name="T97" fmla="*/ 2147483647 h 416"/>
                <a:gd name="T98" fmla="*/ 2147483647 w 162"/>
                <a:gd name="T99" fmla="*/ 2147483647 h 416"/>
                <a:gd name="T100" fmla="*/ 2147483647 w 162"/>
                <a:gd name="T101" fmla="*/ 2147483647 h 416"/>
                <a:gd name="T102" fmla="*/ 2147483647 w 162"/>
                <a:gd name="T103" fmla="*/ 2147483647 h 416"/>
                <a:gd name="T104" fmla="*/ 2147483647 w 162"/>
                <a:gd name="T105" fmla="*/ 2147483647 h 416"/>
                <a:gd name="T106" fmla="*/ 2147483647 w 162"/>
                <a:gd name="T107" fmla="*/ 2147483647 h 416"/>
                <a:gd name="T108" fmla="*/ 2147483647 w 162"/>
                <a:gd name="T109" fmla="*/ 2147483647 h 416"/>
                <a:gd name="T110" fmla="*/ 2147483647 w 162"/>
                <a:gd name="T111" fmla="*/ 2147483647 h 416"/>
                <a:gd name="T112" fmla="*/ 2147483647 w 162"/>
                <a:gd name="T113" fmla="*/ 2147483647 h 4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2"/>
                <a:gd name="T172" fmla="*/ 0 h 416"/>
                <a:gd name="T173" fmla="*/ 162 w 162"/>
                <a:gd name="T174" fmla="*/ 416 h 4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42" name="Freeform 175">
              <a:extLst>
                <a:ext uri="{FF2B5EF4-FFF2-40B4-BE49-F238E27FC236}">
                  <a16:creationId xmlns:a16="http://schemas.microsoft.com/office/drawing/2014/main" id="{27D6BF36-EA40-8047-8791-6476FD5AF085}"/>
                </a:ext>
              </a:extLst>
            </p:cNvPr>
            <p:cNvSpPr>
              <a:spLocks/>
            </p:cNvSpPr>
            <p:nvPr>
              <p:custDataLst>
                <p:tags r:id="rId135"/>
              </p:custDataLst>
            </p:nvPr>
          </p:nvSpPr>
          <p:spPr bwMode="auto">
            <a:xfrm>
              <a:off x="6087443" y="4458378"/>
              <a:ext cx="347192" cy="298785"/>
            </a:xfrm>
            <a:custGeom>
              <a:avLst/>
              <a:gdLst>
                <a:gd name="T0" fmla="*/ 2147483647 w 563"/>
                <a:gd name="T1" fmla="*/ 2147483647 h 536"/>
                <a:gd name="T2" fmla="*/ 2147483647 w 563"/>
                <a:gd name="T3" fmla="*/ 2147483647 h 536"/>
                <a:gd name="T4" fmla="*/ 2147483647 w 563"/>
                <a:gd name="T5" fmla="*/ 2147483647 h 536"/>
                <a:gd name="T6" fmla="*/ 2147483647 w 563"/>
                <a:gd name="T7" fmla="*/ 2147483647 h 536"/>
                <a:gd name="T8" fmla="*/ 2147483647 w 563"/>
                <a:gd name="T9" fmla="*/ 2147483647 h 536"/>
                <a:gd name="T10" fmla="*/ 2147483647 w 563"/>
                <a:gd name="T11" fmla="*/ 2147483647 h 536"/>
                <a:gd name="T12" fmla="*/ 2147483647 w 563"/>
                <a:gd name="T13" fmla="*/ 2147483647 h 536"/>
                <a:gd name="T14" fmla="*/ 2147483647 w 563"/>
                <a:gd name="T15" fmla="*/ 2147483647 h 536"/>
                <a:gd name="T16" fmla="*/ 2147483647 w 563"/>
                <a:gd name="T17" fmla="*/ 0 h 536"/>
                <a:gd name="T18" fmla="*/ 2147483647 w 563"/>
                <a:gd name="T19" fmla="*/ 2147483647 h 536"/>
                <a:gd name="T20" fmla="*/ 2147483647 w 563"/>
                <a:gd name="T21" fmla="*/ 2147483647 h 536"/>
                <a:gd name="T22" fmla="*/ 2147483647 w 563"/>
                <a:gd name="T23" fmla="*/ 2147483647 h 536"/>
                <a:gd name="T24" fmla="*/ 2147483647 w 563"/>
                <a:gd name="T25" fmla="*/ 2147483647 h 536"/>
                <a:gd name="T26" fmla="*/ 2147483647 w 563"/>
                <a:gd name="T27" fmla="*/ 2147483647 h 536"/>
                <a:gd name="T28" fmla="*/ 2147483647 w 563"/>
                <a:gd name="T29" fmla="*/ 2147483647 h 536"/>
                <a:gd name="T30" fmla="*/ 2147483647 w 563"/>
                <a:gd name="T31" fmla="*/ 2147483647 h 536"/>
                <a:gd name="T32" fmla="*/ 2147483647 w 563"/>
                <a:gd name="T33" fmla="*/ 2147483647 h 536"/>
                <a:gd name="T34" fmla="*/ 2147483647 w 563"/>
                <a:gd name="T35" fmla="*/ 2147483647 h 536"/>
                <a:gd name="T36" fmla="*/ 2147483647 w 563"/>
                <a:gd name="T37" fmla="*/ 2147483647 h 536"/>
                <a:gd name="T38" fmla="*/ 2147483647 w 563"/>
                <a:gd name="T39" fmla="*/ 2147483647 h 536"/>
                <a:gd name="T40" fmla="*/ 2147483647 w 563"/>
                <a:gd name="T41" fmla="*/ 2147483647 h 536"/>
                <a:gd name="T42" fmla="*/ 2147483647 w 563"/>
                <a:gd name="T43" fmla="*/ 2147483647 h 536"/>
                <a:gd name="T44" fmla="*/ 2147483647 w 563"/>
                <a:gd name="T45" fmla="*/ 2147483647 h 536"/>
                <a:gd name="T46" fmla="*/ 2147483647 w 563"/>
                <a:gd name="T47" fmla="*/ 2147483647 h 536"/>
                <a:gd name="T48" fmla="*/ 2147483647 w 563"/>
                <a:gd name="T49" fmla="*/ 2147483647 h 536"/>
                <a:gd name="T50" fmla="*/ 2147483647 w 563"/>
                <a:gd name="T51" fmla="*/ 2147483647 h 536"/>
                <a:gd name="T52" fmla="*/ 2147483647 w 563"/>
                <a:gd name="T53" fmla="*/ 2147483647 h 536"/>
                <a:gd name="T54" fmla="*/ 2147483647 w 563"/>
                <a:gd name="T55" fmla="*/ 2147483647 h 536"/>
                <a:gd name="T56" fmla="*/ 2147483647 w 563"/>
                <a:gd name="T57" fmla="*/ 2147483647 h 536"/>
                <a:gd name="T58" fmla="*/ 2147483647 w 563"/>
                <a:gd name="T59" fmla="*/ 2147483647 h 536"/>
                <a:gd name="T60" fmla="*/ 0 w 563"/>
                <a:gd name="T61" fmla="*/ 2147483647 h 536"/>
                <a:gd name="T62" fmla="*/ 2147483647 w 563"/>
                <a:gd name="T63" fmla="*/ 2147483647 h 536"/>
                <a:gd name="T64" fmla="*/ 2147483647 w 563"/>
                <a:gd name="T65" fmla="*/ 2147483647 h 536"/>
                <a:gd name="T66" fmla="*/ 2147483647 w 563"/>
                <a:gd name="T67" fmla="*/ 2147483647 h 536"/>
                <a:gd name="T68" fmla="*/ 2147483647 w 563"/>
                <a:gd name="T69" fmla="*/ 2147483647 h 536"/>
                <a:gd name="T70" fmla="*/ 2147483647 w 563"/>
                <a:gd name="T71" fmla="*/ 2147483647 h 536"/>
                <a:gd name="T72" fmla="*/ 2147483647 w 563"/>
                <a:gd name="T73" fmla="*/ 2147483647 h 536"/>
                <a:gd name="T74" fmla="*/ 2147483647 w 563"/>
                <a:gd name="T75" fmla="*/ 2147483647 h 536"/>
                <a:gd name="T76" fmla="*/ 2147483647 w 563"/>
                <a:gd name="T77" fmla="*/ 2147483647 h 536"/>
                <a:gd name="T78" fmla="*/ 2147483647 w 563"/>
                <a:gd name="T79" fmla="*/ 2147483647 h 536"/>
                <a:gd name="T80" fmla="*/ 2147483647 w 563"/>
                <a:gd name="T81" fmla="*/ 2147483647 h 536"/>
                <a:gd name="T82" fmla="*/ 2147483647 w 563"/>
                <a:gd name="T83" fmla="*/ 2147483647 h 536"/>
                <a:gd name="T84" fmla="*/ 2147483647 w 563"/>
                <a:gd name="T85" fmla="*/ 2147483647 h 536"/>
                <a:gd name="T86" fmla="*/ 2147483647 w 563"/>
                <a:gd name="T87" fmla="*/ 2147483647 h 536"/>
                <a:gd name="T88" fmla="*/ 2147483647 w 563"/>
                <a:gd name="T89" fmla="*/ 2147483647 h 536"/>
                <a:gd name="T90" fmla="*/ 2147483647 w 563"/>
                <a:gd name="T91" fmla="*/ 2147483647 h 536"/>
                <a:gd name="T92" fmla="*/ 2147483647 w 563"/>
                <a:gd name="T93" fmla="*/ 2147483647 h 536"/>
                <a:gd name="T94" fmla="*/ 2147483647 w 563"/>
                <a:gd name="T95" fmla="*/ 2147483647 h 536"/>
                <a:gd name="T96" fmla="*/ 2147483647 w 563"/>
                <a:gd name="T97" fmla="*/ 2147483647 h 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63"/>
                <a:gd name="T148" fmla="*/ 0 h 536"/>
                <a:gd name="T149" fmla="*/ 563 w 563"/>
                <a:gd name="T150" fmla="*/ 536 h 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43" name="Freeform 176">
              <a:extLst>
                <a:ext uri="{FF2B5EF4-FFF2-40B4-BE49-F238E27FC236}">
                  <a16:creationId xmlns:a16="http://schemas.microsoft.com/office/drawing/2014/main" id="{93F68C35-4CFF-3E42-B502-2A7D54CA32E5}"/>
                </a:ext>
              </a:extLst>
            </p:cNvPr>
            <p:cNvSpPr>
              <a:spLocks/>
            </p:cNvSpPr>
            <p:nvPr>
              <p:custDataLst>
                <p:tags r:id="rId136"/>
              </p:custDataLst>
            </p:nvPr>
          </p:nvSpPr>
          <p:spPr bwMode="auto">
            <a:xfrm>
              <a:off x="5805349" y="4047758"/>
              <a:ext cx="557510" cy="567525"/>
            </a:xfrm>
            <a:custGeom>
              <a:avLst/>
              <a:gdLst>
                <a:gd name="T0" fmla="*/ 2147483647 w 902"/>
                <a:gd name="T1" fmla="*/ 2147483647 h 1016"/>
                <a:gd name="T2" fmla="*/ 2147483647 w 902"/>
                <a:gd name="T3" fmla="*/ 2147483647 h 1016"/>
                <a:gd name="T4" fmla="*/ 2147483647 w 902"/>
                <a:gd name="T5" fmla="*/ 2147483647 h 1016"/>
                <a:gd name="T6" fmla="*/ 2147483647 w 902"/>
                <a:gd name="T7" fmla="*/ 2147483647 h 1016"/>
                <a:gd name="T8" fmla="*/ 2147483647 w 902"/>
                <a:gd name="T9" fmla="*/ 2147483647 h 1016"/>
                <a:gd name="T10" fmla="*/ 2147483647 w 902"/>
                <a:gd name="T11" fmla="*/ 2147483647 h 1016"/>
                <a:gd name="T12" fmla="*/ 2147483647 w 902"/>
                <a:gd name="T13" fmla="*/ 2147483647 h 1016"/>
                <a:gd name="T14" fmla="*/ 2147483647 w 902"/>
                <a:gd name="T15" fmla="*/ 2147483647 h 1016"/>
                <a:gd name="T16" fmla="*/ 2147483647 w 902"/>
                <a:gd name="T17" fmla="*/ 2147483647 h 1016"/>
                <a:gd name="T18" fmla="*/ 2147483647 w 902"/>
                <a:gd name="T19" fmla="*/ 2147483647 h 1016"/>
                <a:gd name="T20" fmla="*/ 2147483647 w 902"/>
                <a:gd name="T21" fmla="*/ 2147483647 h 1016"/>
                <a:gd name="T22" fmla="*/ 2147483647 w 902"/>
                <a:gd name="T23" fmla="*/ 2147483647 h 1016"/>
                <a:gd name="T24" fmla="*/ 2147483647 w 902"/>
                <a:gd name="T25" fmla="*/ 2147483647 h 1016"/>
                <a:gd name="T26" fmla="*/ 2147483647 w 902"/>
                <a:gd name="T27" fmla="*/ 2147483647 h 1016"/>
                <a:gd name="T28" fmla="*/ 2147483647 w 902"/>
                <a:gd name="T29" fmla="*/ 2147483647 h 1016"/>
                <a:gd name="T30" fmla="*/ 2147483647 w 902"/>
                <a:gd name="T31" fmla="*/ 2147483647 h 1016"/>
                <a:gd name="T32" fmla="*/ 2147483647 w 902"/>
                <a:gd name="T33" fmla="*/ 2147483647 h 1016"/>
                <a:gd name="T34" fmla="*/ 2147483647 w 902"/>
                <a:gd name="T35" fmla="*/ 2147483647 h 1016"/>
                <a:gd name="T36" fmla="*/ 2147483647 w 902"/>
                <a:gd name="T37" fmla="*/ 2147483647 h 1016"/>
                <a:gd name="T38" fmla="*/ 2147483647 w 902"/>
                <a:gd name="T39" fmla="*/ 2147483647 h 1016"/>
                <a:gd name="T40" fmla="*/ 2147483647 w 902"/>
                <a:gd name="T41" fmla="*/ 2147483647 h 1016"/>
                <a:gd name="T42" fmla="*/ 2147483647 w 902"/>
                <a:gd name="T43" fmla="*/ 2147483647 h 1016"/>
                <a:gd name="T44" fmla="*/ 2147483647 w 902"/>
                <a:gd name="T45" fmla="*/ 2147483647 h 1016"/>
                <a:gd name="T46" fmla="*/ 2147483647 w 902"/>
                <a:gd name="T47" fmla="*/ 2147483647 h 1016"/>
                <a:gd name="T48" fmla="*/ 2147483647 w 902"/>
                <a:gd name="T49" fmla="*/ 2147483647 h 1016"/>
                <a:gd name="T50" fmla="*/ 2147483647 w 902"/>
                <a:gd name="T51" fmla="*/ 2147483647 h 1016"/>
                <a:gd name="T52" fmla="*/ 2147483647 w 902"/>
                <a:gd name="T53" fmla="*/ 2147483647 h 1016"/>
                <a:gd name="T54" fmla="*/ 2147483647 w 902"/>
                <a:gd name="T55" fmla="*/ 2147483647 h 1016"/>
                <a:gd name="T56" fmla="*/ 2147483647 w 902"/>
                <a:gd name="T57" fmla="*/ 2147483647 h 1016"/>
                <a:gd name="T58" fmla="*/ 2147483647 w 902"/>
                <a:gd name="T59" fmla="*/ 2147483647 h 1016"/>
                <a:gd name="T60" fmla="*/ 2147483647 w 902"/>
                <a:gd name="T61" fmla="*/ 2147483647 h 1016"/>
                <a:gd name="T62" fmla="*/ 2147483647 w 902"/>
                <a:gd name="T63" fmla="*/ 2147483647 h 1016"/>
                <a:gd name="T64" fmla="*/ 2147483647 w 902"/>
                <a:gd name="T65" fmla="*/ 2147483647 h 1016"/>
                <a:gd name="T66" fmla="*/ 2147483647 w 902"/>
                <a:gd name="T67" fmla="*/ 2147483647 h 1016"/>
                <a:gd name="T68" fmla="*/ 2147483647 w 902"/>
                <a:gd name="T69" fmla="*/ 2147483647 h 1016"/>
                <a:gd name="T70" fmla="*/ 2147483647 w 902"/>
                <a:gd name="T71" fmla="*/ 2147483647 h 1016"/>
                <a:gd name="T72" fmla="*/ 2147483647 w 902"/>
                <a:gd name="T73" fmla="*/ 2147483647 h 1016"/>
                <a:gd name="T74" fmla="*/ 2147483647 w 902"/>
                <a:gd name="T75" fmla="*/ 2147483647 h 1016"/>
                <a:gd name="T76" fmla="*/ 2147483647 w 902"/>
                <a:gd name="T77" fmla="*/ 2147483647 h 1016"/>
                <a:gd name="T78" fmla="*/ 2147483647 w 902"/>
                <a:gd name="T79" fmla="*/ 2147483647 h 1016"/>
                <a:gd name="T80" fmla="*/ 2147483647 w 902"/>
                <a:gd name="T81" fmla="*/ 2147483647 h 1016"/>
                <a:gd name="T82" fmla="*/ 2147483647 w 902"/>
                <a:gd name="T83" fmla="*/ 2147483647 h 1016"/>
                <a:gd name="T84" fmla="*/ 2147483647 w 902"/>
                <a:gd name="T85" fmla="*/ 2147483647 h 1016"/>
                <a:gd name="T86" fmla="*/ 2147483647 w 902"/>
                <a:gd name="T87" fmla="*/ 2147483647 h 1016"/>
                <a:gd name="T88" fmla="*/ 2147483647 w 902"/>
                <a:gd name="T89" fmla="*/ 2147483647 h 1016"/>
                <a:gd name="T90" fmla="*/ 2147483647 w 902"/>
                <a:gd name="T91" fmla="*/ 2147483647 h 1016"/>
                <a:gd name="T92" fmla="*/ 2147483647 w 902"/>
                <a:gd name="T93" fmla="*/ 2147483647 h 1016"/>
                <a:gd name="T94" fmla="*/ 2147483647 w 902"/>
                <a:gd name="T95" fmla="*/ 2147483647 h 1016"/>
                <a:gd name="T96" fmla="*/ 2147483647 w 902"/>
                <a:gd name="T97" fmla="*/ 2147483647 h 1016"/>
                <a:gd name="T98" fmla="*/ 2147483647 w 902"/>
                <a:gd name="T99" fmla="*/ 2147483647 h 1016"/>
                <a:gd name="T100" fmla="*/ 2147483647 w 902"/>
                <a:gd name="T101" fmla="*/ 2147483647 h 1016"/>
                <a:gd name="T102" fmla="*/ 2147483647 w 902"/>
                <a:gd name="T103" fmla="*/ 2147483647 h 1016"/>
                <a:gd name="T104" fmla="*/ 2147483647 w 902"/>
                <a:gd name="T105" fmla="*/ 2147483647 h 1016"/>
                <a:gd name="T106" fmla="*/ 2147483647 w 902"/>
                <a:gd name="T107" fmla="*/ 2147483647 h 1016"/>
                <a:gd name="T108" fmla="*/ 2147483647 w 902"/>
                <a:gd name="T109" fmla="*/ 2147483647 h 1016"/>
                <a:gd name="T110" fmla="*/ 2147483647 w 902"/>
                <a:gd name="T111" fmla="*/ 2147483647 h 1016"/>
                <a:gd name="T112" fmla="*/ 2147483647 w 902"/>
                <a:gd name="T113" fmla="*/ 2147483647 h 1016"/>
                <a:gd name="T114" fmla="*/ 2147483647 w 902"/>
                <a:gd name="T115" fmla="*/ 2147483647 h 1016"/>
                <a:gd name="T116" fmla="*/ 2147483647 w 902"/>
                <a:gd name="T117" fmla="*/ 2147483647 h 1016"/>
                <a:gd name="T118" fmla="*/ 2147483647 w 902"/>
                <a:gd name="T119" fmla="*/ 2147483647 h 1016"/>
                <a:gd name="T120" fmla="*/ 2147483647 w 902"/>
                <a:gd name="T121" fmla="*/ 2147483647 h 1016"/>
                <a:gd name="T122" fmla="*/ 2147483647 w 902"/>
                <a:gd name="T123" fmla="*/ 2147483647 h 10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02"/>
                <a:gd name="T187" fmla="*/ 0 h 1016"/>
                <a:gd name="T188" fmla="*/ 902 w 902"/>
                <a:gd name="T189" fmla="*/ 1016 h 101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44" name="Freeform 177">
              <a:extLst>
                <a:ext uri="{FF2B5EF4-FFF2-40B4-BE49-F238E27FC236}">
                  <a16:creationId xmlns:a16="http://schemas.microsoft.com/office/drawing/2014/main" id="{071B4CAB-BD15-4444-BC9D-D87514F0FCF3}"/>
                </a:ext>
              </a:extLst>
            </p:cNvPr>
            <p:cNvSpPr>
              <a:spLocks/>
            </p:cNvSpPr>
            <p:nvPr>
              <p:custDataLst>
                <p:tags r:id="rId137"/>
              </p:custDataLst>
            </p:nvPr>
          </p:nvSpPr>
          <p:spPr bwMode="auto">
            <a:xfrm>
              <a:off x="6297761" y="4283114"/>
              <a:ext cx="53415" cy="63429"/>
            </a:xfrm>
            <a:custGeom>
              <a:avLst/>
              <a:gdLst>
                <a:gd name="T0" fmla="*/ 2147483647 w 87"/>
                <a:gd name="T1" fmla="*/ 2147483647 h 112"/>
                <a:gd name="T2" fmla="*/ 2147483647 w 87"/>
                <a:gd name="T3" fmla="*/ 2147483647 h 112"/>
                <a:gd name="T4" fmla="*/ 2147483647 w 87"/>
                <a:gd name="T5" fmla="*/ 2147483647 h 112"/>
                <a:gd name="T6" fmla="*/ 2147483647 w 87"/>
                <a:gd name="T7" fmla="*/ 2147483647 h 112"/>
                <a:gd name="T8" fmla="*/ 2147483647 w 87"/>
                <a:gd name="T9" fmla="*/ 2147483647 h 112"/>
                <a:gd name="T10" fmla="*/ 2147483647 w 87"/>
                <a:gd name="T11" fmla="*/ 2147483647 h 112"/>
                <a:gd name="T12" fmla="*/ 2147483647 w 87"/>
                <a:gd name="T13" fmla="*/ 2147483647 h 112"/>
                <a:gd name="T14" fmla="*/ 2147483647 w 87"/>
                <a:gd name="T15" fmla="*/ 2147483647 h 112"/>
                <a:gd name="T16" fmla="*/ 2147483647 w 87"/>
                <a:gd name="T17" fmla="*/ 2147483647 h 112"/>
                <a:gd name="T18" fmla="*/ 2147483647 w 87"/>
                <a:gd name="T19" fmla="*/ 2147483647 h 112"/>
                <a:gd name="T20" fmla="*/ 2147483647 w 87"/>
                <a:gd name="T21" fmla="*/ 0 h 112"/>
                <a:gd name="T22" fmla="*/ 2147483647 w 87"/>
                <a:gd name="T23" fmla="*/ 0 h 112"/>
                <a:gd name="T24" fmla="*/ 2147483647 w 87"/>
                <a:gd name="T25" fmla="*/ 0 h 112"/>
                <a:gd name="T26" fmla="*/ 2147483647 w 87"/>
                <a:gd name="T27" fmla="*/ 0 h 112"/>
                <a:gd name="T28" fmla="*/ 2147483647 w 87"/>
                <a:gd name="T29" fmla="*/ 2147483647 h 112"/>
                <a:gd name="T30" fmla="*/ 2147483647 w 87"/>
                <a:gd name="T31" fmla="*/ 2147483647 h 112"/>
                <a:gd name="T32" fmla="*/ 2147483647 w 87"/>
                <a:gd name="T33" fmla="*/ 2147483647 h 112"/>
                <a:gd name="T34" fmla="*/ 0 w 87"/>
                <a:gd name="T35" fmla="*/ 2147483647 h 112"/>
                <a:gd name="T36" fmla="*/ 2147483647 w 87"/>
                <a:gd name="T37" fmla="*/ 2147483647 h 112"/>
                <a:gd name="T38" fmla="*/ 2147483647 w 87"/>
                <a:gd name="T39" fmla="*/ 2147483647 h 1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7"/>
                <a:gd name="T61" fmla="*/ 0 h 112"/>
                <a:gd name="T62" fmla="*/ 87 w 87"/>
                <a:gd name="T63" fmla="*/ 112 h 1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45" name="Freeform 178">
              <a:extLst>
                <a:ext uri="{FF2B5EF4-FFF2-40B4-BE49-F238E27FC236}">
                  <a16:creationId xmlns:a16="http://schemas.microsoft.com/office/drawing/2014/main" id="{25EB11F6-B4C3-114E-8436-4B240F7F52E2}"/>
                </a:ext>
              </a:extLst>
            </p:cNvPr>
            <p:cNvSpPr>
              <a:spLocks noEditPoints="1"/>
            </p:cNvSpPr>
            <p:nvPr>
              <p:custDataLst>
                <p:tags r:id="rId138"/>
              </p:custDataLst>
            </p:nvPr>
          </p:nvSpPr>
          <p:spPr bwMode="auto">
            <a:xfrm>
              <a:off x="6314452" y="4243054"/>
              <a:ext cx="313807" cy="322153"/>
            </a:xfrm>
            <a:custGeom>
              <a:avLst/>
              <a:gdLst>
                <a:gd name="T0" fmla="*/ 2147483647 w 510"/>
                <a:gd name="T1" fmla="*/ 2147483647 h 579"/>
                <a:gd name="T2" fmla="*/ 2147483647 w 510"/>
                <a:gd name="T3" fmla="*/ 2147483647 h 579"/>
                <a:gd name="T4" fmla="*/ 2147483647 w 510"/>
                <a:gd name="T5" fmla="*/ 2147483647 h 579"/>
                <a:gd name="T6" fmla="*/ 2147483647 w 510"/>
                <a:gd name="T7" fmla="*/ 2147483647 h 579"/>
                <a:gd name="T8" fmla="*/ 2147483647 w 510"/>
                <a:gd name="T9" fmla="*/ 2147483647 h 579"/>
                <a:gd name="T10" fmla="*/ 2147483647 w 510"/>
                <a:gd name="T11" fmla="*/ 2147483647 h 579"/>
                <a:gd name="T12" fmla="*/ 2147483647 w 510"/>
                <a:gd name="T13" fmla="*/ 2147483647 h 579"/>
                <a:gd name="T14" fmla="*/ 2147483647 w 510"/>
                <a:gd name="T15" fmla="*/ 2147483647 h 579"/>
                <a:gd name="T16" fmla="*/ 2147483647 w 510"/>
                <a:gd name="T17" fmla="*/ 2147483647 h 579"/>
                <a:gd name="T18" fmla="*/ 2147483647 w 510"/>
                <a:gd name="T19" fmla="*/ 2147483647 h 579"/>
                <a:gd name="T20" fmla="*/ 2147483647 w 510"/>
                <a:gd name="T21" fmla="*/ 2147483647 h 579"/>
                <a:gd name="T22" fmla="*/ 2147483647 w 510"/>
                <a:gd name="T23" fmla="*/ 2147483647 h 579"/>
                <a:gd name="T24" fmla="*/ 2147483647 w 510"/>
                <a:gd name="T25" fmla="*/ 2147483647 h 579"/>
                <a:gd name="T26" fmla="*/ 2147483647 w 510"/>
                <a:gd name="T27" fmla="*/ 2147483647 h 579"/>
                <a:gd name="T28" fmla="*/ 2147483647 w 510"/>
                <a:gd name="T29" fmla="*/ 2147483647 h 579"/>
                <a:gd name="T30" fmla="*/ 2147483647 w 510"/>
                <a:gd name="T31" fmla="*/ 2147483647 h 579"/>
                <a:gd name="T32" fmla="*/ 2147483647 w 510"/>
                <a:gd name="T33" fmla="*/ 0 h 579"/>
                <a:gd name="T34" fmla="*/ 2147483647 w 510"/>
                <a:gd name="T35" fmla="*/ 2147483647 h 579"/>
                <a:gd name="T36" fmla="*/ 2147483647 w 510"/>
                <a:gd name="T37" fmla="*/ 2147483647 h 579"/>
                <a:gd name="T38" fmla="*/ 2147483647 w 510"/>
                <a:gd name="T39" fmla="*/ 2147483647 h 579"/>
                <a:gd name="T40" fmla="*/ 2147483647 w 510"/>
                <a:gd name="T41" fmla="*/ 2147483647 h 579"/>
                <a:gd name="T42" fmla="*/ 2147483647 w 510"/>
                <a:gd name="T43" fmla="*/ 2147483647 h 579"/>
                <a:gd name="T44" fmla="*/ 2147483647 w 510"/>
                <a:gd name="T45" fmla="*/ 2147483647 h 579"/>
                <a:gd name="T46" fmla="*/ 0 w 510"/>
                <a:gd name="T47" fmla="*/ 2147483647 h 579"/>
                <a:gd name="T48" fmla="*/ 2147483647 w 510"/>
                <a:gd name="T49" fmla="*/ 2147483647 h 579"/>
                <a:gd name="T50" fmla="*/ 2147483647 w 510"/>
                <a:gd name="T51" fmla="*/ 2147483647 h 579"/>
                <a:gd name="T52" fmla="*/ 2147483647 w 510"/>
                <a:gd name="T53" fmla="*/ 2147483647 h 579"/>
                <a:gd name="T54" fmla="*/ 2147483647 w 510"/>
                <a:gd name="T55" fmla="*/ 2147483647 h 579"/>
                <a:gd name="T56" fmla="*/ 2147483647 w 510"/>
                <a:gd name="T57" fmla="*/ 2147483647 h 579"/>
                <a:gd name="T58" fmla="*/ 2147483647 w 510"/>
                <a:gd name="T59" fmla="*/ 2147483647 h 579"/>
                <a:gd name="T60" fmla="*/ 2147483647 w 510"/>
                <a:gd name="T61" fmla="*/ 2147483647 h 579"/>
                <a:gd name="T62" fmla="*/ 2147483647 w 510"/>
                <a:gd name="T63" fmla="*/ 2147483647 h 579"/>
                <a:gd name="T64" fmla="*/ 2147483647 w 510"/>
                <a:gd name="T65" fmla="*/ 2147483647 h 579"/>
                <a:gd name="T66" fmla="*/ 2147483647 w 510"/>
                <a:gd name="T67" fmla="*/ 2147483647 h 579"/>
                <a:gd name="T68" fmla="*/ 2147483647 w 510"/>
                <a:gd name="T69" fmla="*/ 2147483647 h 579"/>
                <a:gd name="T70" fmla="*/ 2147483647 w 510"/>
                <a:gd name="T71" fmla="*/ 2147483647 h 579"/>
                <a:gd name="T72" fmla="*/ 2147483647 w 510"/>
                <a:gd name="T73" fmla="*/ 2147483647 h 579"/>
                <a:gd name="T74" fmla="*/ 2147483647 w 510"/>
                <a:gd name="T75" fmla="*/ 2147483647 h 579"/>
                <a:gd name="T76" fmla="*/ 2147483647 w 510"/>
                <a:gd name="T77" fmla="*/ 2147483647 h 579"/>
                <a:gd name="T78" fmla="*/ 2147483647 w 510"/>
                <a:gd name="T79" fmla="*/ 2147483647 h 579"/>
                <a:gd name="T80" fmla="*/ 2147483647 w 510"/>
                <a:gd name="T81" fmla="*/ 2147483647 h 579"/>
                <a:gd name="T82" fmla="*/ 2147483647 w 510"/>
                <a:gd name="T83" fmla="*/ 2147483647 h 579"/>
                <a:gd name="T84" fmla="*/ 2147483647 w 510"/>
                <a:gd name="T85" fmla="*/ 2147483647 h 579"/>
                <a:gd name="T86" fmla="*/ 2147483647 w 510"/>
                <a:gd name="T87" fmla="*/ 2147483647 h 579"/>
                <a:gd name="T88" fmla="*/ 2147483647 w 510"/>
                <a:gd name="T89" fmla="*/ 2147483647 h 579"/>
                <a:gd name="T90" fmla="*/ 2147483647 w 510"/>
                <a:gd name="T91" fmla="*/ 2147483647 h 579"/>
                <a:gd name="T92" fmla="*/ 2147483647 w 510"/>
                <a:gd name="T93" fmla="*/ 2147483647 h 579"/>
                <a:gd name="T94" fmla="*/ 2147483647 w 510"/>
                <a:gd name="T95" fmla="*/ 2147483647 h 57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0"/>
                <a:gd name="T145" fmla="*/ 0 h 579"/>
                <a:gd name="T146" fmla="*/ 510 w 510"/>
                <a:gd name="T147" fmla="*/ 579 h 57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46" name="Freeform 179">
              <a:extLst>
                <a:ext uri="{FF2B5EF4-FFF2-40B4-BE49-F238E27FC236}">
                  <a16:creationId xmlns:a16="http://schemas.microsoft.com/office/drawing/2014/main" id="{6CECF049-1EE4-3B49-A395-CB5BB0934928}"/>
                </a:ext>
              </a:extLst>
            </p:cNvPr>
            <p:cNvSpPr>
              <a:spLocks noEditPoints="1"/>
            </p:cNvSpPr>
            <p:nvPr>
              <p:custDataLst>
                <p:tags r:id="rId139"/>
              </p:custDataLst>
            </p:nvPr>
          </p:nvSpPr>
          <p:spPr bwMode="auto">
            <a:xfrm>
              <a:off x="6316121" y="4086150"/>
              <a:ext cx="163580" cy="173595"/>
            </a:xfrm>
            <a:custGeom>
              <a:avLst/>
              <a:gdLst>
                <a:gd name="T0" fmla="*/ 2147483647 w 266"/>
                <a:gd name="T1" fmla="*/ 2147483647 h 314"/>
                <a:gd name="T2" fmla="*/ 2147483647 w 266"/>
                <a:gd name="T3" fmla="*/ 2147483647 h 314"/>
                <a:gd name="T4" fmla="*/ 2147483647 w 266"/>
                <a:gd name="T5" fmla="*/ 2147483647 h 314"/>
                <a:gd name="T6" fmla="*/ 2147483647 w 266"/>
                <a:gd name="T7" fmla="*/ 2147483647 h 314"/>
                <a:gd name="T8" fmla="*/ 2147483647 w 266"/>
                <a:gd name="T9" fmla="*/ 2147483647 h 314"/>
                <a:gd name="T10" fmla="*/ 2147483647 w 266"/>
                <a:gd name="T11" fmla="*/ 2147483647 h 314"/>
                <a:gd name="T12" fmla="*/ 2147483647 w 266"/>
                <a:gd name="T13" fmla="*/ 2147483647 h 314"/>
                <a:gd name="T14" fmla="*/ 2147483647 w 266"/>
                <a:gd name="T15" fmla="*/ 2147483647 h 314"/>
                <a:gd name="T16" fmla="*/ 2147483647 w 266"/>
                <a:gd name="T17" fmla="*/ 2147483647 h 314"/>
                <a:gd name="T18" fmla="*/ 2147483647 w 266"/>
                <a:gd name="T19" fmla="*/ 2147483647 h 314"/>
                <a:gd name="T20" fmla="*/ 2147483647 w 266"/>
                <a:gd name="T21" fmla="*/ 2147483647 h 314"/>
                <a:gd name="T22" fmla="*/ 2147483647 w 266"/>
                <a:gd name="T23" fmla="*/ 2147483647 h 314"/>
                <a:gd name="T24" fmla="*/ 2147483647 w 266"/>
                <a:gd name="T25" fmla="*/ 0 h 314"/>
                <a:gd name="T26" fmla="*/ 2147483647 w 266"/>
                <a:gd name="T27" fmla="*/ 0 h 314"/>
                <a:gd name="T28" fmla="*/ 2147483647 w 266"/>
                <a:gd name="T29" fmla="*/ 2147483647 h 314"/>
                <a:gd name="T30" fmla="*/ 2147483647 w 266"/>
                <a:gd name="T31" fmla="*/ 2147483647 h 314"/>
                <a:gd name="T32" fmla="*/ 2147483647 w 266"/>
                <a:gd name="T33" fmla="*/ 2147483647 h 314"/>
                <a:gd name="T34" fmla="*/ 2147483647 w 266"/>
                <a:gd name="T35" fmla="*/ 2147483647 h 314"/>
                <a:gd name="T36" fmla="*/ 2147483647 w 266"/>
                <a:gd name="T37" fmla="*/ 2147483647 h 314"/>
                <a:gd name="T38" fmla="*/ 2147483647 w 266"/>
                <a:gd name="T39" fmla="*/ 2147483647 h 314"/>
                <a:gd name="T40" fmla="*/ 2147483647 w 266"/>
                <a:gd name="T41" fmla="*/ 2147483647 h 314"/>
                <a:gd name="T42" fmla="*/ 2147483647 w 266"/>
                <a:gd name="T43" fmla="*/ 2147483647 h 314"/>
                <a:gd name="T44" fmla="*/ 2147483647 w 266"/>
                <a:gd name="T45" fmla="*/ 2147483647 h 314"/>
                <a:gd name="T46" fmla="*/ 2147483647 w 266"/>
                <a:gd name="T47" fmla="*/ 2147483647 h 314"/>
                <a:gd name="T48" fmla="*/ 2147483647 w 266"/>
                <a:gd name="T49" fmla="*/ 2147483647 h 314"/>
                <a:gd name="T50" fmla="*/ 2147483647 w 266"/>
                <a:gd name="T51" fmla="*/ 2147483647 h 314"/>
                <a:gd name="T52" fmla="*/ 2147483647 w 266"/>
                <a:gd name="T53" fmla="*/ 2147483647 h 314"/>
                <a:gd name="T54" fmla="*/ 2147483647 w 266"/>
                <a:gd name="T55" fmla="*/ 2147483647 h 314"/>
                <a:gd name="T56" fmla="*/ 2147483647 w 266"/>
                <a:gd name="T57" fmla="*/ 2147483647 h 314"/>
                <a:gd name="T58" fmla="*/ 2147483647 w 266"/>
                <a:gd name="T59" fmla="*/ 2147483647 h 314"/>
                <a:gd name="T60" fmla="*/ 2147483647 w 266"/>
                <a:gd name="T61" fmla="*/ 2147483647 h 314"/>
                <a:gd name="T62" fmla="*/ 2147483647 w 266"/>
                <a:gd name="T63" fmla="*/ 2147483647 h 314"/>
                <a:gd name="T64" fmla="*/ 2147483647 w 266"/>
                <a:gd name="T65" fmla="*/ 2147483647 h 314"/>
                <a:gd name="T66" fmla="*/ 2147483647 w 266"/>
                <a:gd name="T67" fmla="*/ 2147483647 h 314"/>
                <a:gd name="T68" fmla="*/ 2147483647 w 266"/>
                <a:gd name="T69" fmla="*/ 2147483647 h 314"/>
                <a:gd name="T70" fmla="*/ 2147483647 w 266"/>
                <a:gd name="T71" fmla="*/ 2147483647 h 314"/>
                <a:gd name="T72" fmla="*/ 2147483647 w 266"/>
                <a:gd name="T73" fmla="*/ 2147483647 h 314"/>
                <a:gd name="T74" fmla="*/ 0 w 266"/>
                <a:gd name="T75" fmla="*/ 2147483647 h 314"/>
                <a:gd name="T76" fmla="*/ 2147483647 w 266"/>
                <a:gd name="T77" fmla="*/ 2147483647 h 314"/>
                <a:gd name="T78" fmla="*/ 2147483647 w 266"/>
                <a:gd name="T79" fmla="*/ 2147483647 h 314"/>
                <a:gd name="T80" fmla="*/ 2147483647 w 266"/>
                <a:gd name="T81" fmla="*/ 2147483647 h 314"/>
                <a:gd name="T82" fmla="*/ 2147483647 w 266"/>
                <a:gd name="T83" fmla="*/ 2147483647 h 314"/>
                <a:gd name="T84" fmla="*/ 2147483647 w 266"/>
                <a:gd name="T85" fmla="*/ 2147483647 h 314"/>
                <a:gd name="T86" fmla="*/ 2147483647 w 266"/>
                <a:gd name="T87" fmla="*/ 2147483647 h 314"/>
                <a:gd name="T88" fmla="*/ 2147483647 w 266"/>
                <a:gd name="T89" fmla="*/ 2147483647 h 314"/>
                <a:gd name="T90" fmla="*/ 2147483647 w 266"/>
                <a:gd name="T91" fmla="*/ 2147483647 h 314"/>
                <a:gd name="T92" fmla="*/ 2147483647 w 266"/>
                <a:gd name="T93" fmla="*/ 2147483647 h 314"/>
                <a:gd name="T94" fmla="*/ 2147483647 w 266"/>
                <a:gd name="T95" fmla="*/ 2147483647 h 314"/>
                <a:gd name="T96" fmla="*/ 2147483647 w 266"/>
                <a:gd name="T97" fmla="*/ 2147483647 h 314"/>
                <a:gd name="T98" fmla="*/ 2147483647 w 266"/>
                <a:gd name="T99" fmla="*/ 2147483647 h 314"/>
                <a:gd name="T100" fmla="*/ 2147483647 w 266"/>
                <a:gd name="T101" fmla="*/ 2147483647 h 314"/>
                <a:gd name="T102" fmla="*/ 2147483647 w 266"/>
                <a:gd name="T103" fmla="*/ 2147483647 h 314"/>
                <a:gd name="T104" fmla="*/ 2147483647 w 266"/>
                <a:gd name="T105" fmla="*/ 2147483647 h 314"/>
                <a:gd name="T106" fmla="*/ 2147483647 w 266"/>
                <a:gd name="T107" fmla="*/ 2147483647 h 314"/>
                <a:gd name="T108" fmla="*/ 2147483647 w 266"/>
                <a:gd name="T109" fmla="*/ 2147483647 h 314"/>
                <a:gd name="T110" fmla="*/ 2147483647 w 266"/>
                <a:gd name="T111" fmla="*/ 2147483647 h 314"/>
                <a:gd name="T112" fmla="*/ 2147483647 w 266"/>
                <a:gd name="T113" fmla="*/ 2147483647 h 314"/>
                <a:gd name="T114" fmla="*/ 2147483647 w 266"/>
                <a:gd name="T115" fmla="*/ 2147483647 h 314"/>
                <a:gd name="T116" fmla="*/ 2147483647 w 266"/>
                <a:gd name="T117" fmla="*/ 2147483647 h 3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6"/>
                <a:gd name="T178" fmla="*/ 0 h 314"/>
                <a:gd name="T179" fmla="*/ 266 w 266"/>
                <a:gd name="T180" fmla="*/ 314 h 3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47" name="Freeform 180">
              <a:extLst>
                <a:ext uri="{FF2B5EF4-FFF2-40B4-BE49-F238E27FC236}">
                  <a16:creationId xmlns:a16="http://schemas.microsoft.com/office/drawing/2014/main" id="{7391ABB5-BDE0-5249-8959-A61E6024F6A2}"/>
                </a:ext>
              </a:extLst>
            </p:cNvPr>
            <p:cNvSpPr>
              <a:spLocks/>
            </p:cNvSpPr>
            <p:nvPr>
              <p:custDataLst>
                <p:tags r:id="rId140"/>
              </p:custDataLst>
            </p:nvPr>
          </p:nvSpPr>
          <p:spPr bwMode="auto">
            <a:xfrm>
              <a:off x="6441311" y="4067788"/>
              <a:ext cx="235355" cy="283763"/>
            </a:xfrm>
            <a:custGeom>
              <a:avLst/>
              <a:gdLst>
                <a:gd name="T0" fmla="*/ 2147483647 w 378"/>
                <a:gd name="T1" fmla="*/ 2147483647 h 509"/>
                <a:gd name="T2" fmla="*/ 2147483647 w 378"/>
                <a:gd name="T3" fmla="*/ 2147483647 h 509"/>
                <a:gd name="T4" fmla="*/ 2147483647 w 378"/>
                <a:gd name="T5" fmla="*/ 2147483647 h 509"/>
                <a:gd name="T6" fmla="*/ 2147483647 w 378"/>
                <a:gd name="T7" fmla="*/ 2147483647 h 509"/>
                <a:gd name="T8" fmla="*/ 2147483647 w 378"/>
                <a:gd name="T9" fmla="*/ 2147483647 h 509"/>
                <a:gd name="T10" fmla="*/ 2147483647 w 378"/>
                <a:gd name="T11" fmla="*/ 2147483647 h 509"/>
                <a:gd name="T12" fmla="*/ 2147483647 w 378"/>
                <a:gd name="T13" fmla="*/ 2147483647 h 509"/>
                <a:gd name="T14" fmla="*/ 2147483647 w 378"/>
                <a:gd name="T15" fmla="*/ 2147483647 h 509"/>
                <a:gd name="T16" fmla="*/ 2147483647 w 378"/>
                <a:gd name="T17" fmla="*/ 2147483647 h 509"/>
                <a:gd name="T18" fmla="*/ 2147483647 w 378"/>
                <a:gd name="T19" fmla="*/ 2147483647 h 509"/>
                <a:gd name="T20" fmla="*/ 2147483647 w 378"/>
                <a:gd name="T21" fmla="*/ 2147483647 h 509"/>
                <a:gd name="T22" fmla="*/ 2147483647 w 378"/>
                <a:gd name="T23" fmla="*/ 2147483647 h 509"/>
                <a:gd name="T24" fmla="*/ 2147483647 w 378"/>
                <a:gd name="T25" fmla="*/ 2147483647 h 509"/>
                <a:gd name="T26" fmla="*/ 2147483647 w 378"/>
                <a:gd name="T27" fmla="*/ 2147483647 h 509"/>
                <a:gd name="T28" fmla="*/ 2147483647 w 378"/>
                <a:gd name="T29" fmla="*/ 2147483647 h 509"/>
                <a:gd name="T30" fmla="*/ 2147483647 w 378"/>
                <a:gd name="T31" fmla="*/ 0 h 509"/>
                <a:gd name="T32" fmla="*/ 2147483647 w 378"/>
                <a:gd name="T33" fmla="*/ 2147483647 h 509"/>
                <a:gd name="T34" fmla="*/ 2147483647 w 378"/>
                <a:gd name="T35" fmla="*/ 2147483647 h 509"/>
                <a:gd name="T36" fmla="*/ 2147483647 w 378"/>
                <a:gd name="T37" fmla="*/ 2147483647 h 509"/>
                <a:gd name="T38" fmla="*/ 2147483647 w 378"/>
                <a:gd name="T39" fmla="*/ 2147483647 h 509"/>
                <a:gd name="T40" fmla="*/ 2147483647 w 378"/>
                <a:gd name="T41" fmla="*/ 2147483647 h 509"/>
                <a:gd name="T42" fmla="*/ 2147483647 w 378"/>
                <a:gd name="T43" fmla="*/ 2147483647 h 509"/>
                <a:gd name="T44" fmla="*/ 2147483647 w 378"/>
                <a:gd name="T45" fmla="*/ 2147483647 h 509"/>
                <a:gd name="T46" fmla="*/ 2147483647 w 378"/>
                <a:gd name="T47" fmla="*/ 2147483647 h 509"/>
                <a:gd name="T48" fmla="*/ 2147483647 w 378"/>
                <a:gd name="T49" fmla="*/ 2147483647 h 509"/>
                <a:gd name="T50" fmla="*/ 2147483647 w 378"/>
                <a:gd name="T51" fmla="*/ 2147483647 h 509"/>
                <a:gd name="T52" fmla="*/ 2147483647 w 378"/>
                <a:gd name="T53" fmla="*/ 2147483647 h 509"/>
                <a:gd name="T54" fmla="*/ 2147483647 w 378"/>
                <a:gd name="T55" fmla="*/ 2147483647 h 509"/>
                <a:gd name="T56" fmla="*/ 2147483647 w 378"/>
                <a:gd name="T57" fmla="*/ 2147483647 h 509"/>
                <a:gd name="T58" fmla="*/ 2147483647 w 378"/>
                <a:gd name="T59" fmla="*/ 2147483647 h 509"/>
                <a:gd name="T60" fmla="*/ 2147483647 w 378"/>
                <a:gd name="T61" fmla="*/ 2147483647 h 509"/>
                <a:gd name="T62" fmla="*/ 2147483647 w 378"/>
                <a:gd name="T63" fmla="*/ 2147483647 h 509"/>
                <a:gd name="T64" fmla="*/ 2147483647 w 378"/>
                <a:gd name="T65" fmla="*/ 2147483647 h 509"/>
                <a:gd name="T66" fmla="*/ 2147483647 w 378"/>
                <a:gd name="T67" fmla="*/ 2147483647 h 509"/>
                <a:gd name="T68" fmla="*/ 2147483647 w 378"/>
                <a:gd name="T69" fmla="*/ 2147483647 h 509"/>
                <a:gd name="T70" fmla="*/ 2147483647 w 378"/>
                <a:gd name="T71" fmla="*/ 2147483647 h 509"/>
                <a:gd name="T72" fmla="*/ 2147483647 w 378"/>
                <a:gd name="T73" fmla="*/ 2147483647 h 509"/>
                <a:gd name="T74" fmla="*/ 2147483647 w 378"/>
                <a:gd name="T75" fmla="*/ 2147483647 h 509"/>
                <a:gd name="T76" fmla="*/ 2147483647 w 378"/>
                <a:gd name="T77" fmla="*/ 2147483647 h 509"/>
                <a:gd name="T78" fmla="*/ 2147483647 w 378"/>
                <a:gd name="T79" fmla="*/ 2147483647 h 509"/>
                <a:gd name="T80" fmla="*/ 2147483647 w 378"/>
                <a:gd name="T81" fmla="*/ 2147483647 h 509"/>
                <a:gd name="T82" fmla="*/ 2147483647 w 378"/>
                <a:gd name="T83" fmla="*/ 2147483647 h 509"/>
                <a:gd name="T84" fmla="*/ 2147483647 w 378"/>
                <a:gd name="T85" fmla="*/ 2147483647 h 509"/>
                <a:gd name="T86" fmla="*/ 2147483647 w 378"/>
                <a:gd name="T87" fmla="*/ 2147483647 h 509"/>
                <a:gd name="T88" fmla="*/ 2147483647 w 378"/>
                <a:gd name="T89" fmla="*/ 2147483647 h 509"/>
                <a:gd name="T90" fmla="*/ 2147483647 w 378"/>
                <a:gd name="T91" fmla="*/ 2147483647 h 509"/>
                <a:gd name="T92" fmla="*/ 2147483647 w 378"/>
                <a:gd name="T93" fmla="*/ 2147483647 h 509"/>
                <a:gd name="T94" fmla="*/ 2147483647 w 378"/>
                <a:gd name="T95" fmla="*/ 2147483647 h 509"/>
                <a:gd name="T96" fmla="*/ 2147483647 w 378"/>
                <a:gd name="T97" fmla="*/ 2147483647 h 509"/>
                <a:gd name="T98" fmla="*/ 2147483647 w 378"/>
                <a:gd name="T99" fmla="*/ 2147483647 h 509"/>
                <a:gd name="T100" fmla="*/ 2147483647 w 378"/>
                <a:gd name="T101" fmla="*/ 2147483647 h 509"/>
                <a:gd name="T102" fmla="*/ 2147483647 w 378"/>
                <a:gd name="T103" fmla="*/ 2147483647 h 509"/>
                <a:gd name="T104" fmla="*/ 2147483647 w 378"/>
                <a:gd name="T105" fmla="*/ 2147483647 h 509"/>
                <a:gd name="T106" fmla="*/ 2147483647 w 378"/>
                <a:gd name="T107" fmla="*/ 2147483647 h 509"/>
                <a:gd name="T108" fmla="*/ 2147483647 w 378"/>
                <a:gd name="T109" fmla="*/ 2147483647 h 509"/>
                <a:gd name="T110" fmla="*/ 2147483647 w 378"/>
                <a:gd name="T111" fmla="*/ 2147483647 h 509"/>
                <a:gd name="T112" fmla="*/ 2147483647 w 378"/>
                <a:gd name="T113" fmla="*/ 2147483647 h 509"/>
                <a:gd name="T114" fmla="*/ 2147483647 w 378"/>
                <a:gd name="T115" fmla="*/ 2147483647 h 509"/>
                <a:gd name="T116" fmla="*/ 2147483647 w 378"/>
                <a:gd name="T117" fmla="*/ 2147483647 h 5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78"/>
                <a:gd name="T178" fmla="*/ 0 h 509"/>
                <a:gd name="T179" fmla="*/ 378 w 378"/>
                <a:gd name="T180" fmla="*/ 509 h 5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48" name="Freeform 183">
              <a:extLst>
                <a:ext uri="{FF2B5EF4-FFF2-40B4-BE49-F238E27FC236}">
                  <a16:creationId xmlns:a16="http://schemas.microsoft.com/office/drawing/2014/main" id="{F56E0A87-19A7-AC4E-A099-F1DD3B6144FB}"/>
                </a:ext>
              </a:extLst>
            </p:cNvPr>
            <p:cNvSpPr>
              <a:spLocks/>
            </p:cNvSpPr>
            <p:nvPr>
              <p:custDataLst>
                <p:tags r:id="rId141"/>
              </p:custDataLst>
            </p:nvPr>
          </p:nvSpPr>
          <p:spPr bwMode="auto">
            <a:xfrm>
              <a:off x="5960584" y="2899354"/>
              <a:ext cx="50075" cy="50076"/>
            </a:xfrm>
            <a:custGeom>
              <a:avLst/>
              <a:gdLst>
                <a:gd name="T0" fmla="*/ 2147483647 w 80"/>
                <a:gd name="T1" fmla="*/ 2147483647 h 90"/>
                <a:gd name="T2" fmla="*/ 2147483647 w 80"/>
                <a:gd name="T3" fmla="*/ 2147483647 h 90"/>
                <a:gd name="T4" fmla="*/ 2147483647 w 80"/>
                <a:gd name="T5" fmla="*/ 2147483647 h 90"/>
                <a:gd name="T6" fmla="*/ 2147483647 w 80"/>
                <a:gd name="T7" fmla="*/ 2147483647 h 90"/>
                <a:gd name="T8" fmla="*/ 2147483647 w 80"/>
                <a:gd name="T9" fmla="*/ 0 h 90"/>
                <a:gd name="T10" fmla="*/ 2147483647 w 80"/>
                <a:gd name="T11" fmla="*/ 0 h 90"/>
                <a:gd name="T12" fmla="*/ 2147483647 w 80"/>
                <a:gd name="T13" fmla="*/ 2147483647 h 90"/>
                <a:gd name="T14" fmla="*/ 2147483647 w 80"/>
                <a:gd name="T15" fmla="*/ 2147483647 h 90"/>
                <a:gd name="T16" fmla="*/ 2147483647 w 80"/>
                <a:gd name="T17" fmla="*/ 2147483647 h 90"/>
                <a:gd name="T18" fmla="*/ 2147483647 w 80"/>
                <a:gd name="T19" fmla="*/ 2147483647 h 90"/>
                <a:gd name="T20" fmla="*/ 2147483647 w 80"/>
                <a:gd name="T21" fmla="*/ 2147483647 h 90"/>
                <a:gd name="T22" fmla="*/ 2147483647 w 80"/>
                <a:gd name="T23" fmla="*/ 2147483647 h 90"/>
                <a:gd name="T24" fmla="*/ 2147483647 w 80"/>
                <a:gd name="T25" fmla="*/ 2147483647 h 90"/>
                <a:gd name="T26" fmla="*/ 2147483647 w 80"/>
                <a:gd name="T27" fmla="*/ 2147483647 h 90"/>
                <a:gd name="T28" fmla="*/ 2147483647 w 80"/>
                <a:gd name="T29" fmla="*/ 2147483647 h 90"/>
                <a:gd name="T30" fmla="*/ 2147483647 w 80"/>
                <a:gd name="T31" fmla="*/ 2147483647 h 90"/>
                <a:gd name="T32" fmla="*/ 2147483647 w 80"/>
                <a:gd name="T33" fmla="*/ 2147483647 h 90"/>
                <a:gd name="T34" fmla="*/ 2147483647 w 80"/>
                <a:gd name="T35" fmla="*/ 2147483647 h 90"/>
                <a:gd name="T36" fmla="*/ 2147483647 w 80"/>
                <a:gd name="T37" fmla="*/ 2147483647 h 90"/>
                <a:gd name="T38" fmla="*/ 2147483647 w 80"/>
                <a:gd name="T39" fmla="*/ 2147483647 h 90"/>
                <a:gd name="T40" fmla="*/ 2147483647 w 80"/>
                <a:gd name="T41" fmla="*/ 2147483647 h 90"/>
                <a:gd name="T42" fmla="*/ 2147483647 w 80"/>
                <a:gd name="T43" fmla="*/ 2147483647 h 90"/>
                <a:gd name="T44" fmla="*/ 2147483647 w 80"/>
                <a:gd name="T45" fmla="*/ 2147483647 h 90"/>
                <a:gd name="T46" fmla="*/ 2147483647 w 80"/>
                <a:gd name="T47" fmla="*/ 2147483647 h 90"/>
                <a:gd name="T48" fmla="*/ 2147483647 w 80"/>
                <a:gd name="T49" fmla="*/ 2147483647 h 90"/>
                <a:gd name="T50" fmla="*/ 2147483647 w 80"/>
                <a:gd name="T51" fmla="*/ 2147483647 h 90"/>
                <a:gd name="T52" fmla="*/ 2147483647 w 80"/>
                <a:gd name="T53" fmla="*/ 2147483647 h 90"/>
                <a:gd name="T54" fmla="*/ 2147483647 w 80"/>
                <a:gd name="T55" fmla="*/ 2147483647 h 9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90"/>
                <a:gd name="T86" fmla="*/ 80 w 80"/>
                <a:gd name="T87" fmla="*/ 90 h 9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49" name="Freeform 184">
              <a:extLst>
                <a:ext uri="{FF2B5EF4-FFF2-40B4-BE49-F238E27FC236}">
                  <a16:creationId xmlns:a16="http://schemas.microsoft.com/office/drawing/2014/main" id="{B250D5A5-26AA-9340-AB05-7E14A97A7736}"/>
                </a:ext>
              </a:extLst>
            </p:cNvPr>
            <p:cNvSpPr>
              <a:spLocks noEditPoints="1"/>
            </p:cNvSpPr>
            <p:nvPr>
              <p:custDataLst>
                <p:tags r:id="rId142"/>
              </p:custDataLst>
            </p:nvPr>
          </p:nvSpPr>
          <p:spPr bwMode="auto">
            <a:xfrm>
              <a:off x="5970598" y="2819233"/>
              <a:ext cx="115173" cy="130196"/>
            </a:xfrm>
            <a:custGeom>
              <a:avLst/>
              <a:gdLst>
                <a:gd name="T0" fmla="*/ 2147483647 w 185"/>
                <a:gd name="T1" fmla="*/ 2147483647 h 233"/>
                <a:gd name="T2" fmla="*/ 2147483647 w 185"/>
                <a:gd name="T3" fmla="*/ 2147483647 h 233"/>
                <a:gd name="T4" fmla="*/ 2147483647 w 185"/>
                <a:gd name="T5" fmla="*/ 2147483647 h 233"/>
                <a:gd name="T6" fmla="*/ 2147483647 w 185"/>
                <a:gd name="T7" fmla="*/ 2147483647 h 233"/>
                <a:gd name="T8" fmla="*/ 2147483647 w 185"/>
                <a:gd name="T9" fmla="*/ 2147483647 h 233"/>
                <a:gd name="T10" fmla="*/ 2147483647 w 185"/>
                <a:gd name="T11" fmla="*/ 2147483647 h 233"/>
                <a:gd name="T12" fmla="*/ 2147483647 w 185"/>
                <a:gd name="T13" fmla="*/ 2147483647 h 233"/>
                <a:gd name="T14" fmla="*/ 2147483647 w 185"/>
                <a:gd name="T15" fmla="*/ 2147483647 h 233"/>
                <a:gd name="T16" fmla="*/ 2147483647 w 185"/>
                <a:gd name="T17" fmla="*/ 2147483647 h 233"/>
                <a:gd name="T18" fmla="*/ 2147483647 w 185"/>
                <a:gd name="T19" fmla="*/ 2147483647 h 233"/>
                <a:gd name="T20" fmla="*/ 2147483647 w 185"/>
                <a:gd name="T21" fmla="*/ 2147483647 h 233"/>
                <a:gd name="T22" fmla="*/ 2147483647 w 185"/>
                <a:gd name="T23" fmla="*/ 2147483647 h 233"/>
                <a:gd name="T24" fmla="*/ 0 w 185"/>
                <a:gd name="T25" fmla="*/ 2147483647 h 233"/>
                <a:gd name="T26" fmla="*/ 2147483647 w 185"/>
                <a:gd name="T27" fmla="*/ 2147483647 h 233"/>
                <a:gd name="T28" fmla="*/ 2147483647 w 185"/>
                <a:gd name="T29" fmla="*/ 2147483647 h 233"/>
                <a:gd name="T30" fmla="*/ 2147483647 w 185"/>
                <a:gd name="T31" fmla="*/ 2147483647 h 233"/>
                <a:gd name="T32" fmla="*/ 2147483647 w 185"/>
                <a:gd name="T33" fmla="*/ 2147483647 h 233"/>
                <a:gd name="T34" fmla="*/ 2147483647 w 185"/>
                <a:gd name="T35" fmla="*/ 2147483647 h 233"/>
                <a:gd name="T36" fmla="*/ 2147483647 w 185"/>
                <a:gd name="T37" fmla="*/ 2147483647 h 233"/>
                <a:gd name="T38" fmla="*/ 2147483647 w 185"/>
                <a:gd name="T39" fmla="*/ 2147483647 h 233"/>
                <a:gd name="T40" fmla="*/ 2147483647 w 185"/>
                <a:gd name="T41" fmla="*/ 2147483647 h 233"/>
                <a:gd name="T42" fmla="*/ 2147483647 w 185"/>
                <a:gd name="T43" fmla="*/ 2147483647 h 233"/>
                <a:gd name="T44" fmla="*/ 2147483647 w 185"/>
                <a:gd name="T45" fmla="*/ 2147483647 h 233"/>
                <a:gd name="T46" fmla="*/ 2147483647 w 185"/>
                <a:gd name="T47" fmla="*/ 2147483647 h 233"/>
                <a:gd name="T48" fmla="*/ 2147483647 w 185"/>
                <a:gd name="T49" fmla="*/ 2147483647 h 233"/>
                <a:gd name="T50" fmla="*/ 2147483647 w 185"/>
                <a:gd name="T51" fmla="*/ 2147483647 h 233"/>
                <a:gd name="T52" fmla="*/ 2147483647 w 185"/>
                <a:gd name="T53" fmla="*/ 2147483647 h 233"/>
                <a:gd name="T54" fmla="*/ 2147483647 w 185"/>
                <a:gd name="T55" fmla="*/ 2147483647 h 233"/>
                <a:gd name="T56" fmla="*/ 2147483647 w 185"/>
                <a:gd name="T57" fmla="*/ 2147483647 h 233"/>
                <a:gd name="T58" fmla="*/ 2147483647 w 185"/>
                <a:gd name="T59" fmla="*/ 2147483647 h 233"/>
                <a:gd name="T60" fmla="*/ 2147483647 w 185"/>
                <a:gd name="T61" fmla="*/ 2147483647 h 233"/>
                <a:gd name="T62" fmla="*/ 2147483647 w 185"/>
                <a:gd name="T63" fmla="*/ 2147483647 h 233"/>
                <a:gd name="T64" fmla="*/ 2147483647 w 185"/>
                <a:gd name="T65" fmla="*/ 2147483647 h 233"/>
                <a:gd name="T66" fmla="*/ 2147483647 w 185"/>
                <a:gd name="T67" fmla="*/ 2147483647 h 233"/>
                <a:gd name="T68" fmla="*/ 2147483647 w 185"/>
                <a:gd name="T69" fmla="*/ 2147483647 h 233"/>
                <a:gd name="T70" fmla="*/ 2147483647 w 185"/>
                <a:gd name="T71" fmla="*/ 2147483647 h 2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5"/>
                <a:gd name="T109" fmla="*/ 0 h 233"/>
                <a:gd name="T110" fmla="*/ 185 w 185"/>
                <a:gd name="T111" fmla="*/ 233 h 2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50" name="Freeform 185">
              <a:extLst>
                <a:ext uri="{FF2B5EF4-FFF2-40B4-BE49-F238E27FC236}">
                  <a16:creationId xmlns:a16="http://schemas.microsoft.com/office/drawing/2014/main" id="{AA4C6D16-9533-3042-9506-A7B943042A74}"/>
                </a:ext>
              </a:extLst>
            </p:cNvPr>
            <p:cNvSpPr>
              <a:spLocks noEditPoints="1"/>
            </p:cNvSpPr>
            <p:nvPr>
              <p:custDataLst>
                <p:tags r:id="rId143"/>
              </p:custDataLst>
            </p:nvPr>
          </p:nvSpPr>
          <p:spPr bwMode="auto">
            <a:xfrm>
              <a:off x="2103083" y="2722421"/>
              <a:ext cx="1614109" cy="729437"/>
            </a:xfrm>
            <a:custGeom>
              <a:avLst/>
              <a:gdLst>
                <a:gd name="T0" fmla="*/ 2147483647 w 2609"/>
                <a:gd name="T1" fmla="*/ 2147483647 h 1304"/>
                <a:gd name="T2" fmla="*/ 2147483647 w 2609"/>
                <a:gd name="T3" fmla="*/ 2147483647 h 1304"/>
                <a:gd name="T4" fmla="*/ 2147483647 w 2609"/>
                <a:gd name="T5" fmla="*/ 2147483647 h 1304"/>
                <a:gd name="T6" fmla="*/ 2147483647 w 2609"/>
                <a:gd name="T7" fmla="*/ 2147483647 h 1304"/>
                <a:gd name="T8" fmla="*/ 2147483647 w 2609"/>
                <a:gd name="T9" fmla="*/ 2147483647 h 1304"/>
                <a:gd name="T10" fmla="*/ 2147483647 w 2609"/>
                <a:gd name="T11" fmla="*/ 2147483647 h 1304"/>
                <a:gd name="T12" fmla="*/ 2147483647 w 2609"/>
                <a:gd name="T13" fmla="*/ 2147483647 h 1304"/>
                <a:gd name="T14" fmla="*/ 2147483647 w 2609"/>
                <a:gd name="T15" fmla="*/ 2147483647 h 1304"/>
                <a:gd name="T16" fmla="*/ 2147483647 w 2609"/>
                <a:gd name="T17" fmla="*/ 2147483647 h 1304"/>
                <a:gd name="T18" fmla="*/ 2147483647 w 2609"/>
                <a:gd name="T19" fmla="*/ 2147483647 h 1304"/>
                <a:gd name="T20" fmla="*/ 2147483647 w 2609"/>
                <a:gd name="T21" fmla="*/ 2147483647 h 1304"/>
                <a:gd name="T22" fmla="*/ 2147483647 w 2609"/>
                <a:gd name="T23" fmla="*/ 2147483647 h 1304"/>
                <a:gd name="T24" fmla="*/ 2147483647 w 2609"/>
                <a:gd name="T25" fmla="*/ 2147483647 h 1304"/>
                <a:gd name="T26" fmla="*/ 2147483647 w 2609"/>
                <a:gd name="T27" fmla="*/ 2147483647 h 1304"/>
                <a:gd name="T28" fmla="*/ 2147483647 w 2609"/>
                <a:gd name="T29" fmla="*/ 2147483647 h 1304"/>
                <a:gd name="T30" fmla="*/ 2147483647 w 2609"/>
                <a:gd name="T31" fmla="*/ 2147483647 h 1304"/>
                <a:gd name="T32" fmla="*/ 2147483647 w 2609"/>
                <a:gd name="T33" fmla="*/ 2147483647 h 1304"/>
                <a:gd name="T34" fmla="*/ 2147483647 w 2609"/>
                <a:gd name="T35" fmla="*/ 2147483647 h 1304"/>
                <a:gd name="T36" fmla="*/ 2147483647 w 2609"/>
                <a:gd name="T37" fmla="*/ 2147483647 h 1304"/>
                <a:gd name="T38" fmla="*/ 2147483647 w 2609"/>
                <a:gd name="T39" fmla="*/ 2147483647 h 1304"/>
                <a:gd name="T40" fmla="*/ 2147483647 w 2609"/>
                <a:gd name="T41" fmla="*/ 2147483647 h 1304"/>
                <a:gd name="T42" fmla="*/ 2147483647 w 2609"/>
                <a:gd name="T43" fmla="*/ 2147483647 h 1304"/>
                <a:gd name="T44" fmla="*/ 2147483647 w 2609"/>
                <a:gd name="T45" fmla="*/ 2147483647 h 1304"/>
                <a:gd name="T46" fmla="*/ 2147483647 w 2609"/>
                <a:gd name="T47" fmla="*/ 2147483647 h 1304"/>
                <a:gd name="T48" fmla="*/ 2147483647 w 2609"/>
                <a:gd name="T49" fmla="*/ 2147483647 h 1304"/>
                <a:gd name="T50" fmla="*/ 2147483647 w 2609"/>
                <a:gd name="T51" fmla="*/ 2147483647 h 1304"/>
                <a:gd name="T52" fmla="*/ 2147483647 w 2609"/>
                <a:gd name="T53" fmla="*/ 2147483647 h 1304"/>
                <a:gd name="T54" fmla="*/ 2147483647 w 2609"/>
                <a:gd name="T55" fmla="*/ 2147483647 h 1304"/>
                <a:gd name="T56" fmla="*/ 2147483647 w 2609"/>
                <a:gd name="T57" fmla="*/ 2147483647 h 1304"/>
                <a:gd name="T58" fmla="*/ 2147483647 w 2609"/>
                <a:gd name="T59" fmla="*/ 2147483647 h 1304"/>
                <a:gd name="T60" fmla="*/ 2147483647 w 2609"/>
                <a:gd name="T61" fmla="*/ 2147483647 h 1304"/>
                <a:gd name="T62" fmla="*/ 2147483647 w 2609"/>
                <a:gd name="T63" fmla="*/ 2147483647 h 1304"/>
                <a:gd name="T64" fmla="*/ 2147483647 w 2609"/>
                <a:gd name="T65" fmla="*/ 2147483647 h 1304"/>
                <a:gd name="T66" fmla="*/ 2147483647 w 2609"/>
                <a:gd name="T67" fmla="*/ 2147483647 h 1304"/>
                <a:gd name="T68" fmla="*/ 2147483647 w 2609"/>
                <a:gd name="T69" fmla="*/ 2147483647 h 1304"/>
                <a:gd name="T70" fmla="*/ 2147483647 w 2609"/>
                <a:gd name="T71" fmla="*/ 2147483647 h 1304"/>
                <a:gd name="T72" fmla="*/ 2147483647 w 2609"/>
                <a:gd name="T73" fmla="*/ 2147483647 h 1304"/>
                <a:gd name="T74" fmla="*/ 2147483647 w 2609"/>
                <a:gd name="T75" fmla="*/ 2147483647 h 1304"/>
                <a:gd name="T76" fmla="*/ 2147483647 w 2609"/>
                <a:gd name="T77" fmla="*/ 2147483647 h 1304"/>
                <a:gd name="T78" fmla="*/ 2147483647 w 2609"/>
                <a:gd name="T79" fmla="*/ 2147483647 h 1304"/>
                <a:gd name="T80" fmla="*/ 2147483647 w 2609"/>
                <a:gd name="T81" fmla="*/ 2147483647 h 1304"/>
                <a:gd name="T82" fmla="*/ 2147483647 w 2609"/>
                <a:gd name="T83" fmla="*/ 2147483647 h 1304"/>
                <a:gd name="T84" fmla="*/ 2147483647 w 2609"/>
                <a:gd name="T85" fmla="*/ 2147483647 h 1304"/>
                <a:gd name="T86" fmla="*/ 2147483647 w 2609"/>
                <a:gd name="T87" fmla="*/ 2147483647 h 1304"/>
                <a:gd name="T88" fmla="*/ 2147483647 w 2609"/>
                <a:gd name="T89" fmla="*/ 2147483647 h 1304"/>
                <a:gd name="T90" fmla="*/ 2147483647 w 2609"/>
                <a:gd name="T91" fmla="*/ 2147483647 h 1304"/>
                <a:gd name="T92" fmla="*/ 2147483647 w 2609"/>
                <a:gd name="T93" fmla="*/ 2147483647 h 1304"/>
                <a:gd name="T94" fmla="*/ 2147483647 w 2609"/>
                <a:gd name="T95" fmla="*/ 2147483647 h 1304"/>
                <a:gd name="T96" fmla="*/ 2147483647 w 2609"/>
                <a:gd name="T97" fmla="*/ 2147483647 h 1304"/>
                <a:gd name="T98" fmla="*/ 2147483647 w 2609"/>
                <a:gd name="T99" fmla="*/ 2147483647 h 1304"/>
                <a:gd name="T100" fmla="*/ 2147483647 w 2609"/>
                <a:gd name="T101" fmla="*/ 2147483647 h 1304"/>
                <a:gd name="T102" fmla="*/ 2147483647 w 2609"/>
                <a:gd name="T103" fmla="*/ 2147483647 h 1304"/>
                <a:gd name="T104" fmla="*/ 2147483647 w 2609"/>
                <a:gd name="T105" fmla="*/ 2147483647 h 1304"/>
                <a:gd name="T106" fmla="*/ 2147483647 w 2609"/>
                <a:gd name="T107" fmla="*/ 2147483647 h 1304"/>
                <a:gd name="T108" fmla="*/ 2147483647 w 2609"/>
                <a:gd name="T109" fmla="*/ 2147483647 h 13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09"/>
                <a:gd name="T166" fmla="*/ 0 h 1304"/>
                <a:gd name="T167" fmla="*/ 2609 w 2609"/>
                <a:gd name="T168" fmla="*/ 1304 h 13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51" name="Freeform 25">
              <a:extLst>
                <a:ext uri="{FF2B5EF4-FFF2-40B4-BE49-F238E27FC236}">
                  <a16:creationId xmlns:a16="http://schemas.microsoft.com/office/drawing/2014/main" id="{CD06738C-A319-4C4A-BB90-FA72C26D9333}"/>
                </a:ext>
              </a:extLst>
            </p:cNvPr>
            <p:cNvSpPr>
              <a:spLocks noEditPoints="1"/>
            </p:cNvSpPr>
            <p:nvPr>
              <p:custDataLst>
                <p:tags r:id="rId144"/>
              </p:custDataLst>
            </p:nvPr>
          </p:nvSpPr>
          <p:spPr bwMode="auto">
            <a:xfrm rot="241210">
              <a:off x="1540565" y="2136535"/>
              <a:ext cx="989830" cy="397267"/>
            </a:xfrm>
            <a:custGeom>
              <a:avLst/>
              <a:gdLst>
                <a:gd name="T0" fmla="*/ 2147483647 w 2049"/>
                <a:gd name="T1" fmla="*/ 2147483647 h 886"/>
                <a:gd name="T2" fmla="*/ 2147483647 w 2049"/>
                <a:gd name="T3" fmla="*/ 2147483647 h 886"/>
                <a:gd name="T4" fmla="*/ 2147483647 w 2049"/>
                <a:gd name="T5" fmla="*/ 2147483647 h 886"/>
                <a:gd name="T6" fmla="*/ 2147483647 w 2049"/>
                <a:gd name="T7" fmla="*/ 2147483647 h 886"/>
                <a:gd name="T8" fmla="*/ 2147483647 w 2049"/>
                <a:gd name="T9" fmla="*/ 2147483647 h 886"/>
                <a:gd name="T10" fmla="*/ 2147483647 w 2049"/>
                <a:gd name="T11" fmla="*/ 2147483647 h 886"/>
                <a:gd name="T12" fmla="*/ 2147483647 w 2049"/>
                <a:gd name="T13" fmla="*/ 2147483647 h 886"/>
                <a:gd name="T14" fmla="*/ 2147483647 w 2049"/>
                <a:gd name="T15" fmla="*/ 2147483647 h 886"/>
                <a:gd name="T16" fmla="*/ 2147483647 w 2049"/>
                <a:gd name="T17" fmla="*/ 2147483647 h 886"/>
                <a:gd name="T18" fmla="*/ 2147483647 w 2049"/>
                <a:gd name="T19" fmla="*/ 2147483647 h 886"/>
                <a:gd name="T20" fmla="*/ 2147483647 w 2049"/>
                <a:gd name="T21" fmla="*/ 0 h 886"/>
                <a:gd name="T22" fmla="*/ 2147483647 w 2049"/>
                <a:gd name="T23" fmla="*/ 2147483647 h 886"/>
                <a:gd name="T24" fmla="*/ 2147483647 w 2049"/>
                <a:gd name="T25" fmla="*/ 2147483647 h 886"/>
                <a:gd name="T26" fmla="*/ 2147483647 w 2049"/>
                <a:gd name="T27" fmla="*/ 2147483647 h 886"/>
                <a:gd name="T28" fmla="*/ 2147483647 w 2049"/>
                <a:gd name="T29" fmla="*/ 2147483647 h 886"/>
                <a:gd name="T30" fmla="*/ 2147483647 w 2049"/>
                <a:gd name="T31" fmla="*/ 2147483647 h 886"/>
                <a:gd name="T32" fmla="*/ 2147483647 w 2049"/>
                <a:gd name="T33" fmla="*/ 2147483647 h 886"/>
                <a:gd name="T34" fmla="*/ 2147483647 w 2049"/>
                <a:gd name="T35" fmla="*/ 2147483647 h 886"/>
                <a:gd name="T36" fmla="*/ 2147483647 w 2049"/>
                <a:gd name="T37" fmla="*/ 2147483647 h 886"/>
                <a:gd name="T38" fmla="*/ 2147483647 w 2049"/>
                <a:gd name="T39" fmla="*/ 2147483647 h 886"/>
                <a:gd name="T40" fmla="*/ 2147483647 w 2049"/>
                <a:gd name="T41" fmla="*/ 2147483647 h 886"/>
                <a:gd name="T42" fmla="*/ 2147483647 w 2049"/>
                <a:gd name="T43" fmla="*/ 2147483647 h 886"/>
                <a:gd name="T44" fmla="*/ 2147483647 w 2049"/>
                <a:gd name="T45" fmla="*/ 2147483647 h 886"/>
                <a:gd name="T46" fmla="*/ 2147483647 w 2049"/>
                <a:gd name="T47" fmla="*/ 2147483647 h 886"/>
                <a:gd name="T48" fmla="*/ 2147483647 w 2049"/>
                <a:gd name="T49" fmla="*/ 2147483647 h 886"/>
                <a:gd name="T50" fmla="*/ 2147483647 w 2049"/>
                <a:gd name="T51" fmla="*/ 2147483647 h 886"/>
                <a:gd name="T52" fmla="*/ 2147483647 w 2049"/>
                <a:gd name="T53" fmla="*/ 2147483647 h 886"/>
                <a:gd name="T54" fmla="*/ 2147483647 w 2049"/>
                <a:gd name="T55" fmla="*/ 2147483647 h 886"/>
                <a:gd name="T56" fmla="*/ 2147483647 w 2049"/>
                <a:gd name="T57" fmla="*/ 2147483647 h 886"/>
                <a:gd name="T58" fmla="*/ 2147483647 w 2049"/>
                <a:gd name="T59" fmla="*/ 2147483647 h 886"/>
                <a:gd name="T60" fmla="*/ 2147483647 w 2049"/>
                <a:gd name="T61" fmla="*/ 2147483647 h 886"/>
                <a:gd name="T62" fmla="*/ 2147483647 w 2049"/>
                <a:gd name="T63" fmla="*/ 2147483647 h 886"/>
                <a:gd name="T64" fmla="*/ 2147483647 w 2049"/>
                <a:gd name="T65" fmla="*/ 2147483647 h 886"/>
                <a:gd name="T66" fmla="*/ 2147483647 w 2049"/>
                <a:gd name="T67" fmla="*/ 2147483647 h 886"/>
                <a:gd name="T68" fmla="*/ 2147483647 w 2049"/>
                <a:gd name="T69" fmla="*/ 2147483647 h 886"/>
                <a:gd name="T70" fmla="*/ 2147483647 w 2049"/>
                <a:gd name="T71" fmla="*/ 2147483647 h 886"/>
                <a:gd name="T72" fmla="*/ 2147483647 w 2049"/>
                <a:gd name="T73" fmla="*/ 2147483647 h 886"/>
                <a:gd name="T74" fmla="*/ 2147483647 w 2049"/>
                <a:gd name="T75" fmla="*/ 2147483647 h 886"/>
                <a:gd name="T76" fmla="*/ 2147483647 w 2049"/>
                <a:gd name="T77" fmla="*/ 2147483647 h 886"/>
                <a:gd name="T78" fmla="*/ 2147483647 w 2049"/>
                <a:gd name="T79" fmla="*/ 2147483647 h 886"/>
                <a:gd name="T80" fmla="*/ 2147483647 w 2049"/>
                <a:gd name="T81" fmla="*/ 2147483647 h 886"/>
                <a:gd name="T82" fmla="*/ 2147483647 w 2049"/>
                <a:gd name="T83" fmla="*/ 2147483647 h 886"/>
                <a:gd name="T84" fmla="*/ 2147483647 w 2049"/>
                <a:gd name="T85" fmla="*/ 2147483647 h 886"/>
                <a:gd name="T86" fmla="*/ 2147483647 w 2049"/>
                <a:gd name="T87" fmla="*/ 2147483647 h 886"/>
                <a:gd name="T88" fmla="*/ 2147483647 w 2049"/>
                <a:gd name="T89" fmla="*/ 2147483647 h 886"/>
                <a:gd name="T90" fmla="*/ 2147483647 w 2049"/>
                <a:gd name="T91" fmla="*/ 2147483647 h 886"/>
                <a:gd name="T92" fmla="*/ 2147483647 w 2049"/>
                <a:gd name="T93" fmla="*/ 2147483647 h 886"/>
                <a:gd name="T94" fmla="*/ 2147483647 w 2049"/>
                <a:gd name="T95" fmla="*/ 2147483647 h 886"/>
                <a:gd name="T96" fmla="*/ 2147483647 w 2049"/>
                <a:gd name="T97" fmla="*/ 2147483647 h 886"/>
                <a:gd name="T98" fmla="*/ 2147483647 w 2049"/>
                <a:gd name="T99" fmla="*/ 2147483647 h 886"/>
                <a:gd name="T100" fmla="*/ 2147483647 w 2049"/>
                <a:gd name="T101" fmla="*/ 2147483647 h 886"/>
                <a:gd name="T102" fmla="*/ 2147483647 w 2049"/>
                <a:gd name="T103" fmla="*/ 2147483647 h 886"/>
                <a:gd name="T104" fmla="*/ 2147483647 w 2049"/>
                <a:gd name="T105" fmla="*/ 2147483647 h 886"/>
                <a:gd name="T106" fmla="*/ 2147483647 w 2049"/>
                <a:gd name="T107" fmla="*/ 2147483647 h 886"/>
                <a:gd name="T108" fmla="*/ 2147483647 w 2049"/>
                <a:gd name="T109" fmla="*/ 2147483647 h 886"/>
                <a:gd name="T110" fmla="*/ 2147483647 w 2049"/>
                <a:gd name="T111" fmla="*/ 2147483647 h 886"/>
                <a:gd name="T112" fmla="*/ 2147483647 w 2049"/>
                <a:gd name="T113" fmla="*/ 2147483647 h 8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49"/>
                <a:gd name="T172" fmla="*/ 0 h 886"/>
                <a:gd name="T173" fmla="*/ 2049 w 2049"/>
                <a:gd name="T174" fmla="*/ 886 h 8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52" name="Freeform 26">
              <a:extLst>
                <a:ext uri="{FF2B5EF4-FFF2-40B4-BE49-F238E27FC236}">
                  <a16:creationId xmlns:a16="http://schemas.microsoft.com/office/drawing/2014/main" id="{01B3343E-1A3B-234A-89EB-006AE677AABB}"/>
                </a:ext>
              </a:extLst>
            </p:cNvPr>
            <p:cNvSpPr>
              <a:spLocks/>
            </p:cNvSpPr>
            <p:nvPr>
              <p:custDataLst>
                <p:tags r:id="rId145"/>
              </p:custDataLst>
            </p:nvPr>
          </p:nvSpPr>
          <p:spPr bwMode="auto">
            <a:xfrm rot="1291690">
              <a:off x="9883182" y="5241230"/>
              <a:ext cx="131866" cy="373899"/>
            </a:xfrm>
            <a:custGeom>
              <a:avLst/>
              <a:gdLst>
                <a:gd name="T0" fmla="*/ 2147483647 w 409"/>
                <a:gd name="T1" fmla="*/ 2147483647 h 746"/>
                <a:gd name="T2" fmla="*/ 2147483647 w 409"/>
                <a:gd name="T3" fmla="*/ 2147483647 h 746"/>
                <a:gd name="T4" fmla="*/ 2147483647 w 409"/>
                <a:gd name="T5" fmla="*/ 2147483647 h 746"/>
                <a:gd name="T6" fmla="*/ 2147483647 w 409"/>
                <a:gd name="T7" fmla="*/ 2147483647 h 746"/>
                <a:gd name="T8" fmla="*/ 2147483647 w 409"/>
                <a:gd name="T9" fmla="*/ 2147483647 h 746"/>
                <a:gd name="T10" fmla="*/ 2147483647 w 409"/>
                <a:gd name="T11" fmla="*/ 2147483647 h 746"/>
                <a:gd name="T12" fmla="*/ 2147483647 w 409"/>
                <a:gd name="T13" fmla="*/ 2147483647 h 746"/>
                <a:gd name="T14" fmla="*/ 2147483647 w 409"/>
                <a:gd name="T15" fmla="*/ 2147483647 h 746"/>
                <a:gd name="T16" fmla="*/ 2147483647 w 409"/>
                <a:gd name="T17" fmla="*/ 2147483647 h 746"/>
                <a:gd name="T18" fmla="*/ 2147483647 w 409"/>
                <a:gd name="T19" fmla="*/ 2147483647 h 746"/>
                <a:gd name="T20" fmla="*/ 2147483647 w 409"/>
                <a:gd name="T21" fmla="*/ 2147483647 h 746"/>
                <a:gd name="T22" fmla="*/ 2147483647 w 409"/>
                <a:gd name="T23" fmla="*/ 2147483647 h 746"/>
                <a:gd name="T24" fmla="*/ 2147483647 w 409"/>
                <a:gd name="T25" fmla="*/ 2147483647 h 746"/>
                <a:gd name="T26" fmla="*/ 2147483647 w 409"/>
                <a:gd name="T27" fmla="*/ 2147483647 h 746"/>
                <a:gd name="T28" fmla="*/ 2147483647 w 409"/>
                <a:gd name="T29" fmla="*/ 2147483647 h 746"/>
                <a:gd name="T30" fmla="*/ 2147483647 w 409"/>
                <a:gd name="T31" fmla="*/ 2147483647 h 746"/>
                <a:gd name="T32" fmla="*/ 2147483647 w 409"/>
                <a:gd name="T33" fmla="*/ 2147483647 h 746"/>
                <a:gd name="T34" fmla="*/ 2147483647 w 409"/>
                <a:gd name="T35" fmla="*/ 2147483647 h 746"/>
                <a:gd name="T36" fmla="*/ 2147483647 w 409"/>
                <a:gd name="T37" fmla="*/ 2147483647 h 746"/>
                <a:gd name="T38" fmla="*/ 2147483647 w 409"/>
                <a:gd name="T39" fmla="*/ 0 h 746"/>
                <a:gd name="T40" fmla="*/ 2147483647 w 409"/>
                <a:gd name="T41" fmla="*/ 2147483647 h 746"/>
                <a:gd name="T42" fmla="*/ 2147483647 w 409"/>
                <a:gd name="T43" fmla="*/ 2147483647 h 746"/>
                <a:gd name="T44" fmla="*/ 2147483647 w 409"/>
                <a:gd name="T45" fmla="*/ 2147483647 h 746"/>
                <a:gd name="T46" fmla="*/ 2147483647 w 409"/>
                <a:gd name="T47" fmla="*/ 2147483647 h 746"/>
                <a:gd name="T48" fmla="*/ 2147483647 w 409"/>
                <a:gd name="T49" fmla="*/ 2147483647 h 746"/>
                <a:gd name="T50" fmla="*/ 2147483647 w 409"/>
                <a:gd name="T51" fmla="*/ 2147483647 h 746"/>
                <a:gd name="T52" fmla="*/ 2147483647 w 409"/>
                <a:gd name="T53" fmla="*/ 2147483647 h 746"/>
                <a:gd name="T54" fmla="*/ 2147483647 w 409"/>
                <a:gd name="T55" fmla="*/ 2147483647 h 746"/>
                <a:gd name="T56" fmla="*/ 2147483647 w 409"/>
                <a:gd name="T57" fmla="*/ 2147483647 h 746"/>
                <a:gd name="T58" fmla="*/ 2147483647 w 409"/>
                <a:gd name="T59" fmla="*/ 2147483647 h 746"/>
                <a:gd name="T60" fmla="*/ 2147483647 w 409"/>
                <a:gd name="T61" fmla="*/ 2147483647 h 746"/>
                <a:gd name="T62" fmla="*/ 2147483647 w 409"/>
                <a:gd name="T63" fmla="*/ 2147483647 h 746"/>
                <a:gd name="T64" fmla="*/ 2147483647 w 409"/>
                <a:gd name="T65" fmla="*/ 2147483647 h 746"/>
                <a:gd name="T66" fmla="*/ 2147483647 w 409"/>
                <a:gd name="T67" fmla="*/ 2147483647 h 746"/>
                <a:gd name="T68" fmla="*/ 2147483647 w 409"/>
                <a:gd name="T69" fmla="*/ 2147483647 h 746"/>
                <a:gd name="T70" fmla="*/ 2147483647 w 409"/>
                <a:gd name="T71" fmla="*/ 2147483647 h 746"/>
                <a:gd name="T72" fmla="*/ 2147483647 w 409"/>
                <a:gd name="T73" fmla="*/ 2147483647 h 746"/>
                <a:gd name="T74" fmla="*/ 2147483647 w 409"/>
                <a:gd name="T75" fmla="*/ 2147483647 h 746"/>
                <a:gd name="T76" fmla="*/ 2147483647 w 409"/>
                <a:gd name="T77" fmla="*/ 2147483647 h 746"/>
                <a:gd name="T78" fmla="*/ 2147483647 w 409"/>
                <a:gd name="T79" fmla="*/ 2147483647 h 746"/>
                <a:gd name="T80" fmla="*/ 2147483647 w 409"/>
                <a:gd name="T81" fmla="*/ 2147483647 h 746"/>
                <a:gd name="T82" fmla="*/ 2147483647 w 409"/>
                <a:gd name="T83" fmla="*/ 2147483647 h 746"/>
                <a:gd name="T84" fmla="*/ 2147483647 w 409"/>
                <a:gd name="T85" fmla="*/ 2147483647 h 746"/>
                <a:gd name="T86" fmla="*/ 2147483647 w 409"/>
                <a:gd name="T87" fmla="*/ 2147483647 h 746"/>
                <a:gd name="T88" fmla="*/ 2147483647 w 409"/>
                <a:gd name="T89" fmla="*/ 2147483647 h 7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09"/>
                <a:gd name="T136" fmla="*/ 0 h 746"/>
                <a:gd name="T137" fmla="*/ 409 w 409"/>
                <a:gd name="T138" fmla="*/ 746 h 7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53" name="Freeform 44">
              <a:extLst>
                <a:ext uri="{FF2B5EF4-FFF2-40B4-BE49-F238E27FC236}">
                  <a16:creationId xmlns:a16="http://schemas.microsoft.com/office/drawing/2014/main" id="{A4DB4996-87CD-D94F-B0A2-3B14307F85E0}"/>
                </a:ext>
              </a:extLst>
            </p:cNvPr>
            <p:cNvSpPr>
              <a:spLocks/>
            </p:cNvSpPr>
            <p:nvPr>
              <p:custDataLst>
                <p:tags r:id="rId146"/>
              </p:custDataLst>
            </p:nvPr>
          </p:nvSpPr>
          <p:spPr bwMode="auto">
            <a:xfrm rot="1584270">
              <a:off x="10051770" y="5109363"/>
              <a:ext cx="81792" cy="178604"/>
            </a:xfrm>
            <a:custGeom>
              <a:avLst/>
              <a:gdLst>
                <a:gd name="T0" fmla="*/ 2147483647 w 136"/>
                <a:gd name="T1" fmla="*/ 2147483647 h 228"/>
                <a:gd name="T2" fmla="*/ 2147483647 w 136"/>
                <a:gd name="T3" fmla="*/ 2147483647 h 228"/>
                <a:gd name="T4" fmla="*/ 2147483647 w 136"/>
                <a:gd name="T5" fmla="*/ 2147483647 h 228"/>
                <a:gd name="T6" fmla="*/ 2147483647 w 136"/>
                <a:gd name="T7" fmla="*/ 2147483647 h 228"/>
                <a:gd name="T8" fmla="*/ 2147483647 w 136"/>
                <a:gd name="T9" fmla="*/ 2147483647 h 228"/>
                <a:gd name="T10" fmla="*/ 2147483647 w 136"/>
                <a:gd name="T11" fmla="*/ 2147483647 h 228"/>
                <a:gd name="T12" fmla="*/ 2147483647 w 136"/>
                <a:gd name="T13" fmla="*/ 2147483647 h 228"/>
                <a:gd name="T14" fmla="*/ 2147483647 w 136"/>
                <a:gd name="T15" fmla="*/ 2147483647 h 228"/>
                <a:gd name="T16" fmla="*/ 2147483647 w 136"/>
                <a:gd name="T17" fmla="*/ 2147483647 h 228"/>
                <a:gd name="T18" fmla="*/ 2147483647 w 136"/>
                <a:gd name="T19" fmla="*/ 2147483647 h 228"/>
                <a:gd name="T20" fmla="*/ 2147483647 w 136"/>
                <a:gd name="T21" fmla="*/ 2147483647 h 228"/>
                <a:gd name="T22" fmla="*/ 2147483647 w 136"/>
                <a:gd name="T23" fmla="*/ 2147483647 h 228"/>
                <a:gd name="T24" fmla="*/ 2147483647 w 136"/>
                <a:gd name="T25" fmla="*/ 2147483647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6"/>
                <a:gd name="T40" fmla="*/ 0 h 228"/>
                <a:gd name="T41" fmla="*/ 136 w 136"/>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54" name="Freeform 18">
              <a:extLst>
                <a:ext uri="{FF2B5EF4-FFF2-40B4-BE49-F238E27FC236}">
                  <a16:creationId xmlns:a16="http://schemas.microsoft.com/office/drawing/2014/main" id="{1F1CCACE-6B8A-0946-AD50-8ED755931B19}"/>
                </a:ext>
              </a:extLst>
            </p:cNvPr>
            <p:cNvSpPr>
              <a:spLocks noEditPoints="1"/>
            </p:cNvSpPr>
            <p:nvPr>
              <p:custDataLst>
                <p:tags r:id="rId147"/>
              </p:custDataLst>
            </p:nvPr>
          </p:nvSpPr>
          <p:spPr bwMode="auto">
            <a:xfrm>
              <a:off x="3473483" y="4777193"/>
              <a:ext cx="479056" cy="1135050"/>
            </a:xfrm>
            <a:custGeom>
              <a:avLst/>
              <a:gdLst>
                <a:gd name="T0" fmla="*/ 2147483647 w 771"/>
                <a:gd name="T1" fmla="*/ 2147483647 h 2022"/>
                <a:gd name="T2" fmla="*/ 2147483647 w 771"/>
                <a:gd name="T3" fmla="*/ 2147483647 h 2022"/>
                <a:gd name="T4" fmla="*/ 2147483647 w 771"/>
                <a:gd name="T5" fmla="*/ 2147483647 h 2022"/>
                <a:gd name="T6" fmla="*/ 2147483647 w 771"/>
                <a:gd name="T7" fmla="*/ 2147483647 h 2022"/>
                <a:gd name="T8" fmla="*/ 2147483647 w 771"/>
                <a:gd name="T9" fmla="*/ 2147483647 h 2022"/>
                <a:gd name="T10" fmla="*/ 2147483647 w 771"/>
                <a:gd name="T11" fmla="*/ 2147483647 h 2022"/>
                <a:gd name="T12" fmla="*/ 2147483647 w 771"/>
                <a:gd name="T13" fmla="*/ 2147483647 h 2022"/>
                <a:gd name="T14" fmla="*/ 2147483647 w 771"/>
                <a:gd name="T15" fmla="*/ 2147483647 h 2022"/>
                <a:gd name="T16" fmla="*/ 2147483647 w 771"/>
                <a:gd name="T17" fmla="*/ 2147483647 h 2022"/>
                <a:gd name="T18" fmla="*/ 2147483647 w 771"/>
                <a:gd name="T19" fmla="*/ 2147483647 h 2022"/>
                <a:gd name="T20" fmla="*/ 2147483647 w 771"/>
                <a:gd name="T21" fmla="*/ 2147483647 h 2022"/>
                <a:gd name="T22" fmla="*/ 2147483647 w 771"/>
                <a:gd name="T23" fmla="*/ 2147483647 h 2022"/>
                <a:gd name="T24" fmla="*/ 2147483647 w 771"/>
                <a:gd name="T25" fmla="*/ 2147483647 h 2022"/>
                <a:gd name="T26" fmla="*/ 2147483647 w 771"/>
                <a:gd name="T27" fmla="*/ 2147483647 h 2022"/>
                <a:gd name="T28" fmla="*/ 2147483647 w 771"/>
                <a:gd name="T29" fmla="*/ 2147483647 h 2022"/>
                <a:gd name="T30" fmla="*/ 2147483647 w 771"/>
                <a:gd name="T31" fmla="*/ 2147483647 h 2022"/>
                <a:gd name="T32" fmla="*/ 2147483647 w 771"/>
                <a:gd name="T33" fmla="*/ 2147483647 h 2022"/>
                <a:gd name="T34" fmla="*/ 2147483647 w 771"/>
                <a:gd name="T35" fmla="*/ 2147483647 h 2022"/>
                <a:gd name="T36" fmla="*/ 2147483647 w 771"/>
                <a:gd name="T37" fmla="*/ 2147483647 h 2022"/>
                <a:gd name="T38" fmla="*/ 2147483647 w 771"/>
                <a:gd name="T39" fmla="*/ 2147483647 h 2022"/>
                <a:gd name="T40" fmla="*/ 2147483647 w 771"/>
                <a:gd name="T41" fmla="*/ 2147483647 h 2022"/>
                <a:gd name="T42" fmla="*/ 2147483647 w 771"/>
                <a:gd name="T43" fmla="*/ 2147483647 h 2022"/>
                <a:gd name="T44" fmla="*/ 2147483647 w 771"/>
                <a:gd name="T45" fmla="*/ 2147483647 h 2022"/>
                <a:gd name="T46" fmla="*/ 2147483647 w 771"/>
                <a:gd name="T47" fmla="*/ 2147483647 h 2022"/>
                <a:gd name="T48" fmla="*/ 2147483647 w 771"/>
                <a:gd name="T49" fmla="*/ 2147483647 h 2022"/>
                <a:gd name="T50" fmla="*/ 2147483647 w 771"/>
                <a:gd name="T51" fmla="*/ 2147483647 h 2022"/>
                <a:gd name="T52" fmla="*/ 2147483647 w 771"/>
                <a:gd name="T53" fmla="*/ 2147483647 h 2022"/>
                <a:gd name="T54" fmla="*/ 2147483647 w 771"/>
                <a:gd name="T55" fmla="*/ 2147483647 h 2022"/>
                <a:gd name="T56" fmla="*/ 2147483647 w 771"/>
                <a:gd name="T57" fmla="*/ 2147483647 h 2022"/>
                <a:gd name="T58" fmla="*/ 2147483647 w 771"/>
                <a:gd name="T59" fmla="*/ 2147483647 h 2022"/>
                <a:gd name="T60" fmla="*/ 2147483647 w 771"/>
                <a:gd name="T61" fmla="*/ 2147483647 h 2022"/>
                <a:gd name="T62" fmla="*/ 2147483647 w 771"/>
                <a:gd name="T63" fmla="*/ 2147483647 h 2022"/>
                <a:gd name="T64" fmla="*/ 2147483647 w 771"/>
                <a:gd name="T65" fmla="*/ 2147483647 h 2022"/>
                <a:gd name="T66" fmla="*/ 2147483647 w 771"/>
                <a:gd name="T67" fmla="*/ 2147483647 h 2022"/>
                <a:gd name="T68" fmla="*/ 2147483647 w 771"/>
                <a:gd name="T69" fmla="*/ 2147483647 h 2022"/>
                <a:gd name="T70" fmla="*/ 2147483647 w 771"/>
                <a:gd name="T71" fmla="*/ 2147483647 h 2022"/>
                <a:gd name="T72" fmla="*/ 2147483647 w 771"/>
                <a:gd name="T73" fmla="*/ 2147483647 h 2022"/>
                <a:gd name="T74" fmla="*/ 2147483647 w 771"/>
                <a:gd name="T75" fmla="*/ 2147483647 h 2022"/>
                <a:gd name="T76" fmla="*/ 2147483647 w 771"/>
                <a:gd name="T77" fmla="*/ 2147483647 h 2022"/>
                <a:gd name="T78" fmla="*/ 2147483647 w 771"/>
                <a:gd name="T79" fmla="*/ 2147483647 h 2022"/>
                <a:gd name="T80" fmla="*/ 2147483647 w 771"/>
                <a:gd name="T81" fmla="*/ 2147483647 h 2022"/>
                <a:gd name="T82" fmla="*/ 2147483647 w 771"/>
                <a:gd name="T83" fmla="*/ 2147483647 h 2022"/>
                <a:gd name="T84" fmla="*/ 2147483647 w 771"/>
                <a:gd name="T85" fmla="*/ 2147483647 h 2022"/>
                <a:gd name="T86" fmla="*/ 2147483647 w 771"/>
                <a:gd name="T87" fmla="*/ 2147483647 h 2022"/>
                <a:gd name="T88" fmla="*/ 2147483647 w 771"/>
                <a:gd name="T89" fmla="*/ 2147483647 h 2022"/>
                <a:gd name="T90" fmla="*/ 2147483647 w 771"/>
                <a:gd name="T91" fmla="*/ 2147483647 h 2022"/>
                <a:gd name="T92" fmla="*/ 2147483647 w 771"/>
                <a:gd name="T93" fmla="*/ 2147483647 h 2022"/>
                <a:gd name="T94" fmla="*/ 2147483647 w 771"/>
                <a:gd name="T95" fmla="*/ 2147483647 h 2022"/>
                <a:gd name="T96" fmla="*/ 2147483647 w 771"/>
                <a:gd name="T97" fmla="*/ 2147483647 h 2022"/>
                <a:gd name="T98" fmla="*/ 2147483647 w 771"/>
                <a:gd name="T99" fmla="*/ 2147483647 h 2022"/>
                <a:gd name="T100" fmla="*/ 2147483647 w 771"/>
                <a:gd name="T101" fmla="*/ 2147483647 h 2022"/>
                <a:gd name="T102" fmla="*/ 2147483647 w 771"/>
                <a:gd name="T103" fmla="*/ 2147483647 h 2022"/>
                <a:gd name="T104" fmla="*/ 2147483647 w 771"/>
                <a:gd name="T105" fmla="*/ 2147483647 h 2022"/>
                <a:gd name="T106" fmla="*/ 2147483647 w 771"/>
                <a:gd name="T107" fmla="*/ 2147483647 h 2022"/>
                <a:gd name="T108" fmla="*/ 2147483647 w 771"/>
                <a:gd name="T109" fmla="*/ 2147483647 h 2022"/>
                <a:gd name="T110" fmla="*/ 2147483647 w 771"/>
                <a:gd name="T111" fmla="*/ 2147483647 h 2022"/>
                <a:gd name="T112" fmla="*/ 2147483647 w 771"/>
                <a:gd name="T113" fmla="*/ 2147483647 h 2022"/>
                <a:gd name="T114" fmla="*/ 2147483647 w 771"/>
                <a:gd name="T115" fmla="*/ 2147483647 h 2022"/>
                <a:gd name="T116" fmla="*/ 2147483647 w 771"/>
                <a:gd name="T117" fmla="*/ 2147483647 h 2022"/>
                <a:gd name="T118" fmla="*/ 2147483647 w 771"/>
                <a:gd name="T119" fmla="*/ 2147483647 h 2022"/>
                <a:gd name="T120" fmla="*/ 2147483647 w 771"/>
                <a:gd name="T121" fmla="*/ 2147483647 h 20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71"/>
                <a:gd name="T184" fmla="*/ 0 h 2022"/>
                <a:gd name="T185" fmla="*/ 771 w 771"/>
                <a:gd name="T186" fmla="*/ 2022 h 202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55" name="Freeform 17">
              <a:extLst>
                <a:ext uri="{FF2B5EF4-FFF2-40B4-BE49-F238E27FC236}">
                  <a16:creationId xmlns:a16="http://schemas.microsoft.com/office/drawing/2014/main" id="{9090C11A-4866-1E4C-9C27-B65437C4629E}"/>
                </a:ext>
              </a:extLst>
            </p:cNvPr>
            <p:cNvSpPr>
              <a:spLocks noEditPoints="1"/>
            </p:cNvSpPr>
            <p:nvPr>
              <p:custDataLst>
                <p:tags r:id="rId148"/>
              </p:custDataLst>
            </p:nvPr>
          </p:nvSpPr>
          <p:spPr bwMode="auto">
            <a:xfrm>
              <a:off x="3536912" y="4882352"/>
              <a:ext cx="452349" cy="909709"/>
            </a:xfrm>
            <a:custGeom>
              <a:avLst/>
              <a:gdLst>
                <a:gd name="T0" fmla="*/ 2147483647 w 732"/>
                <a:gd name="T1" fmla="*/ 2147483647 h 1628"/>
                <a:gd name="T2" fmla="*/ 2147483647 w 732"/>
                <a:gd name="T3" fmla="*/ 2147483647 h 1628"/>
                <a:gd name="T4" fmla="*/ 2147483647 w 732"/>
                <a:gd name="T5" fmla="*/ 2147483647 h 1628"/>
                <a:gd name="T6" fmla="*/ 2147483647 w 732"/>
                <a:gd name="T7" fmla="*/ 2147483647 h 1628"/>
                <a:gd name="T8" fmla="*/ 2147483647 w 732"/>
                <a:gd name="T9" fmla="*/ 2147483647 h 1628"/>
                <a:gd name="T10" fmla="*/ 2147483647 w 732"/>
                <a:gd name="T11" fmla="*/ 2147483647 h 1628"/>
                <a:gd name="T12" fmla="*/ 2147483647 w 732"/>
                <a:gd name="T13" fmla="*/ 2147483647 h 1628"/>
                <a:gd name="T14" fmla="*/ 2147483647 w 732"/>
                <a:gd name="T15" fmla="*/ 2147483647 h 1628"/>
                <a:gd name="T16" fmla="*/ 2147483647 w 732"/>
                <a:gd name="T17" fmla="*/ 2147483647 h 1628"/>
                <a:gd name="T18" fmla="*/ 2147483647 w 732"/>
                <a:gd name="T19" fmla="*/ 0 h 1628"/>
                <a:gd name="T20" fmla="*/ 2147483647 w 732"/>
                <a:gd name="T21" fmla="*/ 2147483647 h 1628"/>
                <a:gd name="T22" fmla="*/ 2147483647 w 732"/>
                <a:gd name="T23" fmla="*/ 2147483647 h 1628"/>
                <a:gd name="T24" fmla="*/ 2147483647 w 732"/>
                <a:gd name="T25" fmla="*/ 2147483647 h 1628"/>
                <a:gd name="T26" fmla="*/ 2147483647 w 732"/>
                <a:gd name="T27" fmla="*/ 2147483647 h 1628"/>
                <a:gd name="T28" fmla="*/ 2147483647 w 732"/>
                <a:gd name="T29" fmla="*/ 2147483647 h 1628"/>
                <a:gd name="T30" fmla="*/ 0 w 732"/>
                <a:gd name="T31" fmla="*/ 2147483647 h 1628"/>
                <a:gd name="T32" fmla="*/ 2147483647 w 732"/>
                <a:gd name="T33" fmla="*/ 2147483647 h 1628"/>
                <a:gd name="T34" fmla="*/ 2147483647 w 732"/>
                <a:gd name="T35" fmla="*/ 2147483647 h 1628"/>
                <a:gd name="T36" fmla="*/ 2147483647 w 732"/>
                <a:gd name="T37" fmla="*/ 2147483647 h 1628"/>
                <a:gd name="T38" fmla="*/ 2147483647 w 732"/>
                <a:gd name="T39" fmla="*/ 2147483647 h 1628"/>
                <a:gd name="T40" fmla="*/ 2147483647 w 732"/>
                <a:gd name="T41" fmla="*/ 2147483647 h 1628"/>
                <a:gd name="T42" fmla="*/ 2147483647 w 732"/>
                <a:gd name="T43" fmla="*/ 2147483647 h 1628"/>
                <a:gd name="T44" fmla="*/ 2147483647 w 732"/>
                <a:gd name="T45" fmla="*/ 2147483647 h 1628"/>
                <a:gd name="T46" fmla="*/ 2147483647 w 732"/>
                <a:gd name="T47" fmla="*/ 2147483647 h 1628"/>
                <a:gd name="T48" fmla="*/ 2147483647 w 732"/>
                <a:gd name="T49" fmla="*/ 2147483647 h 1628"/>
                <a:gd name="T50" fmla="*/ 2147483647 w 732"/>
                <a:gd name="T51" fmla="*/ 2147483647 h 1628"/>
                <a:gd name="T52" fmla="*/ 2147483647 w 732"/>
                <a:gd name="T53" fmla="*/ 2147483647 h 1628"/>
                <a:gd name="T54" fmla="*/ 2147483647 w 732"/>
                <a:gd name="T55" fmla="*/ 2147483647 h 1628"/>
                <a:gd name="T56" fmla="*/ 2147483647 w 732"/>
                <a:gd name="T57" fmla="*/ 2147483647 h 1628"/>
                <a:gd name="T58" fmla="*/ 2147483647 w 732"/>
                <a:gd name="T59" fmla="*/ 2147483647 h 1628"/>
                <a:gd name="T60" fmla="*/ 2147483647 w 732"/>
                <a:gd name="T61" fmla="*/ 2147483647 h 1628"/>
                <a:gd name="T62" fmla="*/ 2147483647 w 732"/>
                <a:gd name="T63" fmla="*/ 2147483647 h 1628"/>
                <a:gd name="T64" fmla="*/ 2147483647 w 732"/>
                <a:gd name="T65" fmla="*/ 2147483647 h 1628"/>
                <a:gd name="T66" fmla="*/ 2147483647 w 732"/>
                <a:gd name="T67" fmla="*/ 2147483647 h 1628"/>
                <a:gd name="T68" fmla="*/ 2147483647 w 732"/>
                <a:gd name="T69" fmla="*/ 2147483647 h 1628"/>
                <a:gd name="T70" fmla="*/ 2147483647 w 732"/>
                <a:gd name="T71" fmla="*/ 2147483647 h 1628"/>
                <a:gd name="T72" fmla="*/ 2147483647 w 732"/>
                <a:gd name="T73" fmla="*/ 2147483647 h 1628"/>
                <a:gd name="T74" fmla="*/ 2147483647 w 732"/>
                <a:gd name="T75" fmla="*/ 2147483647 h 1628"/>
                <a:gd name="T76" fmla="*/ 2147483647 w 732"/>
                <a:gd name="T77" fmla="*/ 2147483647 h 1628"/>
                <a:gd name="T78" fmla="*/ 2147483647 w 732"/>
                <a:gd name="T79" fmla="*/ 2147483647 h 1628"/>
                <a:gd name="T80" fmla="*/ 2147483647 w 732"/>
                <a:gd name="T81" fmla="*/ 2147483647 h 1628"/>
                <a:gd name="T82" fmla="*/ 2147483647 w 732"/>
                <a:gd name="T83" fmla="*/ 2147483647 h 1628"/>
                <a:gd name="T84" fmla="*/ 2147483647 w 732"/>
                <a:gd name="T85" fmla="*/ 2147483647 h 1628"/>
                <a:gd name="T86" fmla="*/ 2147483647 w 732"/>
                <a:gd name="T87" fmla="*/ 2147483647 h 1628"/>
                <a:gd name="T88" fmla="*/ 2147483647 w 732"/>
                <a:gd name="T89" fmla="*/ 2147483647 h 1628"/>
                <a:gd name="T90" fmla="*/ 2147483647 w 732"/>
                <a:gd name="T91" fmla="*/ 2147483647 h 1628"/>
                <a:gd name="T92" fmla="*/ 2147483647 w 732"/>
                <a:gd name="T93" fmla="*/ 2147483647 h 1628"/>
                <a:gd name="T94" fmla="*/ 2147483647 w 732"/>
                <a:gd name="T95" fmla="*/ 2147483647 h 1628"/>
                <a:gd name="T96" fmla="*/ 2147483647 w 732"/>
                <a:gd name="T97" fmla="*/ 2147483647 h 1628"/>
                <a:gd name="T98" fmla="*/ 2147483647 w 732"/>
                <a:gd name="T99" fmla="*/ 2147483647 h 1628"/>
                <a:gd name="T100" fmla="*/ 2147483647 w 732"/>
                <a:gd name="T101" fmla="*/ 2147483647 h 1628"/>
                <a:gd name="T102" fmla="*/ 2147483647 w 732"/>
                <a:gd name="T103" fmla="*/ 2147483647 h 1628"/>
                <a:gd name="T104" fmla="*/ 2147483647 w 732"/>
                <a:gd name="T105" fmla="*/ 2147483647 h 1628"/>
                <a:gd name="T106" fmla="*/ 2147483647 w 732"/>
                <a:gd name="T107" fmla="*/ 2147483647 h 1628"/>
                <a:gd name="T108" fmla="*/ 2147483647 w 732"/>
                <a:gd name="T109" fmla="*/ 2147483647 h 1628"/>
                <a:gd name="T110" fmla="*/ 2147483647 w 732"/>
                <a:gd name="T111" fmla="*/ 2147483647 h 1628"/>
                <a:gd name="T112" fmla="*/ 2147483647 w 732"/>
                <a:gd name="T113" fmla="*/ 2147483647 h 1628"/>
                <a:gd name="T114" fmla="*/ 2147483647 w 732"/>
                <a:gd name="T115" fmla="*/ 2147483647 h 16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2"/>
                <a:gd name="T175" fmla="*/ 0 h 1628"/>
                <a:gd name="T176" fmla="*/ 732 w 732"/>
                <a:gd name="T177" fmla="*/ 1628 h 16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56" name="Freeform 27">
              <a:extLst>
                <a:ext uri="{FF2B5EF4-FFF2-40B4-BE49-F238E27FC236}">
                  <a16:creationId xmlns:a16="http://schemas.microsoft.com/office/drawing/2014/main" id="{52B01256-B457-1442-A15B-3FF9E26CAA7E}"/>
                </a:ext>
              </a:extLst>
            </p:cNvPr>
            <p:cNvSpPr>
              <a:spLocks noEditPoints="1"/>
            </p:cNvSpPr>
            <p:nvPr>
              <p:custDataLst>
                <p:tags r:id="rId149"/>
              </p:custDataLst>
            </p:nvPr>
          </p:nvSpPr>
          <p:spPr bwMode="auto">
            <a:xfrm>
              <a:off x="3007780" y="3508609"/>
              <a:ext cx="305461" cy="106828"/>
            </a:xfrm>
            <a:custGeom>
              <a:avLst/>
              <a:gdLst>
                <a:gd name="T0" fmla="*/ 2147483647 w 493"/>
                <a:gd name="T1" fmla="*/ 2147483647 h 185"/>
                <a:gd name="T2" fmla="*/ 2147483647 w 493"/>
                <a:gd name="T3" fmla="*/ 2147483647 h 185"/>
                <a:gd name="T4" fmla="*/ 2147483647 w 493"/>
                <a:gd name="T5" fmla="*/ 2147483647 h 185"/>
                <a:gd name="T6" fmla="*/ 2147483647 w 493"/>
                <a:gd name="T7" fmla="*/ 2147483647 h 185"/>
                <a:gd name="T8" fmla="*/ 2147483647 w 493"/>
                <a:gd name="T9" fmla="*/ 2147483647 h 185"/>
                <a:gd name="T10" fmla="*/ 2147483647 w 493"/>
                <a:gd name="T11" fmla="*/ 2147483647 h 185"/>
                <a:gd name="T12" fmla="*/ 2147483647 w 493"/>
                <a:gd name="T13" fmla="*/ 2147483647 h 185"/>
                <a:gd name="T14" fmla="*/ 2147483647 w 493"/>
                <a:gd name="T15" fmla="*/ 2147483647 h 185"/>
                <a:gd name="T16" fmla="*/ 2147483647 w 493"/>
                <a:gd name="T17" fmla="*/ 2147483647 h 185"/>
                <a:gd name="T18" fmla="*/ 2147483647 w 493"/>
                <a:gd name="T19" fmla="*/ 2147483647 h 185"/>
                <a:gd name="T20" fmla="*/ 2147483647 w 493"/>
                <a:gd name="T21" fmla="*/ 2147483647 h 185"/>
                <a:gd name="T22" fmla="*/ 2147483647 w 493"/>
                <a:gd name="T23" fmla="*/ 2147483647 h 185"/>
                <a:gd name="T24" fmla="*/ 2147483647 w 493"/>
                <a:gd name="T25" fmla="*/ 2147483647 h 185"/>
                <a:gd name="T26" fmla="*/ 2147483647 w 493"/>
                <a:gd name="T27" fmla="*/ 2147483647 h 185"/>
                <a:gd name="T28" fmla="*/ 2147483647 w 493"/>
                <a:gd name="T29" fmla="*/ 0 h 185"/>
                <a:gd name="T30" fmla="*/ 2147483647 w 493"/>
                <a:gd name="T31" fmla="*/ 2147483647 h 185"/>
                <a:gd name="T32" fmla="*/ 0 w 493"/>
                <a:gd name="T33" fmla="*/ 2147483647 h 185"/>
                <a:gd name="T34" fmla="*/ 2147483647 w 493"/>
                <a:gd name="T35" fmla="*/ 2147483647 h 185"/>
                <a:gd name="T36" fmla="*/ 2147483647 w 493"/>
                <a:gd name="T37" fmla="*/ 2147483647 h 185"/>
                <a:gd name="T38" fmla="*/ 2147483647 w 493"/>
                <a:gd name="T39" fmla="*/ 2147483647 h 185"/>
                <a:gd name="T40" fmla="*/ 2147483647 w 493"/>
                <a:gd name="T41" fmla="*/ 2147483647 h 185"/>
                <a:gd name="T42" fmla="*/ 2147483647 w 493"/>
                <a:gd name="T43" fmla="*/ 2147483647 h 185"/>
                <a:gd name="T44" fmla="*/ 2147483647 w 493"/>
                <a:gd name="T45" fmla="*/ 2147483647 h 185"/>
                <a:gd name="T46" fmla="*/ 2147483647 w 493"/>
                <a:gd name="T47" fmla="*/ 2147483647 h 185"/>
                <a:gd name="T48" fmla="*/ 2147483647 w 493"/>
                <a:gd name="T49" fmla="*/ 2147483647 h 185"/>
                <a:gd name="T50" fmla="*/ 2147483647 w 493"/>
                <a:gd name="T51" fmla="*/ 2147483647 h 185"/>
                <a:gd name="T52" fmla="*/ 2147483647 w 493"/>
                <a:gd name="T53" fmla="*/ 2147483647 h 185"/>
                <a:gd name="T54" fmla="*/ 2147483647 w 493"/>
                <a:gd name="T55" fmla="*/ 2147483647 h 185"/>
                <a:gd name="T56" fmla="*/ 2147483647 w 493"/>
                <a:gd name="T57" fmla="*/ 2147483647 h 185"/>
                <a:gd name="T58" fmla="*/ 2147483647 w 493"/>
                <a:gd name="T59" fmla="*/ 2147483647 h 185"/>
                <a:gd name="T60" fmla="*/ 2147483647 w 493"/>
                <a:gd name="T61" fmla="*/ 2147483647 h 185"/>
                <a:gd name="T62" fmla="*/ 2147483647 w 493"/>
                <a:gd name="T63" fmla="*/ 2147483647 h 185"/>
                <a:gd name="T64" fmla="*/ 2147483647 w 493"/>
                <a:gd name="T65" fmla="*/ 2147483647 h 185"/>
                <a:gd name="T66" fmla="*/ 2147483647 w 493"/>
                <a:gd name="T67" fmla="*/ 2147483647 h 185"/>
                <a:gd name="T68" fmla="*/ 2147483647 w 493"/>
                <a:gd name="T69" fmla="*/ 2147483647 h 185"/>
                <a:gd name="T70" fmla="*/ 2147483647 w 493"/>
                <a:gd name="T71" fmla="*/ 2147483647 h 185"/>
                <a:gd name="T72" fmla="*/ 2147483647 w 493"/>
                <a:gd name="T73" fmla="*/ 2147483647 h 185"/>
                <a:gd name="T74" fmla="*/ 2147483647 w 493"/>
                <a:gd name="T75" fmla="*/ 2147483647 h 185"/>
                <a:gd name="T76" fmla="*/ 2147483647 w 493"/>
                <a:gd name="T77" fmla="*/ 2147483647 h 185"/>
                <a:gd name="T78" fmla="*/ 2147483647 w 493"/>
                <a:gd name="T79" fmla="*/ 2147483647 h 185"/>
                <a:gd name="T80" fmla="*/ 2147483647 w 493"/>
                <a:gd name="T81" fmla="*/ 2147483647 h 185"/>
                <a:gd name="T82" fmla="*/ 2147483647 w 493"/>
                <a:gd name="T83" fmla="*/ 2147483647 h 1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3"/>
                <a:gd name="T127" fmla="*/ 0 h 185"/>
                <a:gd name="T128" fmla="*/ 493 w 493"/>
                <a:gd name="T129" fmla="*/ 185 h 1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57" name="Freeform 28">
              <a:extLst>
                <a:ext uri="{FF2B5EF4-FFF2-40B4-BE49-F238E27FC236}">
                  <a16:creationId xmlns:a16="http://schemas.microsoft.com/office/drawing/2014/main" id="{482C2536-21EE-B44B-9BC0-2371AFC1ABE4}"/>
                </a:ext>
              </a:extLst>
            </p:cNvPr>
            <p:cNvSpPr>
              <a:spLocks/>
            </p:cNvSpPr>
            <p:nvPr>
              <p:custDataLst>
                <p:tags r:id="rId150"/>
              </p:custDataLst>
            </p:nvPr>
          </p:nvSpPr>
          <p:spPr bwMode="auto">
            <a:xfrm>
              <a:off x="3174698" y="3653828"/>
              <a:ext cx="66767" cy="23368"/>
            </a:xfrm>
            <a:custGeom>
              <a:avLst/>
              <a:gdLst>
                <a:gd name="T0" fmla="*/ 2147483647 w 108"/>
                <a:gd name="T1" fmla="*/ 2147483647 h 42"/>
                <a:gd name="T2" fmla="*/ 2147483647 w 108"/>
                <a:gd name="T3" fmla="*/ 2147483647 h 42"/>
                <a:gd name="T4" fmla="*/ 2147483647 w 108"/>
                <a:gd name="T5" fmla="*/ 2147483647 h 42"/>
                <a:gd name="T6" fmla="*/ 2147483647 w 108"/>
                <a:gd name="T7" fmla="*/ 2147483647 h 42"/>
                <a:gd name="T8" fmla="*/ 2147483647 w 108"/>
                <a:gd name="T9" fmla="*/ 2147483647 h 42"/>
                <a:gd name="T10" fmla="*/ 2147483647 w 108"/>
                <a:gd name="T11" fmla="*/ 2147483647 h 42"/>
                <a:gd name="T12" fmla="*/ 0 w 108"/>
                <a:gd name="T13" fmla="*/ 2147483647 h 42"/>
                <a:gd name="T14" fmla="*/ 2147483647 w 108"/>
                <a:gd name="T15" fmla="*/ 2147483647 h 42"/>
                <a:gd name="T16" fmla="*/ 2147483647 w 108"/>
                <a:gd name="T17" fmla="*/ 2147483647 h 42"/>
                <a:gd name="T18" fmla="*/ 2147483647 w 108"/>
                <a:gd name="T19" fmla="*/ 2147483647 h 42"/>
                <a:gd name="T20" fmla="*/ 2147483647 w 108"/>
                <a:gd name="T21" fmla="*/ 214748364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8"/>
                <a:gd name="T34" fmla="*/ 0 h 42"/>
                <a:gd name="T35" fmla="*/ 108 w 108"/>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58" name="Freeform 29">
              <a:extLst>
                <a:ext uri="{FF2B5EF4-FFF2-40B4-BE49-F238E27FC236}">
                  <a16:creationId xmlns:a16="http://schemas.microsoft.com/office/drawing/2014/main" id="{2EBA425B-F5C1-674A-B7C3-C4DEC52AD66D}"/>
                </a:ext>
              </a:extLst>
            </p:cNvPr>
            <p:cNvSpPr>
              <a:spLocks/>
            </p:cNvSpPr>
            <p:nvPr>
              <p:custDataLst>
                <p:tags r:id="rId151"/>
              </p:custDataLst>
            </p:nvPr>
          </p:nvSpPr>
          <p:spPr bwMode="auto">
            <a:xfrm>
              <a:off x="3505198" y="3655498"/>
              <a:ext cx="58422" cy="23368"/>
            </a:xfrm>
            <a:custGeom>
              <a:avLst/>
              <a:gdLst>
                <a:gd name="T0" fmla="*/ 2147483647 w 97"/>
                <a:gd name="T1" fmla="*/ 2147483647 h 40"/>
                <a:gd name="T2" fmla="*/ 2147483647 w 97"/>
                <a:gd name="T3" fmla="*/ 0 h 40"/>
                <a:gd name="T4" fmla="*/ 2147483647 w 97"/>
                <a:gd name="T5" fmla="*/ 2147483647 h 40"/>
                <a:gd name="T6" fmla="*/ 2147483647 w 97"/>
                <a:gd name="T7" fmla="*/ 2147483647 h 40"/>
                <a:gd name="T8" fmla="*/ 2147483647 w 97"/>
                <a:gd name="T9" fmla="*/ 2147483647 h 40"/>
                <a:gd name="T10" fmla="*/ 2147483647 w 97"/>
                <a:gd name="T11" fmla="*/ 2147483647 h 40"/>
                <a:gd name="T12" fmla="*/ 2147483647 w 97"/>
                <a:gd name="T13" fmla="*/ 2147483647 h 40"/>
                <a:gd name="T14" fmla="*/ 2147483647 w 97"/>
                <a:gd name="T15" fmla="*/ 2147483647 h 40"/>
                <a:gd name="T16" fmla="*/ 0 60000 65536"/>
                <a:gd name="T17" fmla="*/ 0 60000 65536"/>
                <a:gd name="T18" fmla="*/ 0 60000 65536"/>
                <a:gd name="T19" fmla="*/ 0 60000 65536"/>
                <a:gd name="T20" fmla="*/ 0 60000 65536"/>
                <a:gd name="T21" fmla="*/ 0 60000 65536"/>
                <a:gd name="T22" fmla="*/ 0 60000 65536"/>
                <a:gd name="T23" fmla="*/ 0 60000 65536"/>
                <a:gd name="T24" fmla="*/ 0 w 97"/>
                <a:gd name="T25" fmla="*/ 0 h 40"/>
                <a:gd name="T26" fmla="*/ 97 w 97"/>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59" name="Freeform 31">
              <a:extLst>
                <a:ext uri="{FF2B5EF4-FFF2-40B4-BE49-F238E27FC236}">
                  <a16:creationId xmlns:a16="http://schemas.microsoft.com/office/drawing/2014/main" id="{4911AF68-86F8-2342-9A67-1E670D1CE7DA}"/>
                </a:ext>
              </a:extLst>
            </p:cNvPr>
            <p:cNvSpPr>
              <a:spLocks/>
            </p:cNvSpPr>
            <p:nvPr>
              <p:custDataLst>
                <p:tags r:id="rId152"/>
              </p:custDataLst>
            </p:nvPr>
          </p:nvSpPr>
          <p:spPr bwMode="auto">
            <a:xfrm>
              <a:off x="2817493" y="3777348"/>
              <a:ext cx="71776" cy="38393"/>
            </a:xfrm>
            <a:custGeom>
              <a:avLst/>
              <a:gdLst>
                <a:gd name="T0" fmla="*/ 2147483647 w 117"/>
                <a:gd name="T1" fmla="*/ 2147483647 h 74"/>
                <a:gd name="T2" fmla="*/ 2147483647 w 117"/>
                <a:gd name="T3" fmla="*/ 2147483647 h 74"/>
                <a:gd name="T4" fmla="*/ 2147483647 w 117"/>
                <a:gd name="T5" fmla="*/ 2147483647 h 74"/>
                <a:gd name="T6" fmla="*/ 2147483647 w 117"/>
                <a:gd name="T7" fmla="*/ 2147483647 h 74"/>
                <a:gd name="T8" fmla="*/ 2147483647 w 117"/>
                <a:gd name="T9" fmla="*/ 2147483647 h 74"/>
                <a:gd name="T10" fmla="*/ 2147483647 w 117"/>
                <a:gd name="T11" fmla="*/ 2147483647 h 74"/>
                <a:gd name="T12" fmla="*/ 2147483647 w 117"/>
                <a:gd name="T13" fmla="*/ 0 h 74"/>
                <a:gd name="T14" fmla="*/ 2147483647 w 117"/>
                <a:gd name="T15" fmla="*/ 2147483647 h 74"/>
                <a:gd name="T16" fmla="*/ 2147483647 w 117"/>
                <a:gd name="T17" fmla="*/ 2147483647 h 74"/>
                <a:gd name="T18" fmla="*/ 2147483647 w 117"/>
                <a:gd name="T19" fmla="*/ 2147483647 h 74"/>
                <a:gd name="T20" fmla="*/ 0 w 117"/>
                <a:gd name="T21" fmla="*/ 2147483647 h 74"/>
                <a:gd name="T22" fmla="*/ 2147483647 w 117"/>
                <a:gd name="T23" fmla="*/ 2147483647 h 74"/>
                <a:gd name="T24" fmla="*/ 2147483647 w 117"/>
                <a:gd name="T25" fmla="*/ 2147483647 h 74"/>
                <a:gd name="T26" fmla="*/ 2147483647 w 117"/>
                <a:gd name="T27" fmla="*/ 2147483647 h 74"/>
                <a:gd name="T28" fmla="*/ 2147483647 w 117"/>
                <a:gd name="T29" fmla="*/ 2147483647 h 74"/>
                <a:gd name="T30" fmla="*/ 2147483647 w 117"/>
                <a:gd name="T31" fmla="*/ 2147483647 h 74"/>
                <a:gd name="T32" fmla="*/ 2147483647 w 117"/>
                <a:gd name="T33" fmla="*/ 2147483647 h 74"/>
                <a:gd name="T34" fmla="*/ 2147483647 w 117"/>
                <a:gd name="T35" fmla="*/ 2147483647 h 74"/>
                <a:gd name="T36" fmla="*/ 2147483647 w 117"/>
                <a:gd name="T37" fmla="*/ 2147483647 h 7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7"/>
                <a:gd name="T58" fmla="*/ 0 h 74"/>
                <a:gd name="T59" fmla="*/ 117 w 117"/>
                <a:gd name="T60" fmla="*/ 74 h 7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7" h="74">
                  <a:moveTo>
                    <a:pt x="116" y="57"/>
                  </a:moveTo>
                  <a:cubicBezTo>
                    <a:pt x="115" y="28"/>
                    <a:pt x="115" y="28"/>
                    <a:pt x="115" y="28"/>
                  </a:cubicBezTo>
                  <a:cubicBezTo>
                    <a:pt x="115" y="28"/>
                    <a:pt x="105" y="27"/>
                    <a:pt x="100" y="26"/>
                  </a:cubicBezTo>
                  <a:cubicBezTo>
                    <a:pt x="95" y="25"/>
                    <a:pt x="93" y="30"/>
                    <a:pt x="84" y="32"/>
                  </a:cubicBezTo>
                  <a:cubicBezTo>
                    <a:pt x="75" y="34"/>
                    <a:pt x="76" y="16"/>
                    <a:pt x="76" y="16"/>
                  </a:cubicBezTo>
                  <a:cubicBezTo>
                    <a:pt x="76" y="16"/>
                    <a:pt x="70" y="16"/>
                    <a:pt x="61" y="16"/>
                  </a:cubicBezTo>
                  <a:cubicBezTo>
                    <a:pt x="54" y="16"/>
                    <a:pt x="50" y="5"/>
                    <a:pt x="48" y="0"/>
                  </a:cubicBezTo>
                  <a:cubicBezTo>
                    <a:pt x="41" y="3"/>
                    <a:pt x="33" y="4"/>
                    <a:pt x="33" y="4"/>
                  </a:cubicBezTo>
                  <a:cubicBezTo>
                    <a:pt x="32" y="12"/>
                    <a:pt x="32" y="12"/>
                    <a:pt x="32" y="12"/>
                  </a:cubicBezTo>
                  <a:cubicBezTo>
                    <a:pt x="32" y="12"/>
                    <a:pt x="27" y="22"/>
                    <a:pt x="19" y="24"/>
                  </a:cubicBezTo>
                  <a:cubicBezTo>
                    <a:pt x="13" y="25"/>
                    <a:pt x="5" y="34"/>
                    <a:pt x="0" y="39"/>
                  </a:cubicBezTo>
                  <a:cubicBezTo>
                    <a:pt x="7" y="44"/>
                    <a:pt x="16" y="50"/>
                    <a:pt x="20" y="52"/>
                  </a:cubicBezTo>
                  <a:cubicBezTo>
                    <a:pt x="28" y="55"/>
                    <a:pt x="48" y="53"/>
                    <a:pt x="48" y="53"/>
                  </a:cubicBezTo>
                  <a:cubicBezTo>
                    <a:pt x="64" y="66"/>
                    <a:pt x="64" y="66"/>
                    <a:pt x="64" y="66"/>
                  </a:cubicBezTo>
                  <a:cubicBezTo>
                    <a:pt x="86" y="64"/>
                    <a:pt x="86" y="64"/>
                    <a:pt x="86" y="64"/>
                  </a:cubicBezTo>
                  <a:cubicBezTo>
                    <a:pt x="98" y="74"/>
                    <a:pt x="98" y="74"/>
                    <a:pt x="98" y="74"/>
                  </a:cubicBezTo>
                  <a:cubicBezTo>
                    <a:pt x="110" y="55"/>
                    <a:pt x="110" y="55"/>
                    <a:pt x="110" y="55"/>
                  </a:cubicBezTo>
                  <a:cubicBezTo>
                    <a:pt x="117" y="57"/>
                    <a:pt x="117" y="57"/>
                    <a:pt x="117" y="57"/>
                  </a:cubicBezTo>
                  <a:lnTo>
                    <a:pt x="116" y="57"/>
                  </a:ln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60" name="Freeform 32">
              <a:extLst>
                <a:ext uri="{FF2B5EF4-FFF2-40B4-BE49-F238E27FC236}">
                  <a16:creationId xmlns:a16="http://schemas.microsoft.com/office/drawing/2014/main" id="{EC2C8C91-B01C-0C46-932C-B5BCC9E589A8}"/>
                </a:ext>
              </a:extLst>
            </p:cNvPr>
            <p:cNvSpPr>
              <a:spLocks/>
            </p:cNvSpPr>
            <p:nvPr>
              <p:custDataLst>
                <p:tags r:id="rId153"/>
              </p:custDataLst>
            </p:nvPr>
          </p:nvSpPr>
          <p:spPr bwMode="auto">
            <a:xfrm>
              <a:off x="2855886" y="3653828"/>
              <a:ext cx="43399" cy="76783"/>
            </a:xfrm>
            <a:custGeom>
              <a:avLst/>
              <a:gdLst>
                <a:gd name="T0" fmla="*/ 2147483647 w 72"/>
                <a:gd name="T1" fmla="*/ 2147483647 h 140"/>
                <a:gd name="T2" fmla="*/ 2147483647 w 72"/>
                <a:gd name="T3" fmla="*/ 2147483647 h 140"/>
                <a:gd name="T4" fmla="*/ 2147483647 w 72"/>
                <a:gd name="T5" fmla="*/ 0 h 140"/>
                <a:gd name="T6" fmla="*/ 2147483647 w 72"/>
                <a:gd name="T7" fmla="*/ 2147483647 h 140"/>
                <a:gd name="T8" fmla="*/ 2147483647 w 72"/>
                <a:gd name="T9" fmla="*/ 2147483647 h 140"/>
                <a:gd name="T10" fmla="*/ 2147483647 w 72"/>
                <a:gd name="T11" fmla="*/ 2147483647 h 140"/>
                <a:gd name="T12" fmla="*/ 0 w 72"/>
                <a:gd name="T13" fmla="*/ 2147483647 h 140"/>
                <a:gd name="T14" fmla="*/ 2147483647 w 72"/>
                <a:gd name="T15" fmla="*/ 2147483647 h 140"/>
                <a:gd name="T16" fmla="*/ 2147483647 w 72"/>
                <a:gd name="T17" fmla="*/ 2147483647 h 140"/>
                <a:gd name="T18" fmla="*/ 2147483647 w 72"/>
                <a:gd name="T19" fmla="*/ 2147483647 h 140"/>
                <a:gd name="T20" fmla="*/ 2147483647 w 72"/>
                <a:gd name="T21" fmla="*/ 2147483647 h 140"/>
                <a:gd name="T22" fmla="*/ 2147483647 w 72"/>
                <a:gd name="T23" fmla="*/ 2147483647 h 140"/>
                <a:gd name="T24" fmla="*/ 2147483647 w 72"/>
                <a:gd name="T25" fmla="*/ 2147483647 h 1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140"/>
                <a:gd name="T41" fmla="*/ 72 w 72"/>
                <a:gd name="T42" fmla="*/ 140 h 1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140">
                  <a:moveTo>
                    <a:pt x="72" y="22"/>
                  </a:moveTo>
                  <a:cubicBezTo>
                    <a:pt x="72" y="17"/>
                    <a:pt x="54" y="11"/>
                    <a:pt x="54" y="11"/>
                  </a:cubicBezTo>
                  <a:cubicBezTo>
                    <a:pt x="51" y="0"/>
                    <a:pt x="51" y="0"/>
                    <a:pt x="51" y="0"/>
                  </a:cubicBezTo>
                  <a:cubicBezTo>
                    <a:pt x="51" y="0"/>
                    <a:pt x="44" y="32"/>
                    <a:pt x="33" y="33"/>
                  </a:cubicBezTo>
                  <a:cubicBezTo>
                    <a:pt x="22" y="34"/>
                    <a:pt x="28" y="26"/>
                    <a:pt x="23" y="26"/>
                  </a:cubicBezTo>
                  <a:cubicBezTo>
                    <a:pt x="18" y="26"/>
                    <a:pt x="16" y="36"/>
                    <a:pt x="16" y="36"/>
                  </a:cubicBezTo>
                  <a:cubicBezTo>
                    <a:pt x="0" y="140"/>
                    <a:pt x="0" y="140"/>
                    <a:pt x="0" y="140"/>
                  </a:cubicBezTo>
                  <a:cubicBezTo>
                    <a:pt x="18" y="140"/>
                    <a:pt x="18" y="140"/>
                    <a:pt x="18" y="140"/>
                  </a:cubicBezTo>
                  <a:cubicBezTo>
                    <a:pt x="28" y="114"/>
                    <a:pt x="28" y="114"/>
                    <a:pt x="28" y="114"/>
                  </a:cubicBezTo>
                  <a:cubicBezTo>
                    <a:pt x="39" y="118"/>
                    <a:pt x="39" y="118"/>
                    <a:pt x="39" y="118"/>
                  </a:cubicBezTo>
                  <a:cubicBezTo>
                    <a:pt x="39" y="118"/>
                    <a:pt x="55" y="104"/>
                    <a:pt x="55" y="93"/>
                  </a:cubicBezTo>
                  <a:cubicBezTo>
                    <a:pt x="55" y="82"/>
                    <a:pt x="51" y="70"/>
                    <a:pt x="55" y="60"/>
                  </a:cubicBezTo>
                  <a:cubicBezTo>
                    <a:pt x="59" y="50"/>
                    <a:pt x="72" y="27"/>
                    <a:pt x="72" y="22"/>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61" name="Freeform 33">
              <a:extLst>
                <a:ext uri="{FF2B5EF4-FFF2-40B4-BE49-F238E27FC236}">
                  <a16:creationId xmlns:a16="http://schemas.microsoft.com/office/drawing/2014/main" id="{CF7463F2-775F-E94A-9013-B638093810F3}"/>
                </a:ext>
              </a:extLst>
            </p:cNvPr>
            <p:cNvSpPr>
              <a:spLocks/>
            </p:cNvSpPr>
            <p:nvPr>
              <p:custDataLst>
                <p:tags r:id="rId154"/>
              </p:custDataLst>
            </p:nvPr>
          </p:nvSpPr>
          <p:spPr bwMode="auto">
            <a:xfrm>
              <a:off x="2762410" y="3672190"/>
              <a:ext cx="121850" cy="126859"/>
            </a:xfrm>
            <a:custGeom>
              <a:avLst/>
              <a:gdLst>
                <a:gd name="T0" fmla="*/ 2147483647 w 199"/>
                <a:gd name="T1" fmla="*/ 2147483647 h 222"/>
                <a:gd name="T2" fmla="*/ 2147483647 w 199"/>
                <a:gd name="T3" fmla="*/ 2147483647 h 222"/>
                <a:gd name="T4" fmla="*/ 2147483647 w 199"/>
                <a:gd name="T5" fmla="*/ 2147483647 h 222"/>
                <a:gd name="T6" fmla="*/ 2147483647 w 199"/>
                <a:gd name="T7" fmla="*/ 2147483647 h 222"/>
                <a:gd name="T8" fmla="*/ 2147483647 w 199"/>
                <a:gd name="T9" fmla="*/ 2147483647 h 222"/>
                <a:gd name="T10" fmla="*/ 2147483647 w 199"/>
                <a:gd name="T11" fmla="*/ 0 h 222"/>
                <a:gd name="T12" fmla="*/ 2147483647 w 199"/>
                <a:gd name="T13" fmla="*/ 2147483647 h 222"/>
                <a:gd name="T14" fmla="*/ 2147483647 w 199"/>
                <a:gd name="T15" fmla="*/ 2147483647 h 222"/>
                <a:gd name="T16" fmla="*/ 2147483647 w 199"/>
                <a:gd name="T17" fmla="*/ 2147483647 h 222"/>
                <a:gd name="T18" fmla="*/ 2147483647 w 199"/>
                <a:gd name="T19" fmla="*/ 2147483647 h 222"/>
                <a:gd name="T20" fmla="*/ 2147483647 w 199"/>
                <a:gd name="T21" fmla="*/ 2147483647 h 222"/>
                <a:gd name="T22" fmla="*/ 2147483647 w 199"/>
                <a:gd name="T23" fmla="*/ 2147483647 h 222"/>
                <a:gd name="T24" fmla="*/ 2147483647 w 199"/>
                <a:gd name="T25" fmla="*/ 2147483647 h 222"/>
                <a:gd name="T26" fmla="*/ 2147483647 w 199"/>
                <a:gd name="T27" fmla="*/ 2147483647 h 222"/>
                <a:gd name="T28" fmla="*/ 2147483647 w 199"/>
                <a:gd name="T29" fmla="*/ 2147483647 h 222"/>
                <a:gd name="T30" fmla="*/ 2147483647 w 199"/>
                <a:gd name="T31" fmla="*/ 2147483647 h 222"/>
                <a:gd name="T32" fmla="*/ 2147483647 w 199"/>
                <a:gd name="T33" fmla="*/ 2147483647 h 222"/>
                <a:gd name="T34" fmla="*/ 2147483647 w 199"/>
                <a:gd name="T35" fmla="*/ 2147483647 h 222"/>
                <a:gd name="T36" fmla="*/ 0 w 199"/>
                <a:gd name="T37" fmla="*/ 2147483647 h 222"/>
                <a:gd name="T38" fmla="*/ 2147483647 w 199"/>
                <a:gd name="T39" fmla="*/ 2147483647 h 222"/>
                <a:gd name="T40" fmla="*/ 2147483647 w 199"/>
                <a:gd name="T41" fmla="*/ 2147483647 h 222"/>
                <a:gd name="T42" fmla="*/ 2147483647 w 199"/>
                <a:gd name="T43" fmla="*/ 2147483647 h 222"/>
                <a:gd name="T44" fmla="*/ 2147483647 w 199"/>
                <a:gd name="T45" fmla="*/ 2147483647 h 222"/>
                <a:gd name="T46" fmla="*/ 2147483647 w 199"/>
                <a:gd name="T47" fmla="*/ 2147483647 h 222"/>
                <a:gd name="T48" fmla="*/ 2147483647 w 199"/>
                <a:gd name="T49" fmla="*/ 2147483647 h 222"/>
                <a:gd name="T50" fmla="*/ 2147483647 w 199"/>
                <a:gd name="T51" fmla="*/ 2147483647 h 222"/>
                <a:gd name="T52" fmla="*/ 2147483647 w 199"/>
                <a:gd name="T53" fmla="*/ 2147483647 h 222"/>
                <a:gd name="T54" fmla="*/ 2147483647 w 199"/>
                <a:gd name="T55" fmla="*/ 2147483647 h 222"/>
                <a:gd name="T56" fmla="*/ 2147483647 w 199"/>
                <a:gd name="T57" fmla="*/ 2147483647 h 222"/>
                <a:gd name="T58" fmla="*/ 2147483647 w 199"/>
                <a:gd name="T59" fmla="*/ 2147483647 h 222"/>
                <a:gd name="T60" fmla="*/ 2147483647 w 199"/>
                <a:gd name="T61" fmla="*/ 2147483647 h 22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99"/>
                <a:gd name="T94" fmla="*/ 0 h 222"/>
                <a:gd name="T95" fmla="*/ 199 w 199"/>
                <a:gd name="T96" fmla="*/ 222 h 22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99" h="222">
                  <a:moveTo>
                    <a:pt x="190" y="103"/>
                  </a:moveTo>
                  <a:cubicBezTo>
                    <a:pt x="179" y="110"/>
                    <a:pt x="179" y="110"/>
                    <a:pt x="179" y="110"/>
                  </a:cubicBezTo>
                  <a:cubicBezTo>
                    <a:pt x="170" y="105"/>
                    <a:pt x="170" y="105"/>
                    <a:pt x="170" y="105"/>
                  </a:cubicBezTo>
                  <a:cubicBezTo>
                    <a:pt x="152" y="105"/>
                    <a:pt x="152" y="105"/>
                    <a:pt x="152" y="105"/>
                  </a:cubicBezTo>
                  <a:cubicBezTo>
                    <a:pt x="168" y="1"/>
                    <a:pt x="168" y="1"/>
                    <a:pt x="168" y="1"/>
                  </a:cubicBezTo>
                  <a:cubicBezTo>
                    <a:pt x="81" y="0"/>
                    <a:pt x="81" y="0"/>
                    <a:pt x="81" y="0"/>
                  </a:cubicBezTo>
                  <a:cubicBezTo>
                    <a:pt x="81" y="0"/>
                    <a:pt x="84" y="24"/>
                    <a:pt x="82" y="30"/>
                  </a:cubicBezTo>
                  <a:cubicBezTo>
                    <a:pt x="80" y="36"/>
                    <a:pt x="54" y="34"/>
                    <a:pt x="54" y="34"/>
                  </a:cubicBezTo>
                  <a:cubicBezTo>
                    <a:pt x="64" y="38"/>
                    <a:pt x="64" y="38"/>
                    <a:pt x="64" y="38"/>
                  </a:cubicBezTo>
                  <a:cubicBezTo>
                    <a:pt x="64" y="38"/>
                    <a:pt x="65" y="54"/>
                    <a:pt x="75" y="56"/>
                  </a:cubicBezTo>
                  <a:cubicBezTo>
                    <a:pt x="85" y="58"/>
                    <a:pt x="87" y="57"/>
                    <a:pt x="87" y="57"/>
                  </a:cubicBezTo>
                  <a:cubicBezTo>
                    <a:pt x="91" y="73"/>
                    <a:pt x="91" y="73"/>
                    <a:pt x="91" y="73"/>
                  </a:cubicBezTo>
                  <a:cubicBezTo>
                    <a:pt x="91" y="73"/>
                    <a:pt x="103" y="69"/>
                    <a:pt x="103" y="79"/>
                  </a:cubicBezTo>
                  <a:cubicBezTo>
                    <a:pt x="103" y="89"/>
                    <a:pt x="94" y="86"/>
                    <a:pt x="94" y="86"/>
                  </a:cubicBezTo>
                  <a:cubicBezTo>
                    <a:pt x="94" y="97"/>
                    <a:pt x="94" y="97"/>
                    <a:pt x="94" y="97"/>
                  </a:cubicBezTo>
                  <a:cubicBezTo>
                    <a:pt x="35" y="96"/>
                    <a:pt x="35" y="96"/>
                    <a:pt x="35" y="96"/>
                  </a:cubicBezTo>
                  <a:cubicBezTo>
                    <a:pt x="14" y="127"/>
                    <a:pt x="14" y="127"/>
                    <a:pt x="14" y="127"/>
                  </a:cubicBezTo>
                  <a:cubicBezTo>
                    <a:pt x="14" y="127"/>
                    <a:pt x="14" y="149"/>
                    <a:pt x="14" y="165"/>
                  </a:cubicBezTo>
                  <a:cubicBezTo>
                    <a:pt x="14" y="181"/>
                    <a:pt x="0" y="179"/>
                    <a:pt x="0" y="179"/>
                  </a:cubicBezTo>
                  <a:cubicBezTo>
                    <a:pt x="3" y="185"/>
                    <a:pt x="7" y="189"/>
                    <a:pt x="14" y="192"/>
                  </a:cubicBezTo>
                  <a:cubicBezTo>
                    <a:pt x="33" y="199"/>
                    <a:pt x="36" y="209"/>
                    <a:pt x="47" y="213"/>
                  </a:cubicBezTo>
                  <a:cubicBezTo>
                    <a:pt x="58" y="217"/>
                    <a:pt x="80" y="213"/>
                    <a:pt x="80" y="213"/>
                  </a:cubicBezTo>
                  <a:cubicBezTo>
                    <a:pt x="80" y="213"/>
                    <a:pt x="86" y="217"/>
                    <a:pt x="92" y="222"/>
                  </a:cubicBezTo>
                  <a:cubicBezTo>
                    <a:pt x="97" y="217"/>
                    <a:pt x="105" y="208"/>
                    <a:pt x="111" y="207"/>
                  </a:cubicBezTo>
                  <a:cubicBezTo>
                    <a:pt x="119" y="205"/>
                    <a:pt x="124" y="195"/>
                    <a:pt x="124" y="195"/>
                  </a:cubicBezTo>
                  <a:cubicBezTo>
                    <a:pt x="125" y="187"/>
                    <a:pt x="125" y="187"/>
                    <a:pt x="125" y="187"/>
                  </a:cubicBezTo>
                  <a:cubicBezTo>
                    <a:pt x="125" y="187"/>
                    <a:pt x="146" y="185"/>
                    <a:pt x="149" y="176"/>
                  </a:cubicBezTo>
                  <a:cubicBezTo>
                    <a:pt x="152" y="167"/>
                    <a:pt x="151" y="155"/>
                    <a:pt x="151" y="155"/>
                  </a:cubicBezTo>
                  <a:cubicBezTo>
                    <a:pt x="151" y="155"/>
                    <a:pt x="164" y="139"/>
                    <a:pt x="179" y="131"/>
                  </a:cubicBezTo>
                  <a:cubicBezTo>
                    <a:pt x="194" y="123"/>
                    <a:pt x="199" y="112"/>
                    <a:pt x="199" y="112"/>
                  </a:cubicBezTo>
                  <a:lnTo>
                    <a:pt x="190" y="103"/>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62" name="Freeform 34">
              <a:extLst>
                <a:ext uri="{FF2B5EF4-FFF2-40B4-BE49-F238E27FC236}">
                  <a16:creationId xmlns:a16="http://schemas.microsoft.com/office/drawing/2014/main" id="{BC7CE194-976D-6547-8107-2EE04476C983}"/>
                </a:ext>
              </a:extLst>
            </p:cNvPr>
            <p:cNvSpPr>
              <a:spLocks/>
            </p:cNvSpPr>
            <p:nvPr>
              <p:custDataLst>
                <p:tags r:id="rId155"/>
              </p:custDataLst>
            </p:nvPr>
          </p:nvSpPr>
          <p:spPr bwMode="auto">
            <a:xfrm>
              <a:off x="2184872" y="3226515"/>
              <a:ext cx="771164" cy="549165"/>
            </a:xfrm>
            <a:custGeom>
              <a:avLst/>
              <a:gdLst>
                <a:gd name="T0" fmla="*/ 2147483647 w 1247"/>
                <a:gd name="T1" fmla="*/ 2147483647 h 976"/>
                <a:gd name="T2" fmla="*/ 2147483647 w 1247"/>
                <a:gd name="T3" fmla="*/ 2147483647 h 976"/>
                <a:gd name="T4" fmla="*/ 2147483647 w 1247"/>
                <a:gd name="T5" fmla="*/ 2147483647 h 976"/>
                <a:gd name="T6" fmla="*/ 2147483647 w 1247"/>
                <a:gd name="T7" fmla="*/ 2147483647 h 976"/>
                <a:gd name="T8" fmla="*/ 2147483647 w 1247"/>
                <a:gd name="T9" fmla="*/ 2147483647 h 976"/>
                <a:gd name="T10" fmla="*/ 2147483647 w 1247"/>
                <a:gd name="T11" fmla="*/ 2147483647 h 976"/>
                <a:gd name="T12" fmla="*/ 2147483647 w 1247"/>
                <a:gd name="T13" fmla="*/ 2147483647 h 976"/>
                <a:gd name="T14" fmla="*/ 2147483647 w 1247"/>
                <a:gd name="T15" fmla="*/ 2147483647 h 976"/>
                <a:gd name="T16" fmla="*/ 2147483647 w 1247"/>
                <a:gd name="T17" fmla="*/ 2147483647 h 976"/>
                <a:gd name="T18" fmla="*/ 2147483647 w 1247"/>
                <a:gd name="T19" fmla="*/ 2147483647 h 976"/>
                <a:gd name="T20" fmla="*/ 2147483647 w 1247"/>
                <a:gd name="T21" fmla="*/ 2147483647 h 976"/>
                <a:gd name="T22" fmla="*/ 2147483647 w 1247"/>
                <a:gd name="T23" fmla="*/ 2147483647 h 976"/>
                <a:gd name="T24" fmla="*/ 2147483647 w 1247"/>
                <a:gd name="T25" fmla="*/ 2147483647 h 976"/>
                <a:gd name="T26" fmla="*/ 2147483647 w 1247"/>
                <a:gd name="T27" fmla="*/ 2147483647 h 976"/>
                <a:gd name="T28" fmla="*/ 2147483647 w 1247"/>
                <a:gd name="T29" fmla="*/ 2147483647 h 976"/>
                <a:gd name="T30" fmla="*/ 2147483647 w 1247"/>
                <a:gd name="T31" fmla="*/ 2147483647 h 976"/>
                <a:gd name="T32" fmla="*/ 2147483647 w 1247"/>
                <a:gd name="T33" fmla="*/ 2147483647 h 976"/>
                <a:gd name="T34" fmla="*/ 2147483647 w 1247"/>
                <a:gd name="T35" fmla="*/ 2147483647 h 976"/>
                <a:gd name="T36" fmla="*/ 2147483647 w 1247"/>
                <a:gd name="T37" fmla="*/ 2147483647 h 976"/>
                <a:gd name="T38" fmla="*/ 2147483647 w 1247"/>
                <a:gd name="T39" fmla="*/ 2147483647 h 976"/>
                <a:gd name="T40" fmla="*/ 2147483647 w 1247"/>
                <a:gd name="T41" fmla="*/ 2147483647 h 976"/>
                <a:gd name="T42" fmla="*/ 2147483647 w 1247"/>
                <a:gd name="T43" fmla="*/ 2147483647 h 976"/>
                <a:gd name="T44" fmla="*/ 2147483647 w 1247"/>
                <a:gd name="T45" fmla="*/ 2147483647 h 976"/>
                <a:gd name="T46" fmla="*/ 2147483647 w 1247"/>
                <a:gd name="T47" fmla="*/ 2147483647 h 976"/>
                <a:gd name="T48" fmla="*/ 2147483647 w 1247"/>
                <a:gd name="T49" fmla="*/ 2147483647 h 976"/>
                <a:gd name="T50" fmla="*/ 2147483647 w 1247"/>
                <a:gd name="T51" fmla="*/ 2147483647 h 976"/>
                <a:gd name="T52" fmla="*/ 2147483647 w 1247"/>
                <a:gd name="T53" fmla="*/ 2147483647 h 976"/>
                <a:gd name="T54" fmla="*/ 2147483647 w 1247"/>
                <a:gd name="T55" fmla="*/ 2147483647 h 976"/>
                <a:gd name="T56" fmla="*/ 2147483647 w 1247"/>
                <a:gd name="T57" fmla="*/ 2147483647 h 976"/>
                <a:gd name="T58" fmla="*/ 2147483647 w 1247"/>
                <a:gd name="T59" fmla="*/ 2147483647 h 976"/>
                <a:gd name="T60" fmla="*/ 2147483647 w 1247"/>
                <a:gd name="T61" fmla="*/ 0 h 976"/>
                <a:gd name="T62" fmla="*/ 0 w 1247"/>
                <a:gd name="T63" fmla="*/ 2147483647 h 976"/>
                <a:gd name="T64" fmla="*/ 2147483647 w 1247"/>
                <a:gd name="T65" fmla="*/ 2147483647 h 976"/>
                <a:gd name="T66" fmla="*/ 2147483647 w 1247"/>
                <a:gd name="T67" fmla="*/ 2147483647 h 976"/>
                <a:gd name="T68" fmla="*/ 2147483647 w 1247"/>
                <a:gd name="T69" fmla="*/ 2147483647 h 976"/>
                <a:gd name="T70" fmla="*/ 2147483647 w 1247"/>
                <a:gd name="T71" fmla="*/ 2147483647 h 976"/>
                <a:gd name="T72" fmla="*/ 2147483647 w 1247"/>
                <a:gd name="T73" fmla="*/ 2147483647 h 976"/>
                <a:gd name="T74" fmla="*/ 2147483647 w 1247"/>
                <a:gd name="T75" fmla="*/ 2147483647 h 976"/>
                <a:gd name="T76" fmla="*/ 2147483647 w 1247"/>
                <a:gd name="T77" fmla="*/ 2147483647 h 976"/>
                <a:gd name="T78" fmla="*/ 2147483647 w 1247"/>
                <a:gd name="T79" fmla="*/ 2147483647 h 976"/>
                <a:gd name="T80" fmla="*/ 2147483647 w 1247"/>
                <a:gd name="T81" fmla="*/ 2147483647 h 976"/>
                <a:gd name="T82" fmla="*/ 2147483647 w 1247"/>
                <a:gd name="T83" fmla="*/ 2147483647 h 976"/>
                <a:gd name="T84" fmla="*/ 2147483647 w 1247"/>
                <a:gd name="T85" fmla="*/ 2147483647 h 976"/>
                <a:gd name="T86" fmla="*/ 2147483647 w 1247"/>
                <a:gd name="T87" fmla="*/ 2147483647 h 976"/>
                <a:gd name="T88" fmla="*/ 2147483647 w 1247"/>
                <a:gd name="T89" fmla="*/ 2147483647 h 976"/>
                <a:gd name="T90" fmla="*/ 2147483647 w 1247"/>
                <a:gd name="T91" fmla="*/ 2147483647 h 976"/>
                <a:gd name="T92" fmla="*/ 2147483647 w 1247"/>
                <a:gd name="T93" fmla="*/ 2147483647 h 976"/>
                <a:gd name="T94" fmla="*/ 2147483647 w 1247"/>
                <a:gd name="T95" fmla="*/ 2147483647 h 976"/>
                <a:gd name="T96" fmla="*/ 2147483647 w 1247"/>
                <a:gd name="T97" fmla="*/ 2147483647 h 976"/>
                <a:gd name="T98" fmla="*/ 2147483647 w 1247"/>
                <a:gd name="T99" fmla="*/ 2147483647 h 976"/>
                <a:gd name="T100" fmla="*/ 2147483647 w 1247"/>
                <a:gd name="T101" fmla="*/ 2147483647 h 976"/>
                <a:gd name="T102" fmla="*/ 2147483647 w 1247"/>
                <a:gd name="T103" fmla="*/ 2147483647 h 976"/>
                <a:gd name="T104" fmla="*/ 2147483647 w 1247"/>
                <a:gd name="T105" fmla="*/ 2147483647 h 976"/>
                <a:gd name="T106" fmla="*/ 2147483647 w 1247"/>
                <a:gd name="T107" fmla="*/ 2147483647 h 976"/>
                <a:gd name="T108" fmla="*/ 2147483647 w 1247"/>
                <a:gd name="T109" fmla="*/ 2147483647 h 976"/>
                <a:gd name="T110" fmla="*/ 2147483647 w 1247"/>
                <a:gd name="T111" fmla="*/ 2147483647 h 976"/>
                <a:gd name="T112" fmla="*/ 2147483647 w 1247"/>
                <a:gd name="T113" fmla="*/ 2147483647 h 976"/>
                <a:gd name="T114" fmla="*/ 2147483647 w 1247"/>
                <a:gd name="T115" fmla="*/ 2147483647 h 976"/>
                <a:gd name="T116" fmla="*/ 2147483647 w 1247"/>
                <a:gd name="T117" fmla="*/ 2147483647 h 976"/>
                <a:gd name="T118" fmla="*/ 2147483647 w 1247"/>
                <a:gd name="T119" fmla="*/ 2147483647 h 976"/>
                <a:gd name="T120" fmla="*/ 2147483647 w 1247"/>
                <a:gd name="T121" fmla="*/ 2147483647 h 9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7"/>
                <a:gd name="T184" fmla="*/ 0 h 976"/>
                <a:gd name="T185" fmla="*/ 1247 w 1247"/>
                <a:gd name="T186" fmla="*/ 976 h 9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63" name="Freeform 35">
              <a:extLst>
                <a:ext uri="{FF2B5EF4-FFF2-40B4-BE49-F238E27FC236}">
                  <a16:creationId xmlns:a16="http://schemas.microsoft.com/office/drawing/2014/main" id="{81F9C8B6-4027-D048-9A5A-986085B50AE7}"/>
                </a:ext>
              </a:extLst>
            </p:cNvPr>
            <p:cNvSpPr>
              <a:spLocks/>
            </p:cNvSpPr>
            <p:nvPr>
              <p:custDataLst>
                <p:tags r:id="rId156"/>
              </p:custDataLst>
            </p:nvPr>
          </p:nvSpPr>
          <p:spPr bwMode="auto">
            <a:xfrm>
              <a:off x="2849209" y="3727273"/>
              <a:ext cx="183611" cy="93475"/>
            </a:xfrm>
            <a:custGeom>
              <a:avLst/>
              <a:gdLst>
                <a:gd name="T0" fmla="*/ 2147483647 w 296"/>
                <a:gd name="T1" fmla="*/ 2147483647 h 166"/>
                <a:gd name="T2" fmla="*/ 2147483647 w 296"/>
                <a:gd name="T3" fmla="*/ 2147483647 h 166"/>
                <a:gd name="T4" fmla="*/ 2147483647 w 296"/>
                <a:gd name="T5" fmla="*/ 2147483647 h 166"/>
                <a:gd name="T6" fmla="*/ 2147483647 w 296"/>
                <a:gd name="T7" fmla="*/ 2147483647 h 166"/>
                <a:gd name="T8" fmla="*/ 2147483647 w 296"/>
                <a:gd name="T9" fmla="*/ 2147483647 h 166"/>
                <a:gd name="T10" fmla="*/ 2147483647 w 296"/>
                <a:gd name="T11" fmla="*/ 2147483647 h 166"/>
                <a:gd name="T12" fmla="*/ 2147483647 w 296"/>
                <a:gd name="T13" fmla="*/ 2147483647 h 166"/>
                <a:gd name="T14" fmla="*/ 2147483647 w 296"/>
                <a:gd name="T15" fmla="*/ 2147483647 h 166"/>
                <a:gd name="T16" fmla="*/ 2147483647 w 296"/>
                <a:gd name="T17" fmla="*/ 2147483647 h 166"/>
                <a:gd name="T18" fmla="*/ 2147483647 w 296"/>
                <a:gd name="T19" fmla="*/ 2147483647 h 166"/>
                <a:gd name="T20" fmla="*/ 2147483647 w 296"/>
                <a:gd name="T21" fmla="*/ 2147483647 h 166"/>
                <a:gd name="T22" fmla="*/ 2147483647 w 296"/>
                <a:gd name="T23" fmla="*/ 2147483647 h 166"/>
                <a:gd name="T24" fmla="*/ 2147483647 w 296"/>
                <a:gd name="T25" fmla="*/ 2147483647 h 166"/>
                <a:gd name="T26" fmla="*/ 2147483647 w 296"/>
                <a:gd name="T27" fmla="*/ 2147483647 h 166"/>
                <a:gd name="T28" fmla="*/ 2147483647 w 296"/>
                <a:gd name="T29" fmla="*/ 2147483647 h 166"/>
                <a:gd name="T30" fmla="*/ 2147483647 w 296"/>
                <a:gd name="T31" fmla="*/ 2147483647 h 166"/>
                <a:gd name="T32" fmla="*/ 2147483647 w 296"/>
                <a:gd name="T33" fmla="*/ 2147483647 h 166"/>
                <a:gd name="T34" fmla="*/ 2147483647 w 296"/>
                <a:gd name="T35" fmla="*/ 2147483647 h 166"/>
                <a:gd name="T36" fmla="*/ 2147483647 w 296"/>
                <a:gd name="T37" fmla="*/ 2147483647 h 166"/>
                <a:gd name="T38" fmla="*/ 2147483647 w 296"/>
                <a:gd name="T39" fmla="*/ 2147483647 h 166"/>
                <a:gd name="T40" fmla="*/ 2147483647 w 296"/>
                <a:gd name="T41" fmla="*/ 2147483647 h 166"/>
                <a:gd name="T42" fmla="*/ 2147483647 w 296"/>
                <a:gd name="T43" fmla="*/ 2147483647 h 166"/>
                <a:gd name="T44" fmla="*/ 2147483647 w 296"/>
                <a:gd name="T45" fmla="*/ 0 h 166"/>
                <a:gd name="T46" fmla="*/ 2147483647 w 296"/>
                <a:gd name="T47" fmla="*/ 2147483647 h 166"/>
                <a:gd name="T48" fmla="*/ 2147483647 w 296"/>
                <a:gd name="T49" fmla="*/ 2147483647 h 166"/>
                <a:gd name="T50" fmla="*/ 2147483647 w 296"/>
                <a:gd name="T51" fmla="*/ 2147483647 h 166"/>
                <a:gd name="T52" fmla="*/ 2147483647 w 296"/>
                <a:gd name="T53" fmla="*/ 2147483647 h 166"/>
                <a:gd name="T54" fmla="*/ 2147483647 w 296"/>
                <a:gd name="T55" fmla="*/ 2147483647 h 166"/>
                <a:gd name="T56" fmla="*/ 2147483647 w 296"/>
                <a:gd name="T57" fmla="*/ 2147483647 h 166"/>
                <a:gd name="T58" fmla="*/ 2147483647 w 296"/>
                <a:gd name="T59" fmla="*/ 2147483647 h 166"/>
                <a:gd name="T60" fmla="*/ 2147483647 w 296"/>
                <a:gd name="T61" fmla="*/ 2147483647 h 166"/>
                <a:gd name="T62" fmla="*/ 2147483647 w 296"/>
                <a:gd name="T63" fmla="*/ 2147483647 h 166"/>
                <a:gd name="T64" fmla="*/ 0 w 296"/>
                <a:gd name="T65" fmla="*/ 2147483647 h 166"/>
                <a:gd name="T66" fmla="*/ 2147483647 w 296"/>
                <a:gd name="T67" fmla="*/ 2147483647 h 166"/>
                <a:gd name="T68" fmla="*/ 2147483647 w 296"/>
                <a:gd name="T69" fmla="*/ 2147483647 h 166"/>
                <a:gd name="T70" fmla="*/ 2147483647 w 296"/>
                <a:gd name="T71" fmla="*/ 2147483647 h 166"/>
                <a:gd name="T72" fmla="*/ 2147483647 w 296"/>
                <a:gd name="T73" fmla="*/ 2147483647 h 166"/>
                <a:gd name="T74" fmla="*/ 2147483647 w 296"/>
                <a:gd name="T75" fmla="*/ 2147483647 h 166"/>
                <a:gd name="T76" fmla="*/ 2147483647 w 296"/>
                <a:gd name="T77" fmla="*/ 2147483647 h 166"/>
                <a:gd name="T78" fmla="*/ 2147483647 w 296"/>
                <a:gd name="T79" fmla="*/ 2147483647 h 166"/>
                <a:gd name="T80" fmla="*/ 2147483647 w 296"/>
                <a:gd name="T81" fmla="*/ 2147483647 h 166"/>
                <a:gd name="T82" fmla="*/ 2147483647 w 296"/>
                <a:gd name="T83" fmla="*/ 2147483647 h 16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6"/>
                <a:gd name="T127" fmla="*/ 0 h 166"/>
                <a:gd name="T128" fmla="*/ 296 w 296"/>
                <a:gd name="T129" fmla="*/ 166 h 16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64" name="Freeform 37">
              <a:extLst>
                <a:ext uri="{FF2B5EF4-FFF2-40B4-BE49-F238E27FC236}">
                  <a16:creationId xmlns:a16="http://schemas.microsoft.com/office/drawing/2014/main" id="{AD8D6845-065A-764E-B271-9675A3F76CCC}"/>
                </a:ext>
              </a:extLst>
            </p:cNvPr>
            <p:cNvSpPr>
              <a:spLocks/>
            </p:cNvSpPr>
            <p:nvPr>
              <p:custDataLst>
                <p:tags r:id="rId157"/>
              </p:custDataLst>
            </p:nvPr>
          </p:nvSpPr>
          <p:spPr bwMode="auto">
            <a:xfrm>
              <a:off x="3643740" y="3955952"/>
              <a:ext cx="138541" cy="218664"/>
            </a:xfrm>
            <a:custGeom>
              <a:avLst/>
              <a:gdLst>
                <a:gd name="T0" fmla="*/ 2147483647 w 225"/>
                <a:gd name="T1" fmla="*/ 2147483647 h 388"/>
                <a:gd name="T2" fmla="*/ 2147483647 w 225"/>
                <a:gd name="T3" fmla="*/ 2147483647 h 388"/>
                <a:gd name="T4" fmla="*/ 2147483647 w 225"/>
                <a:gd name="T5" fmla="*/ 2147483647 h 388"/>
                <a:gd name="T6" fmla="*/ 2147483647 w 225"/>
                <a:gd name="T7" fmla="*/ 2147483647 h 388"/>
                <a:gd name="T8" fmla="*/ 2147483647 w 225"/>
                <a:gd name="T9" fmla="*/ 2147483647 h 388"/>
                <a:gd name="T10" fmla="*/ 2147483647 w 225"/>
                <a:gd name="T11" fmla="*/ 2147483647 h 388"/>
                <a:gd name="T12" fmla="*/ 2147483647 w 225"/>
                <a:gd name="T13" fmla="*/ 2147483647 h 388"/>
                <a:gd name="T14" fmla="*/ 2147483647 w 225"/>
                <a:gd name="T15" fmla="*/ 2147483647 h 388"/>
                <a:gd name="T16" fmla="*/ 2147483647 w 225"/>
                <a:gd name="T17" fmla="*/ 2147483647 h 388"/>
                <a:gd name="T18" fmla="*/ 2147483647 w 225"/>
                <a:gd name="T19" fmla="*/ 2147483647 h 388"/>
                <a:gd name="T20" fmla="*/ 2147483647 w 225"/>
                <a:gd name="T21" fmla="*/ 2147483647 h 388"/>
                <a:gd name="T22" fmla="*/ 2147483647 w 225"/>
                <a:gd name="T23" fmla="*/ 2147483647 h 388"/>
                <a:gd name="T24" fmla="*/ 2147483647 w 225"/>
                <a:gd name="T25" fmla="*/ 2147483647 h 388"/>
                <a:gd name="T26" fmla="*/ 2147483647 w 225"/>
                <a:gd name="T27" fmla="*/ 2147483647 h 388"/>
                <a:gd name="T28" fmla="*/ 2147483647 w 225"/>
                <a:gd name="T29" fmla="*/ 2147483647 h 388"/>
                <a:gd name="T30" fmla="*/ 2147483647 w 225"/>
                <a:gd name="T31" fmla="*/ 2147483647 h 388"/>
                <a:gd name="T32" fmla="*/ 2147483647 w 225"/>
                <a:gd name="T33" fmla="*/ 2147483647 h 388"/>
                <a:gd name="T34" fmla="*/ 2147483647 w 225"/>
                <a:gd name="T35" fmla="*/ 2147483647 h 388"/>
                <a:gd name="T36" fmla="*/ 2147483647 w 225"/>
                <a:gd name="T37" fmla="*/ 2147483647 h 388"/>
                <a:gd name="T38" fmla="*/ 2147483647 w 225"/>
                <a:gd name="T39" fmla="*/ 2147483647 h 388"/>
                <a:gd name="T40" fmla="*/ 2147483647 w 225"/>
                <a:gd name="T41" fmla="*/ 2147483647 h 388"/>
                <a:gd name="T42" fmla="*/ 2147483647 w 225"/>
                <a:gd name="T43" fmla="*/ 2147483647 h 388"/>
                <a:gd name="T44" fmla="*/ 2147483647 w 225"/>
                <a:gd name="T45" fmla="*/ 2147483647 h 388"/>
                <a:gd name="T46" fmla="*/ 2147483647 w 225"/>
                <a:gd name="T47" fmla="*/ 2147483647 h 388"/>
                <a:gd name="T48" fmla="*/ 2147483647 w 225"/>
                <a:gd name="T49" fmla="*/ 2147483647 h 388"/>
                <a:gd name="T50" fmla="*/ 2147483647 w 225"/>
                <a:gd name="T51" fmla="*/ 2147483647 h 388"/>
                <a:gd name="T52" fmla="*/ 2147483647 w 225"/>
                <a:gd name="T53" fmla="*/ 2147483647 h 388"/>
                <a:gd name="T54" fmla="*/ 2147483647 w 225"/>
                <a:gd name="T55" fmla="*/ 2147483647 h 388"/>
                <a:gd name="T56" fmla="*/ 2147483647 w 225"/>
                <a:gd name="T57" fmla="*/ 2147483647 h 388"/>
                <a:gd name="T58" fmla="*/ 2147483647 w 225"/>
                <a:gd name="T59" fmla="*/ 2147483647 h 388"/>
                <a:gd name="T60" fmla="*/ 2147483647 w 225"/>
                <a:gd name="T61" fmla="*/ 2147483647 h 388"/>
                <a:gd name="T62" fmla="*/ 2147483647 w 225"/>
                <a:gd name="T63" fmla="*/ 2147483647 h 388"/>
                <a:gd name="T64" fmla="*/ 2147483647 w 225"/>
                <a:gd name="T65" fmla="*/ 2147483647 h 388"/>
                <a:gd name="T66" fmla="*/ 2147483647 w 225"/>
                <a:gd name="T67" fmla="*/ 2147483647 h 388"/>
                <a:gd name="T68" fmla="*/ 2147483647 w 225"/>
                <a:gd name="T69" fmla="*/ 2147483647 h 388"/>
                <a:gd name="T70" fmla="*/ 2147483647 w 225"/>
                <a:gd name="T71" fmla="*/ 2147483647 h 388"/>
                <a:gd name="T72" fmla="*/ 2147483647 w 225"/>
                <a:gd name="T73" fmla="*/ 2147483647 h 388"/>
                <a:gd name="T74" fmla="*/ 2147483647 w 225"/>
                <a:gd name="T75" fmla="*/ 2147483647 h 388"/>
                <a:gd name="T76" fmla="*/ 2147483647 w 225"/>
                <a:gd name="T77" fmla="*/ 2147483647 h 388"/>
                <a:gd name="T78" fmla="*/ 2147483647 w 225"/>
                <a:gd name="T79" fmla="*/ 2147483647 h 388"/>
                <a:gd name="T80" fmla="*/ 2147483647 w 225"/>
                <a:gd name="T81" fmla="*/ 2147483647 h 388"/>
                <a:gd name="T82" fmla="*/ 2147483647 w 225"/>
                <a:gd name="T83" fmla="*/ 2147483647 h 388"/>
                <a:gd name="T84" fmla="*/ 2147483647 w 225"/>
                <a:gd name="T85" fmla="*/ 2147483647 h 388"/>
                <a:gd name="T86" fmla="*/ 2147483647 w 225"/>
                <a:gd name="T87" fmla="*/ 2147483647 h 388"/>
                <a:gd name="T88" fmla="*/ 2147483647 w 225"/>
                <a:gd name="T89" fmla="*/ 2147483647 h 388"/>
                <a:gd name="T90" fmla="*/ 2147483647 w 225"/>
                <a:gd name="T91" fmla="*/ 2147483647 h 388"/>
                <a:gd name="T92" fmla="*/ 2147483647 w 225"/>
                <a:gd name="T93" fmla="*/ 2147483647 h 388"/>
                <a:gd name="T94" fmla="*/ 2147483647 w 225"/>
                <a:gd name="T95" fmla="*/ 2147483647 h 388"/>
                <a:gd name="T96" fmla="*/ 2147483647 w 225"/>
                <a:gd name="T97" fmla="*/ 2147483647 h 388"/>
                <a:gd name="T98" fmla="*/ 2147483647 w 225"/>
                <a:gd name="T99" fmla="*/ 0 h 388"/>
                <a:gd name="T100" fmla="*/ 2147483647 w 225"/>
                <a:gd name="T101" fmla="*/ 2147483647 h 388"/>
                <a:gd name="T102" fmla="*/ 2147483647 w 225"/>
                <a:gd name="T103" fmla="*/ 2147483647 h 3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25"/>
                <a:gd name="T157" fmla="*/ 0 h 388"/>
                <a:gd name="T158" fmla="*/ 225 w 225"/>
                <a:gd name="T159" fmla="*/ 388 h 38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65" name="Freeform 38">
              <a:extLst>
                <a:ext uri="{FF2B5EF4-FFF2-40B4-BE49-F238E27FC236}">
                  <a16:creationId xmlns:a16="http://schemas.microsoft.com/office/drawing/2014/main" id="{FE68A6D4-6C34-604F-97BC-5C8E0990071D}"/>
                </a:ext>
              </a:extLst>
            </p:cNvPr>
            <p:cNvSpPr>
              <a:spLocks noEditPoints="1"/>
            </p:cNvSpPr>
            <p:nvPr>
              <p:custDataLst>
                <p:tags r:id="rId158"/>
              </p:custDataLst>
            </p:nvPr>
          </p:nvSpPr>
          <p:spPr bwMode="auto">
            <a:xfrm>
              <a:off x="3296551" y="3840777"/>
              <a:ext cx="397266" cy="352200"/>
            </a:xfrm>
            <a:custGeom>
              <a:avLst/>
              <a:gdLst>
                <a:gd name="T0" fmla="*/ 2147483647 w 642"/>
                <a:gd name="T1" fmla="*/ 2147483647 h 625"/>
                <a:gd name="T2" fmla="*/ 2147483647 w 642"/>
                <a:gd name="T3" fmla="*/ 2147483647 h 625"/>
                <a:gd name="T4" fmla="*/ 2147483647 w 642"/>
                <a:gd name="T5" fmla="*/ 2147483647 h 625"/>
                <a:gd name="T6" fmla="*/ 2147483647 w 642"/>
                <a:gd name="T7" fmla="*/ 2147483647 h 625"/>
                <a:gd name="T8" fmla="*/ 2147483647 w 642"/>
                <a:gd name="T9" fmla="*/ 2147483647 h 625"/>
                <a:gd name="T10" fmla="*/ 2147483647 w 642"/>
                <a:gd name="T11" fmla="*/ 2147483647 h 625"/>
                <a:gd name="T12" fmla="*/ 2147483647 w 642"/>
                <a:gd name="T13" fmla="*/ 2147483647 h 625"/>
                <a:gd name="T14" fmla="*/ 2147483647 w 642"/>
                <a:gd name="T15" fmla="*/ 2147483647 h 625"/>
                <a:gd name="T16" fmla="*/ 2147483647 w 642"/>
                <a:gd name="T17" fmla="*/ 2147483647 h 625"/>
                <a:gd name="T18" fmla="*/ 2147483647 w 642"/>
                <a:gd name="T19" fmla="*/ 2147483647 h 625"/>
                <a:gd name="T20" fmla="*/ 2147483647 w 642"/>
                <a:gd name="T21" fmla="*/ 2147483647 h 625"/>
                <a:gd name="T22" fmla="*/ 2147483647 w 642"/>
                <a:gd name="T23" fmla="*/ 2147483647 h 625"/>
                <a:gd name="T24" fmla="*/ 2147483647 w 642"/>
                <a:gd name="T25" fmla="*/ 2147483647 h 625"/>
                <a:gd name="T26" fmla="*/ 2147483647 w 642"/>
                <a:gd name="T27" fmla="*/ 2147483647 h 625"/>
                <a:gd name="T28" fmla="*/ 2147483647 w 642"/>
                <a:gd name="T29" fmla="*/ 2147483647 h 625"/>
                <a:gd name="T30" fmla="*/ 2147483647 w 642"/>
                <a:gd name="T31" fmla="*/ 2147483647 h 625"/>
                <a:gd name="T32" fmla="*/ 2147483647 w 642"/>
                <a:gd name="T33" fmla="*/ 2147483647 h 625"/>
                <a:gd name="T34" fmla="*/ 2147483647 w 642"/>
                <a:gd name="T35" fmla="*/ 2147483647 h 625"/>
                <a:gd name="T36" fmla="*/ 2147483647 w 642"/>
                <a:gd name="T37" fmla="*/ 2147483647 h 625"/>
                <a:gd name="T38" fmla="*/ 2147483647 w 642"/>
                <a:gd name="T39" fmla="*/ 2147483647 h 625"/>
                <a:gd name="T40" fmla="*/ 2147483647 w 642"/>
                <a:gd name="T41" fmla="*/ 2147483647 h 625"/>
                <a:gd name="T42" fmla="*/ 2147483647 w 642"/>
                <a:gd name="T43" fmla="*/ 2147483647 h 625"/>
                <a:gd name="T44" fmla="*/ 2147483647 w 642"/>
                <a:gd name="T45" fmla="*/ 2147483647 h 625"/>
                <a:gd name="T46" fmla="*/ 2147483647 w 642"/>
                <a:gd name="T47" fmla="*/ 2147483647 h 625"/>
                <a:gd name="T48" fmla="*/ 2147483647 w 642"/>
                <a:gd name="T49" fmla="*/ 2147483647 h 625"/>
                <a:gd name="T50" fmla="*/ 2147483647 w 642"/>
                <a:gd name="T51" fmla="*/ 2147483647 h 625"/>
                <a:gd name="T52" fmla="*/ 2147483647 w 642"/>
                <a:gd name="T53" fmla="*/ 2147483647 h 625"/>
                <a:gd name="T54" fmla="*/ 2147483647 w 642"/>
                <a:gd name="T55" fmla="*/ 2147483647 h 625"/>
                <a:gd name="T56" fmla="*/ 2147483647 w 642"/>
                <a:gd name="T57" fmla="*/ 2147483647 h 625"/>
                <a:gd name="T58" fmla="*/ 2147483647 w 642"/>
                <a:gd name="T59" fmla="*/ 2147483647 h 625"/>
                <a:gd name="T60" fmla="*/ 2147483647 w 642"/>
                <a:gd name="T61" fmla="*/ 2147483647 h 625"/>
                <a:gd name="T62" fmla="*/ 2147483647 w 642"/>
                <a:gd name="T63" fmla="*/ 2147483647 h 625"/>
                <a:gd name="T64" fmla="*/ 2147483647 w 642"/>
                <a:gd name="T65" fmla="*/ 2147483647 h 625"/>
                <a:gd name="T66" fmla="*/ 2147483647 w 642"/>
                <a:gd name="T67" fmla="*/ 2147483647 h 625"/>
                <a:gd name="T68" fmla="*/ 2147483647 w 642"/>
                <a:gd name="T69" fmla="*/ 2147483647 h 625"/>
                <a:gd name="T70" fmla="*/ 2147483647 w 642"/>
                <a:gd name="T71" fmla="*/ 2147483647 h 625"/>
                <a:gd name="T72" fmla="*/ 2147483647 w 642"/>
                <a:gd name="T73" fmla="*/ 2147483647 h 625"/>
                <a:gd name="T74" fmla="*/ 2147483647 w 642"/>
                <a:gd name="T75" fmla="*/ 2147483647 h 625"/>
                <a:gd name="T76" fmla="*/ 2147483647 w 642"/>
                <a:gd name="T77" fmla="*/ 2147483647 h 625"/>
                <a:gd name="T78" fmla="*/ 2147483647 w 642"/>
                <a:gd name="T79" fmla="*/ 2147483647 h 625"/>
                <a:gd name="T80" fmla="*/ 2147483647 w 642"/>
                <a:gd name="T81" fmla="*/ 2147483647 h 625"/>
                <a:gd name="T82" fmla="*/ 2147483647 w 642"/>
                <a:gd name="T83" fmla="*/ 2147483647 h 625"/>
                <a:gd name="T84" fmla="*/ 2147483647 w 642"/>
                <a:gd name="T85" fmla="*/ 2147483647 h 625"/>
                <a:gd name="T86" fmla="*/ 2147483647 w 642"/>
                <a:gd name="T87" fmla="*/ 2147483647 h 625"/>
                <a:gd name="T88" fmla="*/ 2147483647 w 642"/>
                <a:gd name="T89" fmla="*/ 2147483647 h 625"/>
                <a:gd name="T90" fmla="*/ 2147483647 w 642"/>
                <a:gd name="T91" fmla="*/ 2147483647 h 625"/>
                <a:gd name="T92" fmla="*/ 2147483647 w 642"/>
                <a:gd name="T93" fmla="*/ 2147483647 h 625"/>
                <a:gd name="T94" fmla="*/ 2147483647 w 642"/>
                <a:gd name="T95" fmla="*/ 2147483647 h 625"/>
                <a:gd name="T96" fmla="*/ 2147483647 w 642"/>
                <a:gd name="T97" fmla="*/ 2147483647 h 625"/>
                <a:gd name="T98" fmla="*/ 2147483647 w 642"/>
                <a:gd name="T99" fmla="*/ 2147483647 h 625"/>
                <a:gd name="T100" fmla="*/ 2147483647 w 642"/>
                <a:gd name="T101" fmla="*/ 2147483647 h 625"/>
                <a:gd name="T102" fmla="*/ 2147483647 w 642"/>
                <a:gd name="T103" fmla="*/ 2147483647 h 625"/>
                <a:gd name="T104" fmla="*/ 2147483647 w 642"/>
                <a:gd name="T105" fmla="*/ 2147483647 h 625"/>
                <a:gd name="T106" fmla="*/ 2147483647 w 642"/>
                <a:gd name="T107" fmla="*/ 2147483647 h 625"/>
                <a:gd name="T108" fmla="*/ 2147483647 w 642"/>
                <a:gd name="T109" fmla="*/ 2147483647 h 625"/>
                <a:gd name="T110" fmla="*/ 2147483647 w 642"/>
                <a:gd name="T111" fmla="*/ 2147483647 h 625"/>
                <a:gd name="T112" fmla="*/ 2147483647 w 642"/>
                <a:gd name="T113" fmla="*/ 2147483647 h 625"/>
                <a:gd name="T114" fmla="*/ 2147483647 w 642"/>
                <a:gd name="T115" fmla="*/ 2147483647 h 625"/>
                <a:gd name="T116" fmla="*/ 2147483647 w 642"/>
                <a:gd name="T117" fmla="*/ 2147483647 h 625"/>
                <a:gd name="T118" fmla="*/ 2147483647 w 642"/>
                <a:gd name="T119" fmla="*/ 2147483647 h 625"/>
                <a:gd name="T120" fmla="*/ 2147483647 w 642"/>
                <a:gd name="T121" fmla="*/ 2147483647 h 625"/>
                <a:gd name="T122" fmla="*/ 2147483647 w 642"/>
                <a:gd name="T123" fmla="*/ 2147483647 h 62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42"/>
                <a:gd name="T187" fmla="*/ 0 h 625"/>
                <a:gd name="T188" fmla="*/ 642 w 642"/>
                <a:gd name="T189" fmla="*/ 625 h 62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66" name="Freeform 39">
              <a:extLst>
                <a:ext uri="{FF2B5EF4-FFF2-40B4-BE49-F238E27FC236}">
                  <a16:creationId xmlns:a16="http://schemas.microsoft.com/office/drawing/2014/main" id="{648C2482-37B9-0F41-9728-CBFA517C7355}"/>
                </a:ext>
              </a:extLst>
            </p:cNvPr>
            <p:cNvSpPr>
              <a:spLocks/>
            </p:cNvSpPr>
            <p:nvPr>
              <p:custDataLst>
                <p:tags r:id="rId159"/>
              </p:custDataLst>
            </p:nvPr>
          </p:nvSpPr>
          <p:spPr bwMode="auto">
            <a:xfrm>
              <a:off x="3012789" y="3919229"/>
              <a:ext cx="171926" cy="80121"/>
            </a:xfrm>
            <a:custGeom>
              <a:avLst/>
              <a:gdLst>
                <a:gd name="T0" fmla="*/ 2147483647 w 279"/>
                <a:gd name="T1" fmla="*/ 2147483647 h 141"/>
                <a:gd name="T2" fmla="*/ 2147483647 w 279"/>
                <a:gd name="T3" fmla="*/ 2147483647 h 141"/>
                <a:gd name="T4" fmla="*/ 2147483647 w 279"/>
                <a:gd name="T5" fmla="*/ 2147483647 h 141"/>
                <a:gd name="T6" fmla="*/ 2147483647 w 279"/>
                <a:gd name="T7" fmla="*/ 2147483647 h 141"/>
                <a:gd name="T8" fmla="*/ 2147483647 w 279"/>
                <a:gd name="T9" fmla="*/ 2147483647 h 141"/>
                <a:gd name="T10" fmla="*/ 2147483647 w 279"/>
                <a:gd name="T11" fmla="*/ 2147483647 h 141"/>
                <a:gd name="T12" fmla="*/ 2147483647 w 279"/>
                <a:gd name="T13" fmla="*/ 2147483647 h 141"/>
                <a:gd name="T14" fmla="*/ 2147483647 w 279"/>
                <a:gd name="T15" fmla="*/ 2147483647 h 141"/>
                <a:gd name="T16" fmla="*/ 2147483647 w 279"/>
                <a:gd name="T17" fmla="*/ 2147483647 h 141"/>
                <a:gd name="T18" fmla="*/ 2147483647 w 279"/>
                <a:gd name="T19" fmla="*/ 2147483647 h 141"/>
                <a:gd name="T20" fmla="*/ 2147483647 w 279"/>
                <a:gd name="T21" fmla="*/ 2147483647 h 141"/>
                <a:gd name="T22" fmla="*/ 2147483647 w 279"/>
                <a:gd name="T23" fmla="*/ 2147483647 h 141"/>
                <a:gd name="T24" fmla="*/ 2147483647 w 279"/>
                <a:gd name="T25" fmla="*/ 2147483647 h 141"/>
                <a:gd name="T26" fmla="*/ 2147483647 w 279"/>
                <a:gd name="T27" fmla="*/ 2147483647 h 141"/>
                <a:gd name="T28" fmla="*/ 2147483647 w 279"/>
                <a:gd name="T29" fmla="*/ 2147483647 h 141"/>
                <a:gd name="T30" fmla="*/ 2147483647 w 279"/>
                <a:gd name="T31" fmla="*/ 2147483647 h 141"/>
                <a:gd name="T32" fmla="*/ 2147483647 w 279"/>
                <a:gd name="T33" fmla="*/ 2147483647 h 141"/>
                <a:gd name="T34" fmla="*/ 2147483647 w 279"/>
                <a:gd name="T35" fmla="*/ 2147483647 h 141"/>
                <a:gd name="T36" fmla="*/ 2147483647 w 279"/>
                <a:gd name="T37" fmla="*/ 2147483647 h 141"/>
                <a:gd name="T38" fmla="*/ 2147483647 w 279"/>
                <a:gd name="T39" fmla="*/ 2147483647 h 141"/>
                <a:gd name="T40" fmla="*/ 2147483647 w 279"/>
                <a:gd name="T41" fmla="*/ 2147483647 h 141"/>
                <a:gd name="T42" fmla="*/ 2147483647 w 279"/>
                <a:gd name="T43" fmla="*/ 2147483647 h 141"/>
                <a:gd name="T44" fmla="*/ 2147483647 w 279"/>
                <a:gd name="T45" fmla="*/ 2147483647 h 141"/>
                <a:gd name="T46" fmla="*/ 2147483647 w 279"/>
                <a:gd name="T47" fmla="*/ 2147483647 h 141"/>
                <a:gd name="T48" fmla="*/ 2147483647 w 279"/>
                <a:gd name="T49" fmla="*/ 2147483647 h 141"/>
                <a:gd name="T50" fmla="*/ 2147483647 w 279"/>
                <a:gd name="T51" fmla="*/ 2147483647 h 141"/>
                <a:gd name="T52" fmla="*/ 2147483647 w 279"/>
                <a:gd name="T53" fmla="*/ 2147483647 h 141"/>
                <a:gd name="T54" fmla="*/ 2147483647 w 279"/>
                <a:gd name="T55" fmla="*/ 2147483647 h 141"/>
                <a:gd name="T56" fmla="*/ 2147483647 w 279"/>
                <a:gd name="T57" fmla="*/ 2147483647 h 141"/>
                <a:gd name="T58" fmla="*/ 2147483647 w 279"/>
                <a:gd name="T59" fmla="*/ 2147483647 h 141"/>
                <a:gd name="T60" fmla="*/ 2147483647 w 279"/>
                <a:gd name="T61" fmla="*/ 2147483647 h 141"/>
                <a:gd name="T62" fmla="*/ 2147483647 w 279"/>
                <a:gd name="T63" fmla="*/ 2147483647 h 141"/>
                <a:gd name="T64" fmla="*/ 2147483647 w 279"/>
                <a:gd name="T65" fmla="*/ 2147483647 h 141"/>
                <a:gd name="T66" fmla="*/ 2147483647 w 279"/>
                <a:gd name="T67" fmla="*/ 2147483647 h 141"/>
                <a:gd name="T68" fmla="*/ 2147483647 w 279"/>
                <a:gd name="T69" fmla="*/ 2147483647 h 141"/>
                <a:gd name="T70" fmla="*/ 2147483647 w 279"/>
                <a:gd name="T71" fmla="*/ 2147483647 h 141"/>
                <a:gd name="T72" fmla="*/ 2147483647 w 279"/>
                <a:gd name="T73" fmla="*/ 2147483647 h 141"/>
                <a:gd name="T74" fmla="*/ 2147483647 w 279"/>
                <a:gd name="T75" fmla="*/ 2147483647 h 141"/>
                <a:gd name="T76" fmla="*/ 2147483647 w 279"/>
                <a:gd name="T77" fmla="*/ 2147483647 h 141"/>
                <a:gd name="T78" fmla="*/ 2147483647 w 279"/>
                <a:gd name="T79" fmla="*/ 2147483647 h 141"/>
                <a:gd name="T80" fmla="*/ 2147483647 w 279"/>
                <a:gd name="T81" fmla="*/ 2147483647 h 141"/>
                <a:gd name="T82" fmla="*/ 2147483647 w 279"/>
                <a:gd name="T83" fmla="*/ 2147483647 h 141"/>
                <a:gd name="T84" fmla="*/ 2147483647 w 279"/>
                <a:gd name="T85" fmla="*/ 2147483647 h 141"/>
                <a:gd name="T86" fmla="*/ 2147483647 w 279"/>
                <a:gd name="T87" fmla="*/ 2147483647 h 141"/>
                <a:gd name="T88" fmla="*/ 2147483647 w 279"/>
                <a:gd name="T89" fmla="*/ 2147483647 h 141"/>
                <a:gd name="T90" fmla="*/ 2147483647 w 279"/>
                <a:gd name="T91" fmla="*/ 2147483647 h 141"/>
                <a:gd name="T92" fmla="*/ 2147483647 w 279"/>
                <a:gd name="T93" fmla="*/ 2147483647 h 1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79"/>
                <a:gd name="T142" fmla="*/ 0 h 141"/>
                <a:gd name="T143" fmla="*/ 279 w 279"/>
                <a:gd name="T144" fmla="*/ 141 h 1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67" name="Freeform 40">
              <a:extLst>
                <a:ext uri="{FF2B5EF4-FFF2-40B4-BE49-F238E27FC236}">
                  <a16:creationId xmlns:a16="http://schemas.microsoft.com/office/drawing/2014/main" id="{10E997D9-AD03-4D49-BE99-78F8EF98C28C}"/>
                </a:ext>
              </a:extLst>
            </p:cNvPr>
            <p:cNvSpPr>
              <a:spLocks/>
            </p:cNvSpPr>
            <p:nvPr>
              <p:custDataLst>
                <p:tags r:id="rId160"/>
              </p:custDataLst>
            </p:nvPr>
          </p:nvSpPr>
          <p:spPr bwMode="auto">
            <a:xfrm>
              <a:off x="3122955" y="3829093"/>
              <a:ext cx="358874" cy="505764"/>
            </a:xfrm>
            <a:custGeom>
              <a:avLst/>
              <a:gdLst>
                <a:gd name="T0" fmla="*/ 2147483647 w 581"/>
                <a:gd name="T1" fmla="*/ 2147483647 h 902"/>
                <a:gd name="T2" fmla="*/ 2147483647 w 581"/>
                <a:gd name="T3" fmla="*/ 2147483647 h 902"/>
                <a:gd name="T4" fmla="*/ 2147483647 w 581"/>
                <a:gd name="T5" fmla="*/ 2147483647 h 902"/>
                <a:gd name="T6" fmla="*/ 2147483647 w 581"/>
                <a:gd name="T7" fmla="*/ 2147483647 h 902"/>
                <a:gd name="T8" fmla="*/ 2147483647 w 581"/>
                <a:gd name="T9" fmla="*/ 2147483647 h 902"/>
                <a:gd name="T10" fmla="*/ 2147483647 w 581"/>
                <a:gd name="T11" fmla="*/ 2147483647 h 902"/>
                <a:gd name="T12" fmla="*/ 2147483647 w 581"/>
                <a:gd name="T13" fmla="*/ 2147483647 h 902"/>
                <a:gd name="T14" fmla="*/ 2147483647 w 581"/>
                <a:gd name="T15" fmla="*/ 2147483647 h 902"/>
                <a:gd name="T16" fmla="*/ 2147483647 w 581"/>
                <a:gd name="T17" fmla="*/ 2147483647 h 902"/>
                <a:gd name="T18" fmla="*/ 2147483647 w 581"/>
                <a:gd name="T19" fmla="*/ 2147483647 h 902"/>
                <a:gd name="T20" fmla="*/ 2147483647 w 581"/>
                <a:gd name="T21" fmla="*/ 2147483647 h 902"/>
                <a:gd name="T22" fmla="*/ 2147483647 w 581"/>
                <a:gd name="T23" fmla="*/ 2147483647 h 902"/>
                <a:gd name="T24" fmla="*/ 2147483647 w 581"/>
                <a:gd name="T25" fmla="*/ 2147483647 h 902"/>
                <a:gd name="T26" fmla="*/ 2147483647 w 581"/>
                <a:gd name="T27" fmla="*/ 2147483647 h 902"/>
                <a:gd name="T28" fmla="*/ 2147483647 w 581"/>
                <a:gd name="T29" fmla="*/ 2147483647 h 902"/>
                <a:gd name="T30" fmla="*/ 2147483647 w 581"/>
                <a:gd name="T31" fmla="*/ 2147483647 h 902"/>
                <a:gd name="T32" fmla="*/ 2147483647 w 581"/>
                <a:gd name="T33" fmla="*/ 2147483647 h 902"/>
                <a:gd name="T34" fmla="*/ 2147483647 w 581"/>
                <a:gd name="T35" fmla="*/ 2147483647 h 902"/>
                <a:gd name="T36" fmla="*/ 2147483647 w 581"/>
                <a:gd name="T37" fmla="*/ 2147483647 h 902"/>
                <a:gd name="T38" fmla="*/ 2147483647 w 581"/>
                <a:gd name="T39" fmla="*/ 2147483647 h 902"/>
                <a:gd name="T40" fmla="*/ 2147483647 w 581"/>
                <a:gd name="T41" fmla="*/ 2147483647 h 902"/>
                <a:gd name="T42" fmla="*/ 2147483647 w 581"/>
                <a:gd name="T43" fmla="*/ 2147483647 h 902"/>
                <a:gd name="T44" fmla="*/ 2147483647 w 581"/>
                <a:gd name="T45" fmla="*/ 2147483647 h 902"/>
                <a:gd name="T46" fmla="*/ 2147483647 w 581"/>
                <a:gd name="T47" fmla="*/ 2147483647 h 902"/>
                <a:gd name="T48" fmla="*/ 2147483647 w 581"/>
                <a:gd name="T49" fmla="*/ 2147483647 h 902"/>
                <a:gd name="T50" fmla="*/ 2147483647 w 581"/>
                <a:gd name="T51" fmla="*/ 2147483647 h 902"/>
                <a:gd name="T52" fmla="*/ 2147483647 w 581"/>
                <a:gd name="T53" fmla="*/ 2147483647 h 902"/>
                <a:gd name="T54" fmla="*/ 2147483647 w 581"/>
                <a:gd name="T55" fmla="*/ 2147483647 h 902"/>
                <a:gd name="T56" fmla="*/ 2147483647 w 581"/>
                <a:gd name="T57" fmla="*/ 2147483647 h 902"/>
                <a:gd name="T58" fmla="*/ 2147483647 w 581"/>
                <a:gd name="T59" fmla="*/ 2147483647 h 902"/>
                <a:gd name="T60" fmla="*/ 2147483647 w 581"/>
                <a:gd name="T61" fmla="*/ 2147483647 h 902"/>
                <a:gd name="T62" fmla="*/ 2147483647 w 581"/>
                <a:gd name="T63" fmla="*/ 2147483647 h 902"/>
                <a:gd name="T64" fmla="*/ 2147483647 w 581"/>
                <a:gd name="T65" fmla="*/ 2147483647 h 902"/>
                <a:gd name="T66" fmla="*/ 2147483647 w 581"/>
                <a:gd name="T67" fmla="*/ 2147483647 h 902"/>
                <a:gd name="T68" fmla="*/ 2147483647 w 581"/>
                <a:gd name="T69" fmla="*/ 2147483647 h 902"/>
                <a:gd name="T70" fmla="*/ 2147483647 w 581"/>
                <a:gd name="T71" fmla="*/ 2147483647 h 902"/>
                <a:gd name="T72" fmla="*/ 2147483647 w 581"/>
                <a:gd name="T73" fmla="*/ 2147483647 h 902"/>
                <a:gd name="T74" fmla="*/ 2147483647 w 581"/>
                <a:gd name="T75" fmla="*/ 2147483647 h 902"/>
                <a:gd name="T76" fmla="*/ 2147483647 w 581"/>
                <a:gd name="T77" fmla="*/ 2147483647 h 902"/>
                <a:gd name="T78" fmla="*/ 2147483647 w 581"/>
                <a:gd name="T79" fmla="*/ 2147483647 h 902"/>
                <a:gd name="T80" fmla="*/ 2147483647 w 581"/>
                <a:gd name="T81" fmla="*/ 2147483647 h 902"/>
                <a:gd name="T82" fmla="*/ 2147483647 w 581"/>
                <a:gd name="T83" fmla="*/ 2147483647 h 902"/>
                <a:gd name="T84" fmla="*/ 2147483647 w 581"/>
                <a:gd name="T85" fmla="*/ 2147483647 h 902"/>
                <a:gd name="T86" fmla="*/ 2147483647 w 581"/>
                <a:gd name="T87" fmla="*/ 2147483647 h 902"/>
                <a:gd name="T88" fmla="*/ 2147483647 w 581"/>
                <a:gd name="T89" fmla="*/ 2147483647 h 902"/>
                <a:gd name="T90" fmla="*/ 2147483647 w 581"/>
                <a:gd name="T91" fmla="*/ 2147483647 h 902"/>
                <a:gd name="T92" fmla="*/ 2147483647 w 581"/>
                <a:gd name="T93" fmla="*/ 2147483647 h 90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1"/>
                <a:gd name="T142" fmla="*/ 0 h 902"/>
                <a:gd name="T143" fmla="*/ 581 w 581"/>
                <a:gd name="T144" fmla="*/ 902 h 90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68" name="Freeform 41">
              <a:extLst>
                <a:ext uri="{FF2B5EF4-FFF2-40B4-BE49-F238E27FC236}">
                  <a16:creationId xmlns:a16="http://schemas.microsoft.com/office/drawing/2014/main" id="{B6E46262-BE97-0F4D-969C-C0291560ABDA}"/>
                </a:ext>
              </a:extLst>
            </p:cNvPr>
            <p:cNvSpPr>
              <a:spLocks/>
            </p:cNvSpPr>
            <p:nvPr>
              <p:custDataLst>
                <p:tags r:id="rId161"/>
              </p:custDataLst>
            </p:nvPr>
          </p:nvSpPr>
          <p:spPr bwMode="auto">
            <a:xfrm>
              <a:off x="3648747" y="4792216"/>
              <a:ext cx="250377" cy="252049"/>
            </a:xfrm>
            <a:custGeom>
              <a:avLst/>
              <a:gdLst>
                <a:gd name="T0" fmla="*/ 2147483647 w 407"/>
                <a:gd name="T1" fmla="*/ 2147483647 h 452"/>
                <a:gd name="T2" fmla="*/ 2147483647 w 407"/>
                <a:gd name="T3" fmla="*/ 2147483647 h 452"/>
                <a:gd name="T4" fmla="*/ 2147483647 w 407"/>
                <a:gd name="T5" fmla="*/ 2147483647 h 452"/>
                <a:gd name="T6" fmla="*/ 2147483647 w 407"/>
                <a:gd name="T7" fmla="*/ 2147483647 h 452"/>
                <a:gd name="T8" fmla="*/ 2147483647 w 407"/>
                <a:gd name="T9" fmla="*/ 2147483647 h 452"/>
                <a:gd name="T10" fmla="*/ 2147483647 w 407"/>
                <a:gd name="T11" fmla="*/ 2147483647 h 452"/>
                <a:gd name="T12" fmla="*/ 2147483647 w 407"/>
                <a:gd name="T13" fmla="*/ 2147483647 h 452"/>
                <a:gd name="T14" fmla="*/ 2147483647 w 407"/>
                <a:gd name="T15" fmla="*/ 2147483647 h 452"/>
                <a:gd name="T16" fmla="*/ 2147483647 w 407"/>
                <a:gd name="T17" fmla="*/ 2147483647 h 452"/>
                <a:gd name="T18" fmla="*/ 2147483647 w 407"/>
                <a:gd name="T19" fmla="*/ 2147483647 h 452"/>
                <a:gd name="T20" fmla="*/ 2147483647 w 407"/>
                <a:gd name="T21" fmla="*/ 2147483647 h 452"/>
                <a:gd name="T22" fmla="*/ 2147483647 w 407"/>
                <a:gd name="T23" fmla="*/ 2147483647 h 452"/>
                <a:gd name="T24" fmla="*/ 2147483647 w 407"/>
                <a:gd name="T25" fmla="*/ 2147483647 h 452"/>
                <a:gd name="T26" fmla="*/ 2147483647 w 407"/>
                <a:gd name="T27" fmla="*/ 2147483647 h 452"/>
                <a:gd name="T28" fmla="*/ 2147483647 w 407"/>
                <a:gd name="T29" fmla="*/ 2147483647 h 452"/>
                <a:gd name="T30" fmla="*/ 2147483647 w 407"/>
                <a:gd name="T31" fmla="*/ 2147483647 h 452"/>
                <a:gd name="T32" fmla="*/ 2147483647 w 407"/>
                <a:gd name="T33" fmla="*/ 2147483647 h 452"/>
                <a:gd name="T34" fmla="*/ 2147483647 w 407"/>
                <a:gd name="T35" fmla="*/ 2147483647 h 452"/>
                <a:gd name="T36" fmla="*/ 2147483647 w 407"/>
                <a:gd name="T37" fmla="*/ 2147483647 h 452"/>
                <a:gd name="T38" fmla="*/ 2147483647 w 407"/>
                <a:gd name="T39" fmla="*/ 2147483647 h 452"/>
                <a:gd name="T40" fmla="*/ 2147483647 w 407"/>
                <a:gd name="T41" fmla="*/ 2147483647 h 452"/>
                <a:gd name="T42" fmla="*/ 2147483647 w 407"/>
                <a:gd name="T43" fmla="*/ 0 h 452"/>
                <a:gd name="T44" fmla="*/ 2147483647 w 407"/>
                <a:gd name="T45" fmla="*/ 2147483647 h 452"/>
                <a:gd name="T46" fmla="*/ 2147483647 w 407"/>
                <a:gd name="T47" fmla="*/ 2147483647 h 452"/>
                <a:gd name="T48" fmla="*/ 2147483647 w 407"/>
                <a:gd name="T49" fmla="*/ 2147483647 h 452"/>
                <a:gd name="T50" fmla="*/ 2147483647 w 407"/>
                <a:gd name="T51" fmla="*/ 2147483647 h 452"/>
                <a:gd name="T52" fmla="*/ 2147483647 w 407"/>
                <a:gd name="T53" fmla="*/ 2147483647 h 452"/>
                <a:gd name="T54" fmla="*/ 2147483647 w 407"/>
                <a:gd name="T55" fmla="*/ 2147483647 h 452"/>
                <a:gd name="T56" fmla="*/ 2147483647 w 407"/>
                <a:gd name="T57" fmla="*/ 2147483647 h 452"/>
                <a:gd name="T58" fmla="*/ 2147483647 w 407"/>
                <a:gd name="T59" fmla="*/ 2147483647 h 452"/>
                <a:gd name="T60" fmla="*/ 2147483647 w 407"/>
                <a:gd name="T61" fmla="*/ 2147483647 h 452"/>
                <a:gd name="T62" fmla="*/ 2147483647 w 407"/>
                <a:gd name="T63" fmla="*/ 2147483647 h 452"/>
                <a:gd name="T64" fmla="*/ 2147483647 w 407"/>
                <a:gd name="T65" fmla="*/ 2147483647 h 452"/>
                <a:gd name="T66" fmla="*/ 2147483647 w 407"/>
                <a:gd name="T67" fmla="*/ 2147483647 h 452"/>
                <a:gd name="T68" fmla="*/ 2147483647 w 407"/>
                <a:gd name="T69" fmla="*/ 2147483647 h 452"/>
                <a:gd name="T70" fmla="*/ 2147483647 w 407"/>
                <a:gd name="T71" fmla="*/ 2147483647 h 452"/>
                <a:gd name="T72" fmla="*/ 2147483647 w 407"/>
                <a:gd name="T73" fmla="*/ 2147483647 h 452"/>
                <a:gd name="T74" fmla="*/ 2147483647 w 407"/>
                <a:gd name="T75" fmla="*/ 2147483647 h 452"/>
                <a:gd name="T76" fmla="*/ 2147483647 w 407"/>
                <a:gd name="T77" fmla="*/ 2147483647 h 452"/>
                <a:gd name="T78" fmla="*/ 2147483647 w 407"/>
                <a:gd name="T79" fmla="*/ 2147483647 h 452"/>
                <a:gd name="T80" fmla="*/ 2147483647 w 407"/>
                <a:gd name="T81" fmla="*/ 2147483647 h 452"/>
                <a:gd name="T82" fmla="*/ 2147483647 w 407"/>
                <a:gd name="T83" fmla="*/ 2147483647 h 452"/>
                <a:gd name="T84" fmla="*/ 2147483647 w 407"/>
                <a:gd name="T85" fmla="*/ 2147483647 h 452"/>
                <a:gd name="T86" fmla="*/ 2147483647 w 407"/>
                <a:gd name="T87" fmla="*/ 2147483647 h 4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07"/>
                <a:gd name="T133" fmla="*/ 0 h 452"/>
                <a:gd name="T134" fmla="*/ 407 w 407"/>
                <a:gd name="T135" fmla="*/ 452 h 4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69" name="Freeform 42">
              <a:extLst>
                <a:ext uri="{FF2B5EF4-FFF2-40B4-BE49-F238E27FC236}">
                  <a16:creationId xmlns:a16="http://schemas.microsoft.com/office/drawing/2014/main" id="{7C9CF57F-8A02-1449-8721-60614EDEE595}"/>
                </a:ext>
              </a:extLst>
            </p:cNvPr>
            <p:cNvSpPr>
              <a:spLocks/>
            </p:cNvSpPr>
            <p:nvPr>
              <p:custDataLst>
                <p:tags r:id="rId162"/>
              </p:custDataLst>
            </p:nvPr>
          </p:nvSpPr>
          <p:spPr bwMode="auto">
            <a:xfrm>
              <a:off x="3825681" y="5117709"/>
              <a:ext cx="151896" cy="143550"/>
            </a:xfrm>
            <a:custGeom>
              <a:avLst/>
              <a:gdLst>
                <a:gd name="T0" fmla="*/ 2147483647 w 246"/>
                <a:gd name="T1" fmla="*/ 2147483647 h 258"/>
                <a:gd name="T2" fmla="*/ 2147483647 w 246"/>
                <a:gd name="T3" fmla="*/ 2147483647 h 258"/>
                <a:gd name="T4" fmla="*/ 2147483647 w 246"/>
                <a:gd name="T5" fmla="*/ 2147483647 h 258"/>
                <a:gd name="T6" fmla="*/ 2147483647 w 246"/>
                <a:gd name="T7" fmla="*/ 2147483647 h 258"/>
                <a:gd name="T8" fmla="*/ 2147483647 w 246"/>
                <a:gd name="T9" fmla="*/ 2147483647 h 258"/>
                <a:gd name="T10" fmla="*/ 2147483647 w 246"/>
                <a:gd name="T11" fmla="*/ 2147483647 h 258"/>
                <a:gd name="T12" fmla="*/ 2147483647 w 246"/>
                <a:gd name="T13" fmla="*/ 2147483647 h 258"/>
                <a:gd name="T14" fmla="*/ 2147483647 w 246"/>
                <a:gd name="T15" fmla="*/ 2147483647 h 258"/>
                <a:gd name="T16" fmla="*/ 2147483647 w 246"/>
                <a:gd name="T17" fmla="*/ 2147483647 h 258"/>
                <a:gd name="T18" fmla="*/ 2147483647 w 246"/>
                <a:gd name="T19" fmla="*/ 2147483647 h 258"/>
                <a:gd name="T20" fmla="*/ 2147483647 w 246"/>
                <a:gd name="T21" fmla="*/ 2147483647 h 258"/>
                <a:gd name="T22" fmla="*/ 2147483647 w 246"/>
                <a:gd name="T23" fmla="*/ 2147483647 h 258"/>
                <a:gd name="T24" fmla="*/ 2147483647 w 246"/>
                <a:gd name="T25" fmla="*/ 2147483647 h 258"/>
                <a:gd name="T26" fmla="*/ 2147483647 w 246"/>
                <a:gd name="T27" fmla="*/ 2147483647 h 258"/>
                <a:gd name="T28" fmla="*/ 2147483647 w 246"/>
                <a:gd name="T29" fmla="*/ 2147483647 h 258"/>
                <a:gd name="T30" fmla="*/ 2147483647 w 246"/>
                <a:gd name="T31" fmla="*/ 2147483647 h 258"/>
                <a:gd name="T32" fmla="*/ 2147483647 w 246"/>
                <a:gd name="T33" fmla="*/ 2147483647 h 258"/>
                <a:gd name="T34" fmla="*/ 2147483647 w 246"/>
                <a:gd name="T35" fmla="*/ 2147483647 h 258"/>
                <a:gd name="T36" fmla="*/ 2147483647 w 246"/>
                <a:gd name="T37" fmla="*/ 2147483647 h 258"/>
                <a:gd name="T38" fmla="*/ 2147483647 w 246"/>
                <a:gd name="T39" fmla="*/ 2147483647 h 258"/>
                <a:gd name="T40" fmla="*/ 0 w 246"/>
                <a:gd name="T41" fmla="*/ 2147483647 h 258"/>
                <a:gd name="T42" fmla="*/ 2147483647 w 246"/>
                <a:gd name="T43" fmla="*/ 2147483647 h 258"/>
                <a:gd name="T44" fmla="*/ 2147483647 w 246"/>
                <a:gd name="T45" fmla="*/ 2147483647 h 258"/>
                <a:gd name="T46" fmla="*/ 2147483647 w 246"/>
                <a:gd name="T47" fmla="*/ 2147483647 h 258"/>
                <a:gd name="T48" fmla="*/ 2147483647 w 246"/>
                <a:gd name="T49" fmla="*/ 2147483647 h 258"/>
                <a:gd name="T50" fmla="*/ 2147483647 w 246"/>
                <a:gd name="T51" fmla="*/ 2147483647 h 258"/>
                <a:gd name="T52" fmla="*/ 2147483647 w 246"/>
                <a:gd name="T53" fmla="*/ 2147483647 h 258"/>
                <a:gd name="T54" fmla="*/ 2147483647 w 246"/>
                <a:gd name="T55" fmla="*/ 2147483647 h 258"/>
                <a:gd name="T56" fmla="*/ 2147483647 w 246"/>
                <a:gd name="T57" fmla="*/ 2147483647 h 258"/>
                <a:gd name="T58" fmla="*/ 2147483647 w 246"/>
                <a:gd name="T59" fmla="*/ 2147483647 h 258"/>
                <a:gd name="T60" fmla="*/ 2147483647 w 246"/>
                <a:gd name="T61" fmla="*/ 2147483647 h 258"/>
                <a:gd name="T62" fmla="*/ 2147483647 w 246"/>
                <a:gd name="T63" fmla="*/ 2147483647 h 258"/>
                <a:gd name="T64" fmla="*/ 2147483647 w 246"/>
                <a:gd name="T65" fmla="*/ 2147483647 h 258"/>
                <a:gd name="T66" fmla="*/ 2147483647 w 246"/>
                <a:gd name="T67" fmla="*/ 2147483647 h 258"/>
                <a:gd name="T68" fmla="*/ 2147483647 w 246"/>
                <a:gd name="T69" fmla="*/ 2147483647 h 258"/>
                <a:gd name="T70" fmla="*/ 2147483647 w 246"/>
                <a:gd name="T71" fmla="*/ 2147483647 h 2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6"/>
                <a:gd name="T109" fmla="*/ 0 h 258"/>
                <a:gd name="T110" fmla="*/ 246 w 246"/>
                <a:gd name="T111" fmla="*/ 258 h 25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70" name="Freeform 43">
              <a:extLst>
                <a:ext uri="{FF2B5EF4-FFF2-40B4-BE49-F238E27FC236}">
                  <a16:creationId xmlns:a16="http://schemas.microsoft.com/office/drawing/2014/main" id="{2D570204-C6EB-B84E-9450-22C3E0ABF52B}"/>
                </a:ext>
              </a:extLst>
            </p:cNvPr>
            <p:cNvSpPr>
              <a:spLocks noEditPoints="1"/>
            </p:cNvSpPr>
            <p:nvPr>
              <p:custDataLst>
                <p:tags r:id="rId163"/>
              </p:custDataLst>
            </p:nvPr>
          </p:nvSpPr>
          <p:spPr bwMode="auto">
            <a:xfrm>
              <a:off x="3061194" y="4161262"/>
              <a:ext cx="173595" cy="198634"/>
            </a:xfrm>
            <a:custGeom>
              <a:avLst/>
              <a:gdLst>
                <a:gd name="T0" fmla="*/ 2147483647 w 280"/>
                <a:gd name="T1" fmla="*/ 2147483647 h 353"/>
                <a:gd name="T2" fmla="*/ 2147483647 w 280"/>
                <a:gd name="T3" fmla="*/ 2147483647 h 353"/>
                <a:gd name="T4" fmla="*/ 2147483647 w 280"/>
                <a:gd name="T5" fmla="*/ 2147483647 h 353"/>
                <a:gd name="T6" fmla="*/ 2147483647 w 280"/>
                <a:gd name="T7" fmla="*/ 2147483647 h 353"/>
                <a:gd name="T8" fmla="*/ 2147483647 w 280"/>
                <a:gd name="T9" fmla="*/ 2147483647 h 353"/>
                <a:gd name="T10" fmla="*/ 2147483647 w 280"/>
                <a:gd name="T11" fmla="*/ 2147483647 h 353"/>
                <a:gd name="T12" fmla="*/ 2147483647 w 280"/>
                <a:gd name="T13" fmla="*/ 2147483647 h 353"/>
                <a:gd name="T14" fmla="*/ 2147483647 w 280"/>
                <a:gd name="T15" fmla="*/ 2147483647 h 353"/>
                <a:gd name="T16" fmla="*/ 2147483647 w 280"/>
                <a:gd name="T17" fmla="*/ 2147483647 h 353"/>
                <a:gd name="T18" fmla="*/ 2147483647 w 280"/>
                <a:gd name="T19" fmla="*/ 2147483647 h 353"/>
                <a:gd name="T20" fmla="*/ 2147483647 w 280"/>
                <a:gd name="T21" fmla="*/ 2147483647 h 353"/>
                <a:gd name="T22" fmla="*/ 2147483647 w 280"/>
                <a:gd name="T23" fmla="*/ 2147483647 h 353"/>
                <a:gd name="T24" fmla="*/ 2147483647 w 280"/>
                <a:gd name="T25" fmla="*/ 2147483647 h 353"/>
                <a:gd name="T26" fmla="*/ 2147483647 w 280"/>
                <a:gd name="T27" fmla="*/ 2147483647 h 353"/>
                <a:gd name="T28" fmla="*/ 2147483647 w 280"/>
                <a:gd name="T29" fmla="*/ 0 h 353"/>
                <a:gd name="T30" fmla="*/ 2147483647 w 280"/>
                <a:gd name="T31" fmla="*/ 2147483647 h 353"/>
                <a:gd name="T32" fmla="*/ 2147483647 w 280"/>
                <a:gd name="T33" fmla="*/ 2147483647 h 353"/>
                <a:gd name="T34" fmla="*/ 2147483647 w 280"/>
                <a:gd name="T35" fmla="*/ 2147483647 h 353"/>
                <a:gd name="T36" fmla="*/ 2147483647 w 280"/>
                <a:gd name="T37" fmla="*/ 2147483647 h 353"/>
                <a:gd name="T38" fmla="*/ 2147483647 w 280"/>
                <a:gd name="T39" fmla="*/ 2147483647 h 353"/>
                <a:gd name="T40" fmla="*/ 2147483647 w 280"/>
                <a:gd name="T41" fmla="*/ 2147483647 h 353"/>
                <a:gd name="T42" fmla="*/ 2147483647 w 280"/>
                <a:gd name="T43" fmla="*/ 2147483647 h 353"/>
                <a:gd name="T44" fmla="*/ 2147483647 w 280"/>
                <a:gd name="T45" fmla="*/ 2147483647 h 353"/>
                <a:gd name="T46" fmla="*/ 2147483647 w 280"/>
                <a:gd name="T47" fmla="*/ 2147483647 h 353"/>
                <a:gd name="T48" fmla="*/ 2147483647 w 280"/>
                <a:gd name="T49" fmla="*/ 2147483647 h 353"/>
                <a:gd name="T50" fmla="*/ 2147483647 w 280"/>
                <a:gd name="T51" fmla="*/ 2147483647 h 353"/>
                <a:gd name="T52" fmla="*/ 2147483647 w 280"/>
                <a:gd name="T53" fmla="*/ 2147483647 h 353"/>
                <a:gd name="T54" fmla="*/ 2147483647 w 280"/>
                <a:gd name="T55" fmla="*/ 2147483647 h 353"/>
                <a:gd name="T56" fmla="*/ 2147483647 w 280"/>
                <a:gd name="T57" fmla="*/ 2147483647 h 353"/>
                <a:gd name="T58" fmla="*/ 2147483647 w 280"/>
                <a:gd name="T59" fmla="*/ 2147483647 h 353"/>
                <a:gd name="T60" fmla="*/ 2147483647 w 280"/>
                <a:gd name="T61" fmla="*/ 2147483647 h 353"/>
                <a:gd name="T62" fmla="*/ 2147483647 w 280"/>
                <a:gd name="T63" fmla="*/ 2147483647 h 353"/>
                <a:gd name="T64" fmla="*/ 2147483647 w 280"/>
                <a:gd name="T65" fmla="*/ 2147483647 h 353"/>
                <a:gd name="T66" fmla="*/ 2147483647 w 280"/>
                <a:gd name="T67" fmla="*/ 2147483647 h 353"/>
                <a:gd name="T68" fmla="*/ 2147483647 w 280"/>
                <a:gd name="T69" fmla="*/ 2147483647 h 353"/>
                <a:gd name="T70" fmla="*/ 2147483647 w 280"/>
                <a:gd name="T71" fmla="*/ 2147483647 h 353"/>
                <a:gd name="T72" fmla="*/ 2147483647 w 280"/>
                <a:gd name="T73" fmla="*/ 2147483647 h 353"/>
                <a:gd name="T74" fmla="*/ 2147483647 w 280"/>
                <a:gd name="T75" fmla="*/ 2147483647 h 353"/>
                <a:gd name="T76" fmla="*/ 2147483647 w 280"/>
                <a:gd name="T77" fmla="*/ 2147483647 h 353"/>
                <a:gd name="T78" fmla="*/ 2147483647 w 280"/>
                <a:gd name="T79" fmla="*/ 2147483647 h 353"/>
                <a:gd name="T80" fmla="*/ 2147483647 w 280"/>
                <a:gd name="T81" fmla="*/ 2147483647 h 353"/>
                <a:gd name="T82" fmla="*/ 2147483647 w 280"/>
                <a:gd name="T83" fmla="*/ 2147483647 h 353"/>
                <a:gd name="T84" fmla="*/ 2147483647 w 280"/>
                <a:gd name="T85" fmla="*/ 2147483647 h 353"/>
                <a:gd name="T86" fmla="*/ 2147483647 w 280"/>
                <a:gd name="T87" fmla="*/ 2147483647 h 353"/>
                <a:gd name="T88" fmla="*/ 2147483647 w 280"/>
                <a:gd name="T89" fmla="*/ 2147483647 h 353"/>
                <a:gd name="T90" fmla="*/ 2147483647 w 280"/>
                <a:gd name="T91" fmla="*/ 2147483647 h 353"/>
                <a:gd name="T92" fmla="*/ 2147483647 w 280"/>
                <a:gd name="T93" fmla="*/ 2147483647 h 353"/>
                <a:gd name="T94" fmla="*/ 2147483647 w 280"/>
                <a:gd name="T95" fmla="*/ 2147483647 h 353"/>
                <a:gd name="T96" fmla="*/ 2147483647 w 280"/>
                <a:gd name="T97" fmla="*/ 2147483647 h 353"/>
                <a:gd name="T98" fmla="*/ 2147483647 w 280"/>
                <a:gd name="T99" fmla="*/ 2147483647 h 353"/>
                <a:gd name="T100" fmla="*/ 2147483647 w 280"/>
                <a:gd name="T101" fmla="*/ 2147483647 h 353"/>
                <a:gd name="T102" fmla="*/ 2147483647 w 280"/>
                <a:gd name="T103" fmla="*/ 2147483647 h 353"/>
                <a:gd name="T104" fmla="*/ 2147483647 w 280"/>
                <a:gd name="T105" fmla="*/ 2147483647 h 353"/>
                <a:gd name="T106" fmla="*/ 2147483647 w 280"/>
                <a:gd name="T107" fmla="*/ 2147483647 h 353"/>
                <a:gd name="T108" fmla="*/ 2147483647 w 280"/>
                <a:gd name="T109" fmla="*/ 2147483647 h 3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80"/>
                <a:gd name="T166" fmla="*/ 0 h 353"/>
                <a:gd name="T167" fmla="*/ 280 w 280"/>
                <a:gd name="T168" fmla="*/ 353 h 3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71" name="Freeform 155">
              <a:extLst>
                <a:ext uri="{FF2B5EF4-FFF2-40B4-BE49-F238E27FC236}">
                  <a16:creationId xmlns:a16="http://schemas.microsoft.com/office/drawing/2014/main" id="{9E8C1018-1DDA-214F-8CE6-E55A60CB2E48}"/>
                </a:ext>
              </a:extLst>
            </p:cNvPr>
            <p:cNvSpPr>
              <a:spLocks noEditPoints="1"/>
            </p:cNvSpPr>
            <p:nvPr>
              <p:custDataLst>
                <p:tags r:id="rId164"/>
              </p:custDataLst>
            </p:nvPr>
          </p:nvSpPr>
          <p:spPr bwMode="auto">
            <a:xfrm>
              <a:off x="3278189" y="4051095"/>
              <a:ext cx="1150069" cy="1176779"/>
            </a:xfrm>
            <a:custGeom>
              <a:avLst/>
              <a:gdLst>
                <a:gd name="T0" fmla="*/ 2147483647 w 1858"/>
                <a:gd name="T1" fmla="*/ 2147483647 h 2099"/>
                <a:gd name="T2" fmla="*/ 2147483647 w 1858"/>
                <a:gd name="T3" fmla="*/ 2147483647 h 2099"/>
                <a:gd name="T4" fmla="*/ 2147483647 w 1858"/>
                <a:gd name="T5" fmla="*/ 2147483647 h 2099"/>
                <a:gd name="T6" fmla="*/ 2147483647 w 1858"/>
                <a:gd name="T7" fmla="*/ 2147483647 h 2099"/>
                <a:gd name="T8" fmla="*/ 2147483647 w 1858"/>
                <a:gd name="T9" fmla="*/ 2147483647 h 2099"/>
                <a:gd name="T10" fmla="*/ 2147483647 w 1858"/>
                <a:gd name="T11" fmla="*/ 2147483647 h 2099"/>
                <a:gd name="T12" fmla="*/ 2147483647 w 1858"/>
                <a:gd name="T13" fmla="*/ 2147483647 h 2099"/>
                <a:gd name="T14" fmla="*/ 2147483647 w 1858"/>
                <a:gd name="T15" fmla="*/ 2147483647 h 2099"/>
                <a:gd name="T16" fmla="*/ 2147483647 w 1858"/>
                <a:gd name="T17" fmla="*/ 2147483647 h 2099"/>
                <a:gd name="T18" fmla="*/ 2147483647 w 1858"/>
                <a:gd name="T19" fmla="*/ 2147483647 h 2099"/>
                <a:gd name="T20" fmla="*/ 2147483647 w 1858"/>
                <a:gd name="T21" fmla="*/ 2147483647 h 2099"/>
                <a:gd name="T22" fmla="*/ 2147483647 w 1858"/>
                <a:gd name="T23" fmla="*/ 2147483647 h 2099"/>
                <a:gd name="T24" fmla="*/ 2147483647 w 1858"/>
                <a:gd name="T25" fmla="*/ 2147483647 h 2099"/>
                <a:gd name="T26" fmla="*/ 2147483647 w 1858"/>
                <a:gd name="T27" fmla="*/ 2147483647 h 2099"/>
                <a:gd name="T28" fmla="*/ 2147483647 w 1858"/>
                <a:gd name="T29" fmla="*/ 2147483647 h 2099"/>
                <a:gd name="T30" fmla="*/ 2147483647 w 1858"/>
                <a:gd name="T31" fmla="*/ 2147483647 h 2099"/>
                <a:gd name="T32" fmla="*/ 2147483647 w 1858"/>
                <a:gd name="T33" fmla="*/ 2147483647 h 2099"/>
                <a:gd name="T34" fmla="*/ 2147483647 w 1858"/>
                <a:gd name="T35" fmla="*/ 2147483647 h 2099"/>
                <a:gd name="T36" fmla="*/ 2147483647 w 1858"/>
                <a:gd name="T37" fmla="*/ 2147483647 h 2099"/>
                <a:gd name="T38" fmla="*/ 2147483647 w 1858"/>
                <a:gd name="T39" fmla="*/ 2147483647 h 2099"/>
                <a:gd name="T40" fmla="*/ 2147483647 w 1858"/>
                <a:gd name="T41" fmla="*/ 2147483647 h 2099"/>
                <a:gd name="T42" fmla="*/ 2147483647 w 1858"/>
                <a:gd name="T43" fmla="*/ 2147483647 h 2099"/>
                <a:gd name="T44" fmla="*/ 2147483647 w 1858"/>
                <a:gd name="T45" fmla="*/ 2147483647 h 2099"/>
                <a:gd name="T46" fmla="*/ 2147483647 w 1858"/>
                <a:gd name="T47" fmla="*/ 2147483647 h 2099"/>
                <a:gd name="T48" fmla="*/ 2147483647 w 1858"/>
                <a:gd name="T49" fmla="*/ 2147483647 h 2099"/>
                <a:gd name="T50" fmla="*/ 2147483647 w 1858"/>
                <a:gd name="T51" fmla="*/ 2147483647 h 2099"/>
                <a:gd name="T52" fmla="*/ 2147483647 w 1858"/>
                <a:gd name="T53" fmla="*/ 2147483647 h 2099"/>
                <a:gd name="T54" fmla="*/ 2147483647 w 1858"/>
                <a:gd name="T55" fmla="*/ 2147483647 h 2099"/>
                <a:gd name="T56" fmla="*/ 2147483647 w 1858"/>
                <a:gd name="T57" fmla="*/ 2147483647 h 2099"/>
                <a:gd name="T58" fmla="*/ 2147483647 w 1858"/>
                <a:gd name="T59" fmla="*/ 2147483647 h 2099"/>
                <a:gd name="T60" fmla="*/ 2147483647 w 1858"/>
                <a:gd name="T61" fmla="*/ 2147483647 h 2099"/>
                <a:gd name="T62" fmla="*/ 2147483647 w 1858"/>
                <a:gd name="T63" fmla="*/ 2147483647 h 2099"/>
                <a:gd name="T64" fmla="*/ 2147483647 w 1858"/>
                <a:gd name="T65" fmla="*/ 2147483647 h 2099"/>
                <a:gd name="T66" fmla="*/ 2147483647 w 1858"/>
                <a:gd name="T67" fmla="*/ 2147483647 h 2099"/>
                <a:gd name="T68" fmla="*/ 2147483647 w 1858"/>
                <a:gd name="T69" fmla="*/ 2147483647 h 2099"/>
                <a:gd name="T70" fmla="*/ 2147483647 w 1858"/>
                <a:gd name="T71" fmla="*/ 2147483647 h 2099"/>
                <a:gd name="T72" fmla="*/ 2147483647 w 1858"/>
                <a:gd name="T73" fmla="*/ 2147483647 h 2099"/>
                <a:gd name="T74" fmla="*/ 2147483647 w 1858"/>
                <a:gd name="T75" fmla="*/ 2147483647 h 2099"/>
                <a:gd name="T76" fmla="*/ 2147483647 w 1858"/>
                <a:gd name="T77" fmla="*/ 2147483647 h 2099"/>
                <a:gd name="T78" fmla="*/ 2147483647 w 1858"/>
                <a:gd name="T79" fmla="*/ 2147483647 h 2099"/>
                <a:gd name="T80" fmla="*/ 2147483647 w 1858"/>
                <a:gd name="T81" fmla="*/ 2147483647 h 2099"/>
                <a:gd name="T82" fmla="*/ 2147483647 w 1858"/>
                <a:gd name="T83" fmla="*/ 2147483647 h 2099"/>
                <a:gd name="T84" fmla="*/ 2147483647 w 1858"/>
                <a:gd name="T85" fmla="*/ 2147483647 h 2099"/>
                <a:gd name="T86" fmla="*/ 2147483647 w 1858"/>
                <a:gd name="T87" fmla="*/ 2147483647 h 2099"/>
                <a:gd name="T88" fmla="*/ 2147483647 w 1858"/>
                <a:gd name="T89" fmla="*/ 2147483647 h 2099"/>
                <a:gd name="T90" fmla="*/ 2147483647 w 1858"/>
                <a:gd name="T91" fmla="*/ 2147483647 h 2099"/>
                <a:gd name="T92" fmla="*/ 2147483647 w 1858"/>
                <a:gd name="T93" fmla="*/ 2147483647 h 2099"/>
                <a:gd name="T94" fmla="*/ 2147483647 w 1858"/>
                <a:gd name="T95" fmla="*/ 2147483647 h 2099"/>
                <a:gd name="T96" fmla="*/ 2147483647 w 1858"/>
                <a:gd name="T97" fmla="*/ 2147483647 h 2099"/>
                <a:gd name="T98" fmla="*/ 2147483647 w 1858"/>
                <a:gd name="T99" fmla="*/ 2147483647 h 2099"/>
                <a:gd name="T100" fmla="*/ 2147483647 w 1858"/>
                <a:gd name="T101" fmla="*/ 2147483647 h 2099"/>
                <a:gd name="T102" fmla="*/ 2147483647 w 1858"/>
                <a:gd name="T103" fmla="*/ 2147483647 h 2099"/>
                <a:gd name="T104" fmla="*/ 2147483647 w 1858"/>
                <a:gd name="T105" fmla="*/ 2147483647 h 2099"/>
                <a:gd name="T106" fmla="*/ 2147483647 w 1858"/>
                <a:gd name="T107" fmla="*/ 2147483647 h 2099"/>
                <a:gd name="T108" fmla="*/ 2147483647 w 1858"/>
                <a:gd name="T109" fmla="*/ 2147483647 h 2099"/>
                <a:gd name="T110" fmla="*/ 2147483647 w 1858"/>
                <a:gd name="T111" fmla="*/ 2147483647 h 2099"/>
                <a:gd name="T112" fmla="*/ 2147483647 w 1858"/>
                <a:gd name="T113" fmla="*/ 2147483647 h 2099"/>
                <a:gd name="T114" fmla="*/ 2147483647 w 1858"/>
                <a:gd name="T115" fmla="*/ 2147483647 h 209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58"/>
                <a:gd name="T175" fmla="*/ 0 h 2099"/>
                <a:gd name="T176" fmla="*/ 1858 w 1858"/>
                <a:gd name="T177" fmla="*/ 2099 h 209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72" name="Freeform 156">
              <a:extLst>
                <a:ext uri="{FF2B5EF4-FFF2-40B4-BE49-F238E27FC236}">
                  <a16:creationId xmlns:a16="http://schemas.microsoft.com/office/drawing/2014/main" id="{1DFE5408-962C-624E-B33D-C90D54805E3A}"/>
                </a:ext>
              </a:extLst>
            </p:cNvPr>
            <p:cNvSpPr>
              <a:spLocks/>
            </p:cNvSpPr>
            <p:nvPr>
              <p:custDataLst>
                <p:tags r:id="rId165"/>
              </p:custDataLst>
            </p:nvPr>
          </p:nvSpPr>
          <p:spPr bwMode="auto">
            <a:xfrm>
              <a:off x="3366655" y="3612099"/>
              <a:ext cx="105158" cy="61760"/>
            </a:xfrm>
            <a:custGeom>
              <a:avLst/>
              <a:gdLst>
                <a:gd name="T0" fmla="*/ 2147483647 w 172"/>
                <a:gd name="T1" fmla="*/ 2147483647 h 111"/>
                <a:gd name="T2" fmla="*/ 2147483647 w 172"/>
                <a:gd name="T3" fmla="*/ 2147483647 h 111"/>
                <a:gd name="T4" fmla="*/ 2147483647 w 172"/>
                <a:gd name="T5" fmla="*/ 2147483647 h 111"/>
                <a:gd name="T6" fmla="*/ 2147483647 w 172"/>
                <a:gd name="T7" fmla="*/ 2147483647 h 111"/>
                <a:gd name="T8" fmla="*/ 2147483647 w 172"/>
                <a:gd name="T9" fmla="*/ 0 h 111"/>
                <a:gd name="T10" fmla="*/ 2147483647 w 172"/>
                <a:gd name="T11" fmla="*/ 2147483647 h 111"/>
                <a:gd name="T12" fmla="*/ 2147483647 w 172"/>
                <a:gd name="T13" fmla="*/ 2147483647 h 111"/>
                <a:gd name="T14" fmla="*/ 2147483647 w 172"/>
                <a:gd name="T15" fmla="*/ 2147483647 h 111"/>
                <a:gd name="T16" fmla="*/ 2147483647 w 172"/>
                <a:gd name="T17" fmla="*/ 2147483647 h 111"/>
                <a:gd name="T18" fmla="*/ 2147483647 w 172"/>
                <a:gd name="T19" fmla="*/ 2147483647 h 111"/>
                <a:gd name="T20" fmla="*/ 0 w 172"/>
                <a:gd name="T21" fmla="*/ 2147483647 h 111"/>
                <a:gd name="T22" fmla="*/ 2147483647 w 172"/>
                <a:gd name="T23" fmla="*/ 2147483647 h 111"/>
                <a:gd name="T24" fmla="*/ 2147483647 w 172"/>
                <a:gd name="T25" fmla="*/ 2147483647 h 111"/>
                <a:gd name="T26" fmla="*/ 2147483647 w 172"/>
                <a:gd name="T27" fmla="*/ 2147483647 h 111"/>
                <a:gd name="T28" fmla="*/ 2147483647 w 172"/>
                <a:gd name="T29" fmla="*/ 2147483647 h 111"/>
                <a:gd name="T30" fmla="*/ 2147483647 w 172"/>
                <a:gd name="T31" fmla="*/ 2147483647 h 1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2"/>
                <a:gd name="T49" fmla="*/ 0 h 111"/>
                <a:gd name="T50" fmla="*/ 172 w 172"/>
                <a:gd name="T51" fmla="*/ 111 h 1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73" name="Freeform 157">
              <a:extLst>
                <a:ext uri="{FF2B5EF4-FFF2-40B4-BE49-F238E27FC236}">
                  <a16:creationId xmlns:a16="http://schemas.microsoft.com/office/drawing/2014/main" id="{095B2C79-6086-194D-917A-DB30399FF783}"/>
                </a:ext>
              </a:extLst>
            </p:cNvPr>
            <p:cNvSpPr>
              <a:spLocks/>
            </p:cNvSpPr>
            <p:nvPr>
              <p:custDataLst>
                <p:tags r:id="rId166"/>
              </p:custDataLst>
            </p:nvPr>
          </p:nvSpPr>
          <p:spPr bwMode="auto">
            <a:xfrm>
              <a:off x="3296551" y="3612099"/>
              <a:ext cx="83459" cy="56752"/>
            </a:xfrm>
            <a:custGeom>
              <a:avLst/>
              <a:gdLst>
                <a:gd name="T0" fmla="*/ 2147483647 w 132"/>
                <a:gd name="T1" fmla="*/ 2147483647 h 106"/>
                <a:gd name="T2" fmla="*/ 2147483647 w 132"/>
                <a:gd name="T3" fmla="*/ 2147483647 h 106"/>
                <a:gd name="T4" fmla="*/ 2147483647 w 132"/>
                <a:gd name="T5" fmla="*/ 2147483647 h 106"/>
                <a:gd name="T6" fmla="*/ 2147483647 w 132"/>
                <a:gd name="T7" fmla="*/ 2147483647 h 106"/>
                <a:gd name="T8" fmla="*/ 2147483647 w 132"/>
                <a:gd name="T9" fmla="*/ 2147483647 h 106"/>
                <a:gd name="T10" fmla="*/ 2147483647 w 132"/>
                <a:gd name="T11" fmla="*/ 0 h 106"/>
                <a:gd name="T12" fmla="*/ 2147483647 w 132"/>
                <a:gd name="T13" fmla="*/ 2147483647 h 106"/>
                <a:gd name="T14" fmla="*/ 2147483647 w 132"/>
                <a:gd name="T15" fmla="*/ 2147483647 h 106"/>
                <a:gd name="T16" fmla="*/ 2147483647 w 132"/>
                <a:gd name="T17" fmla="*/ 2147483647 h 106"/>
                <a:gd name="T18" fmla="*/ 2147483647 w 132"/>
                <a:gd name="T19" fmla="*/ 2147483647 h 106"/>
                <a:gd name="T20" fmla="*/ 2147483647 w 132"/>
                <a:gd name="T21" fmla="*/ 2147483647 h 106"/>
                <a:gd name="T22" fmla="*/ 2147483647 w 132"/>
                <a:gd name="T23" fmla="*/ 2147483647 h 106"/>
                <a:gd name="T24" fmla="*/ 0 w 132"/>
                <a:gd name="T25" fmla="*/ 2147483647 h 106"/>
                <a:gd name="T26" fmla="*/ 2147483647 w 132"/>
                <a:gd name="T27" fmla="*/ 2147483647 h 106"/>
                <a:gd name="T28" fmla="*/ 2147483647 w 132"/>
                <a:gd name="T29" fmla="*/ 2147483647 h 106"/>
                <a:gd name="T30" fmla="*/ 2147483647 w 132"/>
                <a:gd name="T31" fmla="*/ 2147483647 h 106"/>
                <a:gd name="T32" fmla="*/ 2147483647 w 132"/>
                <a:gd name="T33" fmla="*/ 2147483647 h 106"/>
                <a:gd name="T34" fmla="*/ 2147483647 w 132"/>
                <a:gd name="T35" fmla="*/ 2147483647 h 106"/>
                <a:gd name="T36" fmla="*/ 2147483647 w 132"/>
                <a:gd name="T37" fmla="*/ 2147483647 h 10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2"/>
                <a:gd name="T58" fmla="*/ 0 h 106"/>
                <a:gd name="T59" fmla="*/ 132 w 132"/>
                <a:gd name="T60" fmla="*/ 106 h 10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74" name="Freeform 169">
              <a:extLst>
                <a:ext uri="{FF2B5EF4-FFF2-40B4-BE49-F238E27FC236}">
                  <a16:creationId xmlns:a16="http://schemas.microsoft.com/office/drawing/2014/main" id="{F65B8203-6F30-3B4C-B34A-BB9B8EA611AA}"/>
                </a:ext>
              </a:extLst>
            </p:cNvPr>
            <p:cNvSpPr>
              <a:spLocks/>
            </p:cNvSpPr>
            <p:nvPr>
              <p:custDataLst>
                <p:tags r:id="rId167"/>
              </p:custDataLst>
            </p:nvPr>
          </p:nvSpPr>
          <p:spPr bwMode="auto">
            <a:xfrm>
              <a:off x="3057856" y="4208000"/>
              <a:ext cx="390589" cy="555840"/>
            </a:xfrm>
            <a:custGeom>
              <a:avLst/>
              <a:gdLst>
                <a:gd name="T0" fmla="*/ 2147483647 w 630"/>
                <a:gd name="T1" fmla="*/ 2147483647 h 993"/>
                <a:gd name="T2" fmla="*/ 2147483647 w 630"/>
                <a:gd name="T3" fmla="*/ 2147483647 h 993"/>
                <a:gd name="T4" fmla="*/ 2147483647 w 630"/>
                <a:gd name="T5" fmla="*/ 2147483647 h 993"/>
                <a:gd name="T6" fmla="*/ 2147483647 w 630"/>
                <a:gd name="T7" fmla="*/ 2147483647 h 993"/>
                <a:gd name="T8" fmla="*/ 2147483647 w 630"/>
                <a:gd name="T9" fmla="*/ 2147483647 h 993"/>
                <a:gd name="T10" fmla="*/ 2147483647 w 630"/>
                <a:gd name="T11" fmla="*/ 2147483647 h 993"/>
                <a:gd name="T12" fmla="*/ 2147483647 w 630"/>
                <a:gd name="T13" fmla="*/ 2147483647 h 993"/>
                <a:gd name="T14" fmla="*/ 2147483647 w 630"/>
                <a:gd name="T15" fmla="*/ 2147483647 h 993"/>
                <a:gd name="T16" fmla="*/ 2147483647 w 630"/>
                <a:gd name="T17" fmla="*/ 2147483647 h 993"/>
                <a:gd name="T18" fmla="*/ 2147483647 w 630"/>
                <a:gd name="T19" fmla="*/ 2147483647 h 993"/>
                <a:gd name="T20" fmla="*/ 2147483647 w 630"/>
                <a:gd name="T21" fmla="*/ 2147483647 h 993"/>
                <a:gd name="T22" fmla="*/ 2147483647 w 630"/>
                <a:gd name="T23" fmla="*/ 2147483647 h 993"/>
                <a:gd name="T24" fmla="*/ 2147483647 w 630"/>
                <a:gd name="T25" fmla="*/ 2147483647 h 993"/>
                <a:gd name="T26" fmla="*/ 2147483647 w 630"/>
                <a:gd name="T27" fmla="*/ 2147483647 h 993"/>
                <a:gd name="T28" fmla="*/ 2147483647 w 630"/>
                <a:gd name="T29" fmla="*/ 2147483647 h 993"/>
                <a:gd name="T30" fmla="*/ 2147483647 w 630"/>
                <a:gd name="T31" fmla="*/ 2147483647 h 993"/>
                <a:gd name="T32" fmla="*/ 2147483647 w 630"/>
                <a:gd name="T33" fmla="*/ 2147483647 h 993"/>
                <a:gd name="T34" fmla="*/ 2147483647 w 630"/>
                <a:gd name="T35" fmla="*/ 2147483647 h 993"/>
                <a:gd name="T36" fmla="*/ 2147483647 w 630"/>
                <a:gd name="T37" fmla="*/ 2147483647 h 993"/>
                <a:gd name="T38" fmla="*/ 2147483647 w 630"/>
                <a:gd name="T39" fmla="*/ 2147483647 h 993"/>
                <a:gd name="T40" fmla="*/ 2147483647 w 630"/>
                <a:gd name="T41" fmla="*/ 2147483647 h 993"/>
                <a:gd name="T42" fmla="*/ 2147483647 w 630"/>
                <a:gd name="T43" fmla="*/ 2147483647 h 993"/>
                <a:gd name="T44" fmla="*/ 2147483647 w 630"/>
                <a:gd name="T45" fmla="*/ 2147483647 h 993"/>
                <a:gd name="T46" fmla="*/ 2147483647 w 630"/>
                <a:gd name="T47" fmla="*/ 2147483647 h 993"/>
                <a:gd name="T48" fmla="*/ 2147483647 w 630"/>
                <a:gd name="T49" fmla="*/ 2147483647 h 993"/>
                <a:gd name="T50" fmla="*/ 2147483647 w 630"/>
                <a:gd name="T51" fmla="*/ 2147483647 h 993"/>
                <a:gd name="T52" fmla="*/ 2147483647 w 630"/>
                <a:gd name="T53" fmla="*/ 2147483647 h 993"/>
                <a:gd name="T54" fmla="*/ 2147483647 w 630"/>
                <a:gd name="T55" fmla="*/ 2147483647 h 993"/>
                <a:gd name="T56" fmla="*/ 2147483647 w 630"/>
                <a:gd name="T57" fmla="*/ 2147483647 h 993"/>
                <a:gd name="T58" fmla="*/ 2147483647 w 630"/>
                <a:gd name="T59" fmla="*/ 2147483647 h 993"/>
                <a:gd name="T60" fmla="*/ 2147483647 w 630"/>
                <a:gd name="T61" fmla="*/ 2147483647 h 993"/>
                <a:gd name="T62" fmla="*/ 2147483647 w 630"/>
                <a:gd name="T63" fmla="*/ 2147483647 h 993"/>
                <a:gd name="T64" fmla="*/ 2147483647 w 630"/>
                <a:gd name="T65" fmla="*/ 2147483647 h 993"/>
                <a:gd name="T66" fmla="*/ 2147483647 w 630"/>
                <a:gd name="T67" fmla="*/ 2147483647 h 993"/>
                <a:gd name="T68" fmla="*/ 2147483647 w 630"/>
                <a:gd name="T69" fmla="*/ 0 h 993"/>
                <a:gd name="T70" fmla="*/ 2147483647 w 630"/>
                <a:gd name="T71" fmla="*/ 2147483647 h 993"/>
                <a:gd name="T72" fmla="*/ 2147483647 w 630"/>
                <a:gd name="T73" fmla="*/ 2147483647 h 993"/>
                <a:gd name="T74" fmla="*/ 2147483647 w 630"/>
                <a:gd name="T75" fmla="*/ 2147483647 h 993"/>
                <a:gd name="T76" fmla="*/ 2147483647 w 630"/>
                <a:gd name="T77" fmla="*/ 2147483647 h 993"/>
                <a:gd name="T78" fmla="*/ 2147483647 w 630"/>
                <a:gd name="T79" fmla="*/ 2147483647 h 993"/>
                <a:gd name="T80" fmla="*/ 2147483647 w 630"/>
                <a:gd name="T81" fmla="*/ 2147483647 h 993"/>
                <a:gd name="T82" fmla="*/ 2147483647 w 630"/>
                <a:gd name="T83" fmla="*/ 2147483647 h 993"/>
                <a:gd name="T84" fmla="*/ 2147483647 w 630"/>
                <a:gd name="T85" fmla="*/ 2147483647 h 993"/>
                <a:gd name="T86" fmla="*/ 2147483647 w 630"/>
                <a:gd name="T87" fmla="*/ 2147483647 h 993"/>
                <a:gd name="T88" fmla="*/ 2147483647 w 630"/>
                <a:gd name="T89" fmla="*/ 2147483647 h 993"/>
                <a:gd name="T90" fmla="*/ 2147483647 w 630"/>
                <a:gd name="T91" fmla="*/ 2147483647 h 993"/>
                <a:gd name="T92" fmla="*/ 2147483647 w 630"/>
                <a:gd name="T93" fmla="*/ 2147483647 h 993"/>
                <a:gd name="T94" fmla="*/ 0 w 630"/>
                <a:gd name="T95" fmla="*/ 2147483647 h 993"/>
                <a:gd name="T96" fmla="*/ 2147483647 w 630"/>
                <a:gd name="T97" fmla="*/ 2147483647 h 993"/>
                <a:gd name="T98" fmla="*/ 2147483647 w 630"/>
                <a:gd name="T99" fmla="*/ 2147483647 h 993"/>
                <a:gd name="T100" fmla="*/ 2147483647 w 630"/>
                <a:gd name="T101" fmla="*/ 2147483647 h 993"/>
                <a:gd name="T102" fmla="*/ 2147483647 w 630"/>
                <a:gd name="T103" fmla="*/ 2147483647 h 993"/>
                <a:gd name="T104" fmla="*/ 2147483647 w 630"/>
                <a:gd name="T105" fmla="*/ 2147483647 h 993"/>
                <a:gd name="T106" fmla="*/ 2147483647 w 630"/>
                <a:gd name="T107" fmla="*/ 2147483647 h 993"/>
                <a:gd name="T108" fmla="*/ 2147483647 w 630"/>
                <a:gd name="T109" fmla="*/ 2147483647 h 993"/>
                <a:gd name="T110" fmla="*/ 2147483647 w 630"/>
                <a:gd name="T111" fmla="*/ 2147483647 h 993"/>
                <a:gd name="T112" fmla="*/ 2147483647 w 630"/>
                <a:gd name="T113" fmla="*/ 2147483647 h 993"/>
                <a:gd name="T114" fmla="*/ 2147483647 w 630"/>
                <a:gd name="T115" fmla="*/ 2147483647 h 993"/>
                <a:gd name="T116" fmla="*/ 2147483647 w 630"/>
                <a:gd name="T117" fmla="*/ 2147483647 h 993"/>
                <a:gd name="T118" fmla="*/ 2147483647 w 630"/>
                <a:gd name="T119" fmla="*/ 2147483647 h 993"/>
                <a:gd name="T120" fmla="*/ 2147483647 w 630"/>
                <a:gd name="T121" fmla="*/ 2147483647 h 993"/>
                <a:gd name="T122" fmla="*/ 2147483647 w 630"/>
                <a:gd name="T123" fmla="*/ 2147483647 h 993"/>
                <a:gd name="T124" fmla="*/ 2147483647 w 630"/>
                <a:gd name="T125" fmla="*/ 2147483647 h 9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30"/>
                <a:gd name="T190" fmla="*/ 0 h 993"/>
                <a:gd name="T191" fmla="*/ 630 w 630"/>
                <a:gd name="T192" fmla="*/ 993 h 9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75" name="Freeform 170">
              <a:extLst>
                <a:ext uri="{FF2B5EF4-FFF2-40B4-BE49-F238E27FC236}">
                  <a16:creationId xmlns:a16="http://schemas.microsoft.com/office/drawing/2014/main" id="{089D20DD-D6B6-EE4B-BD24-429E834AF6CB}"/>
                </a:ext>
              </a:extLst>
            </p:cNvPr>
            <p:cNvSpPr>
              <a:spLocks noEditPoints="1"/>
            </p:cNvSpPr>
            <p:nvPr>
              <p:custDataLst>
                <p:tags r:id="rId168"/>
              </p:custDataLst>
            </p:nvPr>
          </p:nvSpPr>
          <p:spPr bwMode="auto">
            <a:xfrm>
              <a:off x="3410054" y="4500108"/>
              <a:ext cx="372227" cy="398936"/>
            </a:xfrm>
            <a:custGeom>
              <a:avLst/>
              <a:gdLst>
                <a:gd name="T0" fmla="*/ 2147483647 w 604"/>
                <a:gd name="T1" fmla="*/ 2147483647 h 712"/>
                <a:gd name="T2" fmla="*/ 2147483647 w 604"/>
                <a:gd name="T3" fmla="*/ 2147483647 h 712"/>
                <a:gd name="T4" fmla="*/ 2147483647 w 604"/>
                <a:gd name="T5" fmla="*/ 2147483647 h 712"/>
                <a:gd name="T6" fmla="*/ 2147483647 w 604"/>
                <a:gd name="T7" fmla="*/ 2147483647 h 712"/>
                <a:gd name="T8" fmla="*/ 2147483647 w 604"/>
                <a:gd name="T9" fmla="*/ 2147483647 h 712"/>
                <a:gd name="T10" fmla="*/ 2147483647 w 604"/>
                <a:gd name="T11" fmla="*/ 2147483647 h 712"/>
                <a:gd name="T12" fmla="*/ 2147483647 w 604"/>
                <a:gd name="T13" fmla="*/ 2147483647 h 712"/>
                <a:gd name="T14" fmla="*/ 2147483647 w 604"/>
                <a:gd name="T15" fmla="*/ 2147483647 h 712"/>
                <a:gd name="T16" fmla="*/ 2147483647 w 604"/>
                <a:gd name="T17" fmla="*/ 2147483647 h 712"/>
                <a:gd name="T18" fmla="*/ 2147483647 w 604"/>
                <a:gd name="T19" fmla="*/ 2147483647 h 712"/>
                <a:gd name="T20" fmla="*/ 2147483647 w 604"/>
                <a:gd name="T21" fmla="*/ 2147483647 h 712"/>
                <a:gd name="T22" fmla="*/ 2147483647 w 604"/>
                <a:gd name="T23" fmla="*/ 2147483647 h 712"/>
                <a:gd name="T24" fmla="*/ 2147483647 w 604"/>
                <a:gd name="T25" fmla="*/ 2147483647 h 712"/>
                <a:gd name="T26" fmla="*/ 2147483647 w 604"/>
                <a:gd name="T27" fmla="*/ 2147483647 h 712"/>
                <a:gd name="T28" fmla="*/ 2147483647 w 604"/>
                <a:gd name="T29" fmla="*/ 2147483647 h 712"/>
                <a:gd name="T30" fmla="*/ 2147483647 w 604"/>
                <a:gd name="T31" fmla="*/ 2147483647 h 712"/>
                <a:gd name="T32" fmla="*/ 2147483647 w 604"/>
                <a:gd name="T33" fmla="*/ 2147483647 h 712"/>
                <a:gd name="T34" fmla="*/ 2147483647 w 604"/>
                <a:gd name="T35" fmla="*/ 2147483647 h 712"/>
                <a:gd name="T36" fmla="*/ 2147483647 w 604"/>
                <a:gd name="T37" fmla="*/ 2147483647 h 712"/>
                <a:gd name="T38" fmla="*/ 2147483647 w 604"/>
                <a:gd name="T39" fmla="*/ 2147483647 h 712"/>
                <a:gd name="T40" fmla="*/ 2147483647 w 604"/>
                <a:gd name="T41" fmla="*/ 2147483647 h 712"/>
                <a:gd name="T42" fmla="*/ 2147483647 w 604"/>
                <a:gd name="T43" fmla="*/ 2147483647 h 712"/>
                <a:gd name="T44" fmla="*/ 2147483647 w 604"/>
                <a:gd name="T45" fmla="*/ 2147483647 h 712"/>
                <a:gd name="T46" fmla="*/ 2147483647 w 604"/>
                <a:gd name="T47" fmla="*/ 2147483647 h 712"/>
                <a:gd name="T48" fmla="*/ 2147483647 w 604"/>
                <a:gd name="T49" fmla="*/ 2147483647 h 712"/>
                <a:gd name="T50" fmla="*/ 2147483647 w 604"/>
                <a:gd name="T51" fmla="*/ 2147483647 h 712"/>
                <a:gd name="T52" fmla="*/ 2147483647 w 604"/>
                <a:gd name="T53" fmla="*/ 2147483647 h 712"/>
                <a:gd name="T54" fmla="*/ 2147483647 w 604"/>
                <a:gd name="T55" fmla="*/ 2147483647 h 712"/>
                <a:gd name="T56" fmla="*/ 2147483647 w 604"/>
                <a:gd name="T57" fmla="*/ 2147483647 h 712"/>
                <a:gd name="T58" fmla="*/ 2147483647 w 604"/>
                <a:gd name="T59" fmla="*/ 2147483647 h 712"/>
                <a:gd name="T60" fmla="*/ 2147483647 w 604"/>
                <a:gd name="T61" fmla="*/ 2147483647 h 712"/>
                <a:gd name="T62" fmla="*/ 2147483647 w 604"/>
                <a:gd name="T63" fmla="*/ 2147483647 h 712"/>
                <a:gd name="T64" fmla="*/ 2147483647 w 604"/>
                <a:gd name="T65" fmla="*/ 2147483647 h 712"/>
                <a:gd name="T66" fmla="*/ 2147483647 w 604"/>
                <a:gd name="T67" fmla="*/ 2147483647 h 712"/>
                <a:gd name="T68" fmla="*/ 2147483647 w 604"/>
                <a:gd name="T69" fmla="*/ 2147483647 h 712"/>
                <a:gd name="T70" fmla="*/ 2147483647 w 604"/>
                <a:gd name="T71" fmla="*/ 2147483647 h 712"/>
                <a:gd name="T72" fmla="*/ 2147483647 w 604"/>
                <a:gd name="T73" fmla="*/ 2147483647 h 712"/>
                <a:gd name="T74" fmla="*/ 2147483647 w 604"/>
                <a:gd name="T75" fmla="*/ 2147483647 h 712"/>
                <a:gd name="T76" fmla="*/ 2147483647 w 604"/>
                <a:gd name="T77" fmla="*/ 2147483647 h 712"/>
                <a:gd name="T78" fmla="*/ 2147483647 w 604"/>
                <a:gd name="T79" fmla="*/ 2147483647 h 712"/>
                <a:gd name="T80" fmla="*/ 2147483647 w 604"/>
                <a:gd name="T81" fmla="*/ 2147483647 h 712"/>
                <a:gd name="T82" fmla="*/ 2147483647 w 604"/>
                <a:gd name="T83" fmla="*/ 2147483647 h 712"/>
                <a:gd name="T84" fmla="*/ 2147483647 w 604"/>
                <a:gd name="T85" fmla="*/ 2147483647 h 712"/>
                <a:gd name="T86" fmla="*/ 2147483647 w 604"/>
                <a:gd name="T87" fmla="*/ 2147483647 h 712"/>
                <a:gd name="T88" fmla="*/ 2147483647 w 604"/>
                <a:gd name="T89" fmla="*/ 2147483647 h 712"/>
                <a:gd name="T90" fmla="*/ 2147483647 w 604"/>
                <a:gd name="T91" fmla="*/ 2147483647 h 712"/>
                <a:gd name="T92" fmla="*/ 2147483647 w 604"/>
                <a:gd name="T93" fmla="*/ 2147483647 h 712"/>
                <a:gd name="T94" fmla="*/ 2147483647 w 604"/>
                <a:gd name="T95" fmla="*/ 2147483647 h 712"/>
                <a:gd name="T96" fmla="*/ 2147483647 w 604"/>
                <a:gd name="T97" fmla="*/ 2147483647 h 712"/>
                <a:gd name="T98" fmla="*/ 2147483647 w 604"/>
                <a:gd name="T99" fmla="*/ 2147483647 h 7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4"/>
                <a:gd name="T151" fmla="*/ 0 h 712"/>
                <a:gd name="T152" fmla="*/ 604 w 604"/>
                <a:gd name="T153" fmla="*/ 712 h 7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76" name="Freeform 175">
              <a:extLst>
                <a:ext uri="{FF2B5EF4-FFF2-40B4-BE49-F238E27FC236}">
                  <a16:creationId xmlns:a16="http://schemas.microsoft.com/office/drawing/2014/main" id="{293DE3F0-390F-E34F-9294-450BFBD0037C}"/>
                </a:ext>
              </a:extLst>
            </p:cNvPr>
            <p:cNvSpPr>
              <a:spLocks noEditPoints="1"/>
            </p:cNvSpPr>
            <p:nvPr>
              <p:custDataLst>
                <p:tags r:id="rId169"/>
              </p:custDataLst>
            </p:nvPr>
          </p:nvSpPr>
          <p:spPr bwMode="auto">
            <a:xfrm>
              <a:off x="2889268" y="3762326"/>
              <a:ext cx="140212" cy="125189"/>
            </a:xfrm>
            <a:custGeom>
              <a:avLst/>
              <a:gdLst>
                <a:gd name="T0" fmla="*/ 2147483647 w 220"/>
                <a:gd name="T1" fmla="*/ 2147483647 h 223"/>
                <a:gd name="T2" fmla="*/ 2147483647 w 220"/>
                <a:gd name="T3" fmla="*/ 2147483647 h 223"/>
                <a:gd name="T4" fmla="*/ 2147483647 w 220"/>
                <a:gd name="T5" fmla="*/ 2147483647 h 223"/>
                <a:gd name="T6" fmla="*/ 2147483647 w 220"/>
                <a:gd name="T7" fmla="*/ 2147483647 h 223"/>
                <a:gd name="T8" fmla="*/ 2147483647 w 220"/>
                <a:gd name="T9" fmla="*/ 2147483647 h 223"/>
                <a:gd name="T10" fmla="*/ 2147483647 w 220"/>
                <a:gd name="T11" fmla="*/ 2147483647 h 223"/>
                <a:gd name="T12" fmla="*/ 2147483647 w 220"/>
                <a:gd name="T13" fmla="*/ 2147483647 h 223"/>
                <a:gd name="T14" fmla="*/ 2147483647 w 220"/>
                <a:gd name="T15" fmla="*/ 2147483647 h 223"/>
                <a:gd name="T16" fmla="*/ 2147483647 w 220"/>
                <a:gd name="T17" fmla="*/ 2147483647 h 223"/>
                <a:gd name="T18" fmla="*/ 2147483647 w 220"/>
                <a:gd name="T19" fmla="*/ 2147483647 h 223"/>
                <a:gd name="T20" fmla="*/ 2147483647 w 220"/>
                <a:gd name="T21" fmla="*/ 2147483647 h 223"/>
                <a:gd name="T22" fmla="*/ 2147483647 w 220"/>
                <a:gd name="T23" fmla="*/ 2147483647 h 223"/>
                <a:gd name="T24" fmla="*/ 2147483647 w 220"/>
                <a:gd name="T25" fmla="*/ 2147483647 h 223"/>
                <a:gd name="T26" fmla="*/ 2147483647 w 220"/>
                <a:gd name="T27" fmla="*/ 2147483647 h 223"/>
                <a:gd name="T28" fmla="*/ 2147483647 w 220"/>
                <a:gd name="T29" fmla="*/ 2147483647 h 223"/>
                <a:gd name="T30" fmla="*/ 2147483647 w 220"/>
                <a:gd name="T31" fmla="*/ 2147483647 h 223"/>
                <a:gd name="T32" fmla="*/ 2147483647 w 220"/>
                <a:gd name="T33" fmla="*/ 2147483647 h 223"/>
                <a:gd name="T34" fmla="*/ 2147483647 w 220"/>
                <a:gd name="T35" fmla="*/ 2147483647 h 223"/>
                <a:gd name="T36" fmla="*/ 2147483647 w 220"/>
                <a:gd name="T37" fmla="*/ 2147483647 h 223"/>
                <a:gd name="T38" fmla="*/ 2147483647 w 220"/>
                <a:gd name="T39" fmla="*/ 2147483647 h 223"/>
                <a:gd name="T40" fmla="*/ 2147483647 w 220"/>
                <a:gd name="T41" fmla="*/ 2147483647 h 223"/>
                <a:gd name="T42" fmla="*/ 0 w 220"/>
                <a:gd name="T43" fmla="*/ 2147483647 h 223"/>
                <a:gd name="T44" fmla="*/ 2147483647 w 220"/>
                <a:gd name="T45" fmla="*/ 2147483647 h 223"/>
                <a:gd name="T46" fmla="*/ 2147483647 w 220"/>
                <a:gd name="T47" fmla="*/ 2147483647 h 223"/>
                <a:gd name="T48" fmla="*/ 2147483647 w 220"/>
                <a:gd name="T49" fmla="*/ 2147483647 h 223"/>
                <a:gd name="T50" fmla="*/ 2147483647 w 220"/>
                <a:gd name="T51" fmla="*/ 2147483647 h 223"/>
                <a:gd name="T52" fmla="*/ 2147483647 w 220"/>
                <a:gd name="T53" fmla="*/ 2147483647 h 223"/>
                <a:gd name="T54" fmla="*/ 2147483647 w 220"/>
                <a:gd name="T55" fmla="*/ 2147483647 h 223"/>
                <a:gd name="T56" fmla="*/ 2147483647 w 220"/>
                <a:gd name="T57" fmla="*/ 2147483647 h 223"/>
                <a:gd name="T58" fmla="*/ 2147483647 w 220"/>
                <a:gd name="T59" fmla="*/ 2147483647 h 223"/>
                <a:gd name="T60" fmla="*/ 2147483647 w 220"/>
                <a:gd name="T61" fmla="*/ 2147483647 h 223"/>
                <a:gd name="T62" fmla="*/ 2147483647 w 220"/>
                <a:gd name="T63" fmla="*/ 2147483647 h 223"/>
                <a:gd name="T64" fmla="*/ 2147483647 w 220"/>
                <a:gd name="T65" fmla="*/ 2147483647 h 223"/>
                <a:gd name="T66" fmla="*/ 2147483647 w 220"/>
                <a:gd name="T67" fmla="*/ 2147483647 h 223"/>
                <a:gd name="T68" fmla="*/ 2147483647 w 220"/>
                <a:gd name="T69" fmla="*/ 2147483647 h 223"/>
                <a:gd name="T70" fmla="*/ 2147483647 w 220"/>
                <a:gd name="T71" fmla="*/ 2147483647 h 223"/>
                <a:gd name="T72" fmla="*/ 2147483647 w 220"/>
                <a:gd name="T73" fmla="*/ 2147483647 h 223"/>
                <a:gd name="T74" fmla="*/ 2147483647 w 220"/>
                <a:gd name="T75" fmla="*/ 2147483647 h 223"/>
                <a:gd name="T76" fmla="*/ 2147483647 w 220"/>
                <a:gd name="T77" fmla="*/ 2147483647 h 223"/>
                <a:gd name="T78" fmla="*/ 2147483647 w 220"/>
                <a:gd name="T79" fmla="*/ 2147483647 h 223"/>
                <a:gd name="T80" fmla="*/ 2147483647 w 220"/>
                <a:gd name="T81" fmla="*/ 2147483647 h 223"/>
                <a:gd name="T82" fmla="*/ 2147483647 w 220"/>
                <a:gd name="T83" fmla="*/ 2147483647 h 223"/>
                <a:gd name="T84" fmla="*/ 2147483647 w 220"/>
                <a:gd name="T85" fmla="*/ 2147483647 h 223"/>
                <a:gd name="T86" fmla="*/ 2147483647 w 220"/>
                <a:gd name="T87" fmla="*/ 2147483647 h 223"/>
                <a:gd name="T88" fmla="*/ 2147483647 w 220"/>
                <a:gd name="T89" fmla="*/ 2147483647 h 223"/>
                <a:gd name="T90" fmla="*/ 2147483647 w 220"/>
                <a:gd name="T91" fmla="*/ 2147483647 h 22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0"/>
                <a:gd name="T139" fmla="*/ 0 h 223"/>
                <a:gd name="T140" fmla="*/ 220 w 220"/>
                <a:gd name="T141" fmla="*/ 223 h 22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sp>
          <p:nvSpPr>
            <p:cNvPr id="177" name="Freeform 176">
              <a:extLst>
                <a:ext uri="{FF2B5EF4-FFF2-40B4-BE49-F238E27FC236}">
                  <a16:creationId xmlns:a16="http://schemas.microsoft.com/office/drawing/2014/main" id="{C505376F-C508-D140-B253-CCC5C05325A5}"/>
                </a:ext>
              </a:extLst>
            </p:cNvPr>
            <p:cNvSpPr>
              <a:spLocks/>
            </p:cNvSpPr>
            <p:nvPr>
              <p:custDataLst>
                <p:tags r:id="rId170"/>
              </p:custDataLst>
            </p:nvPr>
          </p:nvSpPr>
          <p:spPr bwMode="auto">
            <a:xfrm>
              <a:off x="2927660" y="3874162"/>
              <a:ext cx="103490" cy="83460"/>
            </a:xfrm>
            <a:custGeom>
              <a:avLst/>
              <a:gdLst>
                <a:gd name="T0" fmla="*/ 2147483647 w 162"/>
                <a:gd name="T1" fmla="*/ 2147483647 h 152"/>
                <a:gd name="T2" fmla="*/ 2147483647 w 162"/>
                <a:gd name="T3" fmla="*/ 2147483647 h 152"/>
                <a:gd name="T4" fmla="*/ 2147483647 w 162"/>
                <a:gd name="T5" fmla="*/ 2147483647 h 152"/>
                <a:gd name="T6" fmla="*/ 2147483647 w 162"/>
                <a:gd name="T7" fmla="*/ 2147483647 h 152"/>
                <a:gd name="T8" fmla="*/ 2147483647 w 162"/>
                <a:gd name="T9" fmla="*/ 2147483647 h 152"/>
                <a:gd name="T10" fmla="*/ 2147483647 w 162"/>
                <a:gd name="T11" fmla="*/ 2147483647 h 152"/>
                <a:gd name="T12" fmla="*/ 2147483647 w 162"/>
                <a:gd name="T13" fmla="*/ 2147483647 h 152"/>
                <a:gd name="T14" fmla="*/ 2147483647 w 162"/>
                <a:gd name="T15" fmla="*/ 2147483647 h 152"/>
                <a:gd name="T16" fmla="*/ 2147483647 w 162"/>
                <a:gd name="T17" fmla="*/ 2147483647 h 152"/>
                <a:gd name="T18" fmla="*/ 2147483647 w 162"/>
                <a:gd name="T19" fmla="*/ 2147483647 h 152"/>
                <a:gd name="T20" fmla="*/ 2147483647 w 162"/>
                <a:gd name="T21" fmla="*/ 2147483647 h 152"/>
                <a:gd name="T22" fmla="*/ 2147483647 w 162"/>
                <a:gd name="T23" fmla="*/ 2147483647 h 152"/>
                <a:gd name="T24" fmla="*/ 2147483647 w 162"/>
                <a:gd name="T25" fmla="*/ 2147483647 h 152"/>
                <a:gd name="T26" fmla="*/ 2147483647 w 162"/>
                <a:gd name="T27" fmla="*/ 2147483647 h 152"/>
                <a:gd name="T28" fmla="*/ 2147483647 w 162"/>
                <a:gd name="T29" fmla="*/ 2147483647 h 152"/>
                <a:gd name="T30" fmla="*/ 2147483647 w 162"/>
                <a:gd name="T31" fmla="*/ 2147483647 h 152"/>
                <a:gd name="T32" fmla="*/ 2147483647 w 162"/>
                <a:gd name="T33" fmla="*/ 2147483647 h 152"/>
                <a:gd name="T34" fmla="*/ 2147483647 w 162"/>
                <a:gd name="T35" fmla="*/ 2147483647 h 152"/>
                <a:gd name="T36" fmla="*/ 2147483647 w 162"/>
                <a:gd name="T37" fmla="*/ 2147483647 h 152"/>
                <a:gd name="T38" fmla="*/ 2147483647 w 162"/>
                <a:gd name="T39" fmla="*/ 2147483647 h 152"/>
                <a:gd name="T40" fmla="*/ 2147483647 w 162"/>
                <a:gd name="T41" fmla="*/ 2147483647 h 152"/>
                <a:gd name="T42" fmla="*/ 2147483647 w 162"/>
                <a:gd name="T43" fmla="*/ 2147483647 h 152"/>
                <a:gd name="T44" fmla="*/ 2147483647 w 162"/>
                <a:gd name="T45" fmla="*/ 2147483647 h 152"/>
                <a:gd name="T46" fmla="*/ 2147483647 w 162"/>
                <a:gd name="T47" fmla="*/ 2147483647 h 152"/>
                <a:gd name="T48" fmla="*/ 2147483647 w 162"/>
                <a:gd name="T49" fmla="*/ 2147483647 h 152"/>
                <a:gd name="T50" fmla="*/ 2147483647 w 162"/>
                <a:gd name="T51" fmla="*/ 2147483647 h 152"/>
                <a:gd name="T52" fmla="*/ 2147483647 w 162"/>
                <a:gd name="T53" fmla="*/ 2147483647 h 152"/>
                <a:gd name="T54" fmla="*/ 2147483647 w 162"/>
                <a:gd name="T55" fmla="*/ 2147483647 h 152"/>
                <a:gd name="T56" fmla="*/ 2147483647 w 162"/>
                <a:gd name="T57" fmla="*/ 2147483647 h 152"/>
                <a:gd name="T58" fmla="*/ 2147483647 w 162"/>
                <a:gd name="T59" fmla="*/ 2147483647 h 152"/>
                <a:gd name="T60" fmla="*/ 2147483647 w 162"/>
                <a:gd name="T61" fmla="*/ 2147483647 h 152"/>
                <a:gd name="T62" fmla="*/ 2147483647 w 162"/>
                <a:gd name="T63" fmla="*/ 2147483647 h 152"/>
                <a:gd name="T64" fmla="*/ 2147483647 w 162"/>
                <a:gd name="T65" fmla="*/ 2147483647 h 152"/>
                <a:gd name="T66" fmla="*/ 2147483647 w 162"/>
                <a:gd name="T67" fmla="*/ 2147483647 h 1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2"/>
                <a:gd name="T103" fmla="*/ 0 h 152"/>
                <a:gd name="T104" fmla="*/ 162 w 162"/>
                <a:gd name="T105" fmla="*/ 152 h 1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grpFill/>
            <a:ln w="3175">
              <a:solidFill>
                <a:schemeClr val="bg1">
                  <a:lumMod val="95000"/>
                </a:schemeClr>
              </a:solidFill>
              <a:round/>
              <a:headEnd/>
              <a:tailEnd/>
            </a:ln>
          </p:spPr>
          <p:txBody>
            <a:bodyPr lIns="108878" tIns="54439" rIns="108878" bIns="54439"/>
            <a:lstStyle/>
            <a:p>
              <a:pPr fontAlgn="base">
                <a:spcBef>
                  <a:spcPct val="0"/>
                </a:spcBef>
                <a:spcAft>
                  <a:spcPct val="0"/>
                </a:spcAft>
                <a:defRPr/>
              </a:pPr>
              <a:endParaRPr lang="en-US" kern="0" dirty="0">
                <a:solidFill>
                  <a:srgbClr val="000000"/>
                </a:solidFill>
                <a:latin typeface="NeueHaasGroteskDisp Pro" panose="020B0504020202020204" pitchFamily="34" charset="0"/>
                <a:cs typeface="NeueHaasGroteskDisp Pro" charset="0"/>
              </a:endParaRPr>
            </a:p>
          </p:txBody>
        </p:sp>
        <p:sp>
          <p:nvSpPr>
            <p:cNvPr id="178" name="Freeform 36">
              <a:extLst>
                <a:ext uri="{FF2B5EF4-FFF2-40B4-BE49-F238E27FC236}">
                  <a16:creationId xmlns:a16="http://schemas.microsoft.com/office/drawing/2014/main" id="{E455E3FD-AD79-4F4C-BFF9-633327250FEC}"/>
                </a:ext>
              </a:extLst>
            </p:cNvPr>
            <p:cNvSpPr>
              <a:spLocks/>
            </p:cNvSpPr>
            <p:nvPr>
              <p:custDataLst>
                <p:tags r:id="rId171"/>
              </p:custDataLst>
            </p:nvPr>
          </p:nvSpPr>
          <p:spPr bwMode="auto">
            <a:xfrm>
              <a:off x="3740554" y="4029396"/>
              <a:ext cx="121850" cy="128527"/>
            </a:xfrm>
            <a:custGeom>
              <a:avLst/>
              <a:gdLst>
                <a:gd name="T0" fmla="*/ 2147483647 w 199"/>
                <a:gd name="T1" fmla="*/ 2147483647 h 228"/>
                <a:gd name="T2" fmla="*/ 2147483647 w 199"/>
                <a:gd name="T3" fmla="*/ 2147483647 h 228"/>
                <a:gd name="T4" fmla="*/ 2147483647 w 199"/>
                <a:gd name="T5" fmla="*/ 2147483647 h 228"/>
                <a:gd name="T6" fmla="*/ 2147483647 w 199"/>
                <a:gd name="T7" fmla="*/ 2147483647 h 228"/>
                <a:gd name="T8" fmla="*/ 2147483647 w 199"/>
                <a:gd name="T9" fmla="*/ 2147483647 h 228"/>
                <a:gd name="T10" fmla="*/ 2147483647 w 199"/>
                <a:gd name="T11" fmla="*/ 2147483647 h 228"/>
                <a:gd name="T12" fmla="*/ 2147483647 w 199"/>
                <a:gd name="T13" fmla="*/ 2147483647 h 228"/>
                <a:gd name="T14" fmla="*/ 2147483647 w 199"/>
                <a:gd name="T15" fmla="*/ 2147483647 h 228"/>
                <a:gd name="T16" fmla="*/ 2147483647 w 199"/>
                <a:gd name="T17" fmla="*/ 2147483647 h 228"/>
                <a:gd name="T18" fmla="*/ 2147483647 w 199"/>
                <a:gd name="T19" fmla="*/ 2147483647 h 228"/>
                <a:gd name="T20" fmla="*/ 2147483647 w 199"/>
                <a:gd name="T21" fmla="*/ 2147483647 h 228"/>
                <a:gd name="T22" fmla="*/ 2147483647 w 199"/>
                <a:gd name="T23" fmla="*/ 2147483647 h 228"/>
                <a:gd name="T24" fmla="*/ 2147483647 w 199"/>
                <a:gd name="T25" fmla="*/ 2147483647 h 228"/>
                <a:gd name="T26" fmla="*/ 2147483647 w 199"/>
                <a:gd name="T27" fmla="*/ 2147483647 h 228"/>
                <a:gd name="T28" fmla="*/ 2147483647 w 199"/>
                <a:gd name="T29" fmla="*/ 2147483647 h 228"/>
                <a:gd name="T30" fmla="*/ 2147483647 w 199"/>
                <a:gd name="T31" fmla="*/ 2147483647 h 228"/>
                <a:gd name="T32" fmla="*/ 2147483647 w 199"/>
                <a:gd name="T33" fmla="*/ 2147483647 h 228"/>
                <a:gd name="T34" fmla="*/ 2147483647 w 199"/>
                <a:gd name="T35" fmla="*/ 2147483647 h 228"/>
                <a:gd name="T36" fmla="*/ 2147483647 w 199"/>
                <a:gd name="T37" fmla="*/ 2147483647 h 228"/>
                <a:gd name="T38" fmla="*/ 2147483647 w 199"/>
                <a:gd name="T39" fmla="*/ 2147483647 h 228"/>
                <a:gd name="T40" fmla="*/ 2147483647 w 199"/>
                <a:gd name="T41" fmla="*/ 2147483647 h 228"/>
                <a:gd name="T42" fmla="*/ 2147483647 w 199"/>
                <a:gd name="T43" fmla="*/ 2147483647 h 228"/>
                <a:gd name="T44" fmla="*/ 2147483647 w 199"/>
                <a:gd name="T45" fmla="*/ 2147483647 h 228"/>
                <a:gd name="T46" fmla="*/ 2147483647 w 199"/>
                <a:gd name="T47" fmla="*/ 2147483647 h 228"/>
                <a:gd name="T48" fmla="*/ 2147483647 w 199"/>
                <a:gd name="T49" fmla="*/ 2147483647 h 228"/>
                <a:gd name="T50" fmla="*/ 2147483647 w 199"/>
                <a:gd name="T51" fmla="*/ 2147483647 h 228"/>
                <a:gd name="T52" fmla="*/ 2147483647 w 199"/>
                <a:gd name="T53" fmla="*/ 2147483647 h 228"/>
                <a:gd name="T54" fmla="*/ 2147483647 w 199"/>
                <a:gd name="T55" fmla="*/ 0 h 228"/>
                <a:gd name="T56" fmla="*/ 2147483647 w 199"/>
                <a:gd name="T57" fmla="*/ 2147483647 h 228"/>
                <a:gd name="T58" fmla="*/ 2147483647 w 199"/>
                <a:gd name="T59" fmla="*/ 2147483647 h 228"/>
                <a:gd name="T60" fmla="*/ 2147483647 w 199"/>
                <a:gd name="T61" fmla="*/ 2147483647 h 228"/>
                <a:gd name="T62" fmla="*/ 2147483647 w 199"/>
                <a:gd name="T63" fmla="*/ 2147483647 h 228"/>
                <a:gd name="T64" fmla="*/ 2147483647 w 199"/>
                <a:gd name="T65" fmla="*/ 2147483647 h 228"/>
                <a:gd name="T66" fmla="*/ 2147483647 w 199"/>
                <a:gd name="T67" fmla="*/ 2147483647 h 228"/>
                <a:gd name="T68" fmla="*/ 2147483647 w 199"/>
                <a:gd name="T69" fmla="*/ 2147483647 h 22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9"/>
                <a:gd name="T106" fmla="*/ 0 h 228"/>
                <a:gd name="T107" fmla="*/ 199 w 199"/>
                <a:gd name="T108" fmla="*/ 228 h 22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grpFill/>
            <a:ln w="3175">
              <a:solidFill>
                <a:schemeClr val="bg1">
                  <a:lumMod val="95000"/>
                </a:schemeClr>
              </a:solidFill>
              <a:round/>
              <a:headEnd/>
              <a:tailEnd/>
            </a:ln>
          </p:spPr>
          <p:txBody>
            <a:bodyPr lIns="108878" tIns="54439" rIns="108878" bIns="54439"/>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NeueHaasGroteskDisp Pro" panose="020B0504020202020204" pitchFamily="34" charset="0"/>
                <a:cs typeface="NeueHaasGroteskDisp Pro" charset="0"/>
              </a:endParaRPr>
            </a:p>
          </p:txBody>
        </p:sp>
        <p:grpSp>
          <p:nvGrpSpPr>
            <p:cNvPr id="179" name="Group 178">
              <a:extLst>
                <a:ext uri="{FF2B5EF4-FFF2-40B4-BE49-F238E27FC236}">
                  <a16:creationId xmlns:a16="http://schemas.microsoft.com/office/drawing/2014/main" id="{2E3AB327-9045-3247-B90E-BA77AA9C0D3A}"/>
                </a:ext>
              </a:extLst>
            </p:cNvPr>
            <p:cNvGrpSpPr/>
            <p:nvPr/>
          </p:nvGrpSpPr>
          <p:grpSpPr>
            <a:xfrm>
              <a:off x="5693151" y="2500128"/>
              <a:ext cx="113870" cy="88785"/>
              <a:chOff x="911168" y="3756729"/>
              <a:chExt cx="93661" cy="73028"/>
            </a:xfrm>
            <a:grpFill/>
          </p:grpSpPr>
          <p:sp>
            <p:nvSpPr>
              <p:cNvPr id="183" name="Freeform 8">
                <a:extLst>
                  <a:ext uri="{FF2B5EF4-FFF2-40B4-BE49-F238E27FC236}">
                    <a16:creationId xmlns:a16="http://schemas.microsoft.com/office/drawing/2014/main" id="{45014AD8-C285-3740-9FE3-309995B6C376}"/>
                  </a:ext>
                </a:extLst>
              </p:cNvPr>
              <p:cNvSpPr>
                <a:spLocks/>
              </p:cNvSpPr>
              <p:nvPr/>
            </p:nvSpPr>
            <p:spPr bwMode="auto">
              <a:xfrm>
                <a:off x="911168" y="3756729"/>
                <a:ext cx="52387" cy="66678"/>
              </a:xfrm>
              <a:custGeom>
                <a:avLst/>
                <a:gdLst>
                  <a:gd name="T0" fmla="*/ 56 w 67"/>
                  <a:gd name="T1" fmla="*/ 17 h 84"/>
                  <a:gd name="T2" fmla="*/ 61 w 67"/>
                  <a:gd name="T3" fmla="*/ 10 h 84"/>
                  <a:gd name="T4" fmla="*/ 60 w 67"/>
                  <a:gd name="T5" fmla="*/ 2 h 84"/>
                  <a:gd name="T6" fmla="*/ 56 w 67"/>
                  <a:gd name="T7" fmla="*/ 0 h 84"/>
                  <a:gd name="T8" fmla="*/ 48 w 67"/>
                  <a:gd name="T9" fmla="*/ 0 h 84"/>
                  <a:gd name="T10" fmla="*/ 42 w 67"/>
                  <a:gd name="T11" fmla="*/ 4 h 84"/>
                  <a:gd name="T12" fmla="*/ 35 w 67"/>
                  <a:gd name="T13" fmla="*/ 15 h 84"/>
                  <a:gd name="T14" fmla="*/ 33 w 67"/>
                  <a:gd name="T15" fmla="*/ 25 h 84"/>
                  <a:gd name="T16" fmla="*/ 35 w 67"/>
                  <a:gd name="T17" fmla="*/ 29 h 84"/>
                  <a:gd name="T18" fmla="*/ 27 w 67"/>
                  <a:gd name="T19" fmla="*/ 25 h 84"/>
                  <a:gd name="T20" fmla="*/ 23 w 67"/>
                  <a:gd name="T21" fmla="*/ 15 h 84"/>
                  <a:gd name="T22" fmla="*/ 21 w 67"/>
                  <a:gd name="T23" fmla="*/ 11 h 84"/>
                  <a:gd name="T24" fmla="*/ 19 w 67"/>
                  <a:gd name="T25" fmla="*/ 11 h 84"/>
                  <a:gd name="T26" fmla="*/ 8 w 67"/>
                  <a:gd name="T27" fmla="*/ 19 h 84"/>
                  <a:gd name="T28" fmla="*/ 8 w 67"/>
                  <a:gd name="T29" fmla="*/ 23 h 84"/>
                  <a:gd name="T30" fmla="*/ 13 w 67"/>
                  <a:gd name="T31" fmla="*/ 23 h 84"/>
                  <a:gd name="T32" fmla="*/ 17 w 67"/>
                  <a:gd name="T33" fmla="*/ 27 h 84"/>
                  <a:gd name="T34" fmla="*/ 21 w 67"/>
                  <a:gd name="T35" fmla="*/ 33 h 84"/>
                  <a:gd name="T36" fmla="*/ 13 w 67"/>
                  <a:gd name="T37" fmla="*/ 33 h 84"/>
                  <a:gd name="T38" fmla="*/ 8 w 67"/>
                  <a:gd name="T39" fmla="*/ 33 h 84"/>
                  <a:gd name="T40" fmla="*/ 6 w 67"/>
                  <a:gd name="T41" fmla="*/ 33 h 84"/>
                  <a:gd name="T42" fmla="*/ 2 w 67"/>
                  <a:gd name="T43" fmla="*/ 42 h 84"/>
                  <a:gd name="T44" fmla="*/ 2 w 67"/>
                  <a:gd name="T45" fmla="*/ 48 h 84"/>
                  <a:gd name="T46" fmla="*/ 10 w 67"/>
                  <a:gd name="T47" fmla="*/ 52 h 84"/>
                  <a:gd name="T48" fmla="*/ 10 w 67"/>
                  <a:gd name="T49" fmla="*/ 54 h 84"/>
                  <a:gd name="T50" fmla="*/ 4 w 67"/>
                  <a:gd name="T51" fmla="*/ 59 h 84"/>
                  <a:gd name="T52" fmla="*/ 8 w 67"/>
                  <a:gd name="T53" fmla="*/ 63 h 84"/>
                  <a:gd name="T54" fmla="*/ 13 w 67"/>
                  <a:gd name="T55" fmla="*/ 63 h 84"/>
                  <a:gd name="T56" fmla="*/ 15 w 67"/>
                  <a:gd name="T57" fmla="*/ 69 h 84"/>
                  <a:gd name="T58" fmla="*/ 15 w 67"/>
                  <a:gd name="T59" fmla="*/ 71 h 84"/>
                  <a:gd name="T60" fmla="*/ 10 w 67"/>
                  <a:gd name="T61" fmla="*/ 77 h 84"/>
                  <a:gd name="T62" fmla="*/ 13 w 67"/>
                  <a:gd name="T63" fmla="*/ 79 h 84"/>
                  <a:gd name="T64" fmla="*/ 15 w 67"/>
                  <a:gd name="T65" fmla="*/ 80 h 84"/>
                  <a:gd name="T66" fmla="*/ 23 w 67"/>
                  <a:gd name="T67" fmla="*/ 80 h 84"/>
                  <a:gd name="T68" fmla="*/ 31 w 67"/>
                  <a:gd name="T69" fmla="*/ 82 h 84"/>
                  <a:gd name="T70" fmla="*/ 33 w 67"/>
                  <a:gd name="T71" fmla="*/ 82 h 84"/>
                  <a:gd name="T72" fmla="*/ 42 w 67"/>
                  <a:gd name="T73" fmla="*/ 82 h 84"/>
                  <a:gd name="T74" fmla="*/ 44 w 67"/>
                  <a:gd name="T75" fmla="*/ 82 h 84"/>
                  <a:gd name="T76" fmla="*/ 40 w 67"/>
                  <a:gd name="T77" fmla="*/ 77 h 84"/>
                  <a:gd name="T78" fmla="*/ 44 w 67"/>
                  <a:gd name="T79" fmla="*/ 69 h 84"/>
                  <a:gd name="T80" fmla="*/ 46 w 67"/>
                  <a:gd name="T81" fmla="*/ 65 h 84"/>
                  <a:gd name="T82" fmla="*/ 42 w 67"/>
                  <a:gd name="T83" fmla="*/ 61 h 84"/>
                  <a:gd name="T84" fmla="*/ 42 w 67"/>
                  <a:gd name="T85" fmla="*/ 56 h 84"/>
                  <a:gd name="T86" fmla="*/ 52 w 67"/>
                  <a:gd name="T87" fmla="*/ 52 h 84"/>
                  <a:gd name="T88" fmla="*/ 56 w 67"/>
                  <a:gd name="T89" fmla="*/ 44 h 84"/>
                  <a:gd name="T90" fmla="*/ 56 w 67"/>
                  <a:gd name="T91" fmla="*/ 40 h 84"/>
                  <a:gd name="T92" fmla="*/ 61 w 67"/>
                  <a:gd name="T93" fmla="*/ 40 h 84"/>
                  <a:gd name="T94" fmla="*/ 65 w 67"/>
                  <a:gd name="T95" fmla="*/ 40 h 84"/>
                  <a:gd name="T96" fmla="*/ 67 w 67"/>
                  <a:gd name="T97" fmla="*/ 33 h 84"/>
                  <a:gd name="T98" fmla="*/ 60 w 67"/>
                  <a:gd name="T99" fmla="*/ 31 h 84"/>
                  <a:gd name="T100" fmla="*/ 54 w 67"/>
                  <a:gd name="T101" fmla="*/ 31 h 84"/>
                  <a:gd name="T102" fmla="*/ 54 w 67"/>
                  <a:gd name="T103" fmla="*/ 29 h 84"/>
                  <a:gd name="T104" fmla="*/ 52 w 67"/>
                  <a:gd name="T105" fmla="*/ 23 h 84"/>
                  <a:gd name="T106" fmla="*/ 54 w 67"/>
                  <a:gd name="T107"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7" h="84">
                    <a:moveTo>
                      <a:pt x="54" y="19"/>
                    </a:moveTo>
                    <a:lnTo>
                      <a:pt x="56" y="17"/>
                    </a:lnTo>
                    <a:lnTo>
                      <a:pt x="60" y="13"/>
                    </a:lnTo>
                    <a:lnTo>
                      <a:pt x="61" y="10"/>
                    </a:lnTo>
                    <a:lnTo>
                      <a:pt x="61" y="8"/>
                    </a:lnTo>
                    <a:lnTo>
                      <a:pt x="60" y="2"/>
                    </a:lnTo>
                    <a:lnTo>
                      <a:pt x="58" y="0"/>
                    </a:lnTo>
                    <a:lnTo>
                      <a:pt x="56" y="0"/>
                    </a:lnTo>
                    <a:lnTo>
                      <a:pt x="52" y="0"/>
                    </a:lnTo>
                    <a:lnTo>
                      <a:pt x="48" y="0"/>
                    </a:lnTo>
                    <a:lnTo>
                      <a:pt x="46" y="0"/>
                    </a:lnTo>
                    <a:lnTo>
                      <a:pt x="42" y="4"/>
                    </a:lnTo>
                    <a:lnTo>
                      <a:pt x="38" y="10"/>
                    </a:lnTo>
                    <a:lnTo>
                      <a:pt x="35" y="15"/>
                    </a:lnTo>
                    <a:lnTo>
                      <a:pt x="33" y="19"/>
                    </a:lnTo>
                    <a:lnTo>
                      <a:pt x="33" y="25"/>
                    </a:lnTo>
                    <a:lnTo>
                      <a:pt x="35" y="29"/>
                    </a:lnTo>
                    <a:lnTo>
                      <a:pt x="35" y="29"/>
                    </a:lnTo>
                    <a:lnTo>
                      <a:pt x="29" y="27"/>
                    </a:lnTo>
                    <a:lnTo>
                      <a:pt x="27" y="25"/>
                    </a:lnTo>
                    <a:lnTo>
                      <a:pt x="25" y="23"/>
                    </a:lnTo>
                    <a:lnTo>
                      <a:pt x="23" y="15"/>
                    </a:lnTo>
                    <a:lnTo>
                      <a:pt x="23" y="11"/>
                    </a:lnTo>
                    <a:lnTo>
                      <a:pt x="21" y="11"/>
                    </a:lnTo>
                    <a:lnTo>
                      <a:pt x="21" y="11"/>
                    </a:lnTo>
                    <a:lnTo>
                      <a:pt x="19" y="11"/>
                    </a:lnTo>
                    <a:lnTo>
                      <a:pt x="13" y="15"/>
                    </a:lnTo>
                    <a:lnTo>
                      <a:pt x="8" y="19"/>
                    </a:lnTo>
                    <a:lnTo>
                      <a:pt x="6" y="21"/>
                    </a:lnTo>
                    <a:lnTo>
                      <a:pt x="8" y="23"/>
                    </a:lnTo>
                    <a:lnTo>
                      <a:pt x="12" y="23"/>
                    </a:lnTo>
                    <a:lnTo>
                      <a:pt x="13" y="23"/>
                    </a:lnTo>
                    <a:lnTo>
                      <a:pt x="15" y="25"/>
                    </a:lnTo>
                    <a:lnTo>
                      <a:pt x="17" y="27"/>
                    </a:lnTo>
                    <a:lnTo>
                      <a:pt x="19" y="31"/>
                    </a:lnTo>
                    <a:lnTo>
                      <a:pt x="21" y="33"/>
                    </a:lnTo>
                    <a:lnTo>
                      <a:pt x="23" y="34"/>
                    </a:lnTo>
                    <a:lnTo>
                      <a:pt x="13" y="33"/>
                    </a:lnTo>
                    <a:lnTo>
                      <a:pt x="10" y="33"/>
                    </a:lnTo>
                    <a:lnTo>
                      <a:pt x="8" y="33"/>
                    </a:lnTo>
                    <a:lnTo>
                      <a:pt x="8" y="33"/>
                    </a:lnTo>
                    <a:lnTo>
                      <a:pt x="6" y="33"/>
                    </a:lnTo>
                    <a:lnTo>
                      <a:pt x="4" y="36"/>
                    </a:lnTo>
                    <a:lnTo>
                      <a:pt x="2" y="42"/>
                    </a:lnTo>
                    <a:lnTo>
                      <a:pt x="0" y="46"/>
                    </a:lnTo>
                    <a:lnTo>
                      <a:pt x="2" y="48"/>
                    </a:lnTo>
                    <a:lnTo>
                      <a:pt x="6" y="50"/>
                    </a:lnTo>
                    <a:lnTo>
                      <a:pt x="10" y="52"/>
                    </a:lnTo>
                    <a:lnTo>
                      <a:pt x="12" y="52"/>
                    </a:lnTo>
                    <a:lnTo>
                      <a:pt x="10" y="54"/>
                    </a:lnTo>
                    <a:lnTo>
                      <a:pt x="8" y="56"/>
                    </a:lnTo>
                    <a:lnTo>
                      <a:pt x="4" y="59"/>
                    </a:lnTo>
                    <a:lnTo>
                      <a:pt x="4" y="61"/>
                    </a:lnTo>
                    <a:lnTo>
                      <a:pt x="8" y="63"/>
                    </a:lnTo>
                    <a:lnTo>
                      <a:pt x="12" y="63"/>
                    </a:lnTo>
                    <a:lnTo>
                      <a:pt x="13" y="63"/>
                    </a:lnTo>
                    <a:lnTo>
                      <a:pt x="15" y="63"/>
                    </a:lnTo>
                    <a:lnTo>
                      <a:pt x="15" y="69"/>
                    </a:lnTo>
                    <a:lnTo>
                      <a:pt x="15" y="71"/>
                    </a:lnTo>
                    <a:lnTo>
                      <a:pt x="15" y="71"/>
                    </a:lnTo>
                    <a:lnTo>
                      <a:pt x="12" y="75"/>
                    </a:lnTo>
                    <a:lnTo>
                      <a:pt x="10" y="77"/>
                    </a:lnTo>
                    <a:lnTo>
                      <a:pt x="10" y="79"/>
                    </a:lnTo>
                    <a:lnTo>
                      <a:pt x="13" y="79"/>
                    </a:lnTo>
                    <a:lnTo>
                      <a:pt x="15" y="80"/>
                    </a:lnTo>
                    <a:lnTo>
                      <a:pt x="15" y="80"/>
                    </a:lnTo>
                    <a:lnTo>
                      <a:pt x="19" y="80"/>
                    </a:lnTo>
                    <a:lnTo>
                      <a:pt x="23" y="80"/>
                    </a:lnTo>
                    <a:lnTo>
                      <a:pt x="29" y="82"/>
                    </a:lnTo>
                    <a:lnTo>
                      <a:pt x="31" y="82"/>
                    </a:lnTo>
                    <a:lnTo>
                      <a:pt x="31" y="84"/>
                    </a:lnTo>
                    <a:lnTo>
                      <a:pt x="33" y="82"/>
                    </a:lnTo>
                    <a:lnTo>
                      <a:pt x="37" y="82"/>
                    </a:lnTo>
                    <a:lnTo>
                      <a:pt x="42" y="82"/>
                    </a:lnTo>
                    <a:lnTo>
                      <a:pt x="42" y="84"/>
                    </a:lnTo>
                    <a:lnTo>
                      <a:pt x="44" y="82"/>
                    </a:lnTo>
                    <a:lnTo>
                      <a:pt x="44" y="82"/>
                    </a:lnTo>
                    <a:lnTo>
                      <a:pt x="40" y="77"/>
                    </a:lnTo>
                    <a:lnTo>
                      <a:pt x="40" y="73"/>
                    </a:lnTo>
                    <a:lnTo>
                      <a:pt x="44" y="69"/>
                    </a:lnTo>
                    <a:lnTo>
                      <a:pt x="46" y="67"/>
                    </a:lnTo>
                    <a:lnTo>
                      <a:pt x="46" y="65"/>
                    </a:lnTo>
                    <a:lnTo>
                      <a:pt x="46" y="65"/>
                    </a:lnTo>
                    <a:lnTo>
                      <a:pt x="42" y="61"/>
                    </a:lnTo>
                    <a:lnTo>
                      <a:pt x="40" y="57"/>
                    </a:lnTo>
                    <a:lnTo>
                      <a:pt x="42" y="56"/>
                    </a:lnTo>
                    <a:lnTo>
                      <a:pt x="50" y="54"/>
                    </a:lnTo>
                    <a:lnTo>
                      <a:pt x="52" y="52"/>
                    </a:lnTo>
                    <a:lnTo>
                      <a:pt x="54" y="50"/>
                    </a:lnTo>
                    <a:lnTo>
                      <a:pt x="56" y="44"/>
                    </a:lnTo>
                    <a:lnTo>
                      <a:pt x="56" y="40"/>
                    </a:lnTo>
                    <a:lnTo>
                      <a:pt x="56" y="40"/>
                    </a:lnTo>
                    <a:lnTo>
                      <a:pt x="56" y="40"/>
                    </a:lnTo>
                    <a:lnTo>
                      <a:pt x="61" y="40"/>
                    </a:lnTo>
                    <a:lnTo>
                      <a:pt x="63" y="40"/>
                    </a:lnTo>
                    <a:lnTo>
                      <a:pt x="65" y="40"/>
                    </a:lnTo>
                    <a:lnTo>
                      <a:pt x="67" y="34"/>
                    </a:lnTo>
                    <a:lnTo>
                      <a:pt x="67" y="33"/>
                    </a:lnTo>
                    <a:lnTo>
                      <a:pt x="67" y="31"/>
                    </a:lnTo>
                    <a:lnTo>
                      <a:pt x="60" y="31"/>
                    </a:lnTo>
                    <a:lnTo>
                      <a:pt x="56" y="31"/>
                    </a:lnTo>
                    <a:lnTo>
                      <a:pt x="54" y="31"/>
                    </a:lnTo>
                    <a:lnTo>
                      <a:pt x="54" y="31"/>
                    </a:lnTo>
                    <a:lnTo>
                      <a:pt x="54" y="29"/>
                    </a:lnTo>
                    <a:lnTo>
                      <a:pt x="52" y="27"/>
                    </a:lnTo>
                    <a:lnTo>
                      <a:pt x="52" y="23"/>
                    </a:lnTo>
                    <a:lnTo>
                      <a:pt x="54" y="19"/>
                    </a:lnTo>
                    <a:lnTo>
                      <a:pt x="54" y="19"/>
                    </a:lnTo>
                  </a:path>
                </a:pathLst>
              </a:custGeom>
              <a:grpFill/>
              <a:ln w="3175">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dirty="0">
                  <a:solidFill>
                    <a:srgbClr val="001965"/>
                  </a:solidFill>
                  <a:latin typeface="NeueHaasGroteskDisp Pro" panose="020B0504020202020204" pitchFamily="34" charset="0"/>
                  <a:cs typeface="NeueHaasGroteskDisp Pro" charset="0"/>
                </a:endParaRPr>
              </a:p>
            </p:txBody>
          </p:sp>
          <p:sp>
            <p:nvSpPr>
              <p:cNvPr id="184" name="Freeform 9">
                <a:extLst>
                  <a:ext uri="{FF2B5EF4-FFF2-40B4-BE49-F238E27FC236}">
                    <a16:creationId xmlns:a16="http://schemas.microsoft.com/office/drawing/2014/main" id="{2EA080DD-EF50-0A42-9381-6E142C6947A9}"/>
                  </a:ext>
                </a:extLst>
              </p:cNvPr>
              <p:cNvSpPr>
                <a:spLocks/>
              </p:cNvSpPr>
              <p:nvPr/>
            </p:nvSpPr>
            <p:spPr bwMode="auto">
              <a:xfrm>
                <a:off x="949267" y="3804356"/>
                <a:ext cx="12700" cy="14288"/>
              </a:xfrm>
              <a:custGeom>
                <a:avLst/>
                <a:gdLst>
                  <a:gd name="T0" fmla="*/ 0 w 15"/>
                  <a:gd name="T1" fmla="*/ 0 h 20"/>
                  <a:gd name="T2" fmla="*/ 0 w 15"/>
                  <a:gd name="T3" fmla="*/ 8 h 20"/>
                  <a:gd name="T4" fmla="*/ 0 w 15"/>
                  <a:gd name="T5" fmla="*/ 12 h 20"/>
                  <a:gd name="T6" fmla="*/ 0 w 15"/>
                  <a:gd name="T7" fmla="*/ 14 h 20"/>
                  <a:gd name="T8" fmla="*/ 0 w 15"/>
                  <a:gd name="T9" fmla="*/ 14 h 20"/>
                  <a:gd name="T10" fmla="*/ 4 w 15"/>
                  <a:gd name="T11" fmla="*/ 16 h 20"/>
                  <a:gd name="T12" fmla="*/ 8 w 15"/>
                  <a:gd name="T13" fmla="*/ 18 h 20"/>
                  <a:gd name="T14" fmla="*/ 10 w 15"/>
                  <a:gd name="T15" fmla="*/ 20 h 20"/>
                  <a:gd name="T16" fmla="*/ 11 w 15"/>
                  <a:gd name="T17" fmla="*/ 20 h 20"/>
                  <a:gd name="T18" fmla="*/ 13 w 15"/>
                  <a:gd name="T19" fmla="*/ 14 h 20"/>
                  <a:gd name="T20" fmla="*/ 15 w 15"/>
                  <a:gd name="T21" fmla="*/ 12 h 20"/>
                  <a:gd name="T22" fmla="*/ 15 w 15"/>
                  <a:gd name="T23" fmla="*/ 10 h 20"/>
                  <a:gd name="T24" fmla="*/ 15 w 15"/>
                  <a:gd name="T25" fmla="*/ 10 h 20"/>
                  <a:gd name="T26" fmla="*/ 10 w 15"/>
                  <a:gd name="T27" fmla="*/ 4 h 20"/>
                  <a:gd name="T28" fmla="*/ 8 w 15"/>
                  <a:gd name="T29" fmla="*/ 2 h 20"/>
                  <a:gd name="T30" fmla="*/ 8 w 15"/>
                  <a:gd name="T31" fmla="*/ 2 h 20"/>
                  <a:gd name="T32" fmla="*/ 0 w 15"/>
                  <a:gd name="T33" fmla="*/ 0 h 20"/>
                  <a:gd name="T34" fmla="*/ 0 w 15"/>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0">
                    <a:moveTo>
                      <a:pt x="0" y="0"/>
                    </a:moveTo>
                    <a:lnTo>
                      <a:pt x="0" y="8"/>
                    </a:lnTo>
                    <a:lnTo>
                      <a:pt x="0" y="12"/>
                    </a:lnTo>
                    <a:lnTo>
                      <a:pt x="0" y="14"/>
                    </a:lnTo>
                    <a:lnTo>
                      <a:pt x="0" y="14"/>
                    </a:lnTo>
                    <a:lnTo>
                      <a:pt x="4" y="16"/>
                    </a:lnTo>
                    <a:lnTo>
                      <a:pt x="8" y="18"/>
                    </a:lnTo>
                    <a:lnTo>
                      <a:pt x="10" y="20"/>
                    </a:lnTo>
                    <a:lnTo>
                      <a:pt x="11" y="20"/>
                    </a:lnTo>
                    <a:lnTo>
                      <a:pt x="13" y="14"/>
                    </a:lnTo>
                    <a:lnTo>
                      <a:pt x="15" y="12"/>
                    </a:lnTo>
                    <a:lnTo>
                      <a:pt x="15" y="10"/>
                    </a:lnTo>
                    <a:lnTo>
                      <a:pt x="15" y="10"/>
                    </a:lnTo>
                    <a:lnTo>
                      <a:pt x="10" y="4"/>
                    </a:lnTo>
                    <a:lnTo>
                      <a:pt x="8" y="2"/>
                    </a:lnTo>
                    <a:lnTo>
                      <a:pt x="8" y="2"/>
                    </a:lnTo>
                    <a:lnTo>
                      <a:pt x="0" y="0"/>
                    </a:lnTo>
                    <a:lnTo>
                      <a:pt x="0" y="0"/>
                    </a:lnTo>
                  </a:path>
                </a:pathLst>
              </a:custGeom>
              <a:grpFill/>
              <a:ln w="3175">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dirty="0">
                  <a:solidFill>
                    <a:srgbClr val="001965"/>
                  </a:solidFill>
                  <a:latin typeface="NeueHaasGroteskDisp Pro" panose="020B0504020202020204" pitchFamily="34" charset="0"/>
                  <a:cs typeface="NeueHaasGroteskDisp Pro" charset="0"/>
                </a:endParaRPr>
              </a:p>
            </p:txBody>
          </p:sp>
          <p:sp>
            <p:nvSpPr>
              <p:cNvPr id="185" name="Freeform 10">
                <a:extLst>
                  <a:ext uri="{FF2B5EF4-FFF2-40B4-BE49-F238E27FC236}">
                    <a16:creationId xmlns:a16="http://schemas.microsoft.com/office/drawing/2014/main" id="{BD1C298F-D2E8-F744-9667-684425CE10C1}"/>
                  </a:ext>
                </a:extLst>
              </p:cNvPr>
              <p:cNvSpPr>
                <a:spLocks/>
              </p:cNvSpPr>
              <p:nvPr/>
            </p:nvSpPr>
            <p:spPr bwMode="auto">
              <a:xfrm>
                <a:off x="971492" y="3790068"/>
                <a:ext cx="28575" cy="31751"/>
              </a:xfrm>
              <a:custGeom>
                <a:avLst/>
                <a:gdLst>
                  <a:gd name="T0" fmla="*/ 6 w 36"/>
                  <a:gd name="T1" fmla="*/ 25 h 40"/>
                  <a:gd name="T2" fmla="*/ 6 w 36"/>
                  <a:gd name="T3" fmla="*/ 29 h 40"/>
                  <a:gd name="T4" fmla="*/ 4 w 36"/>
                  <a:gd name="T5" fmla="*/ 31 h 40"/>
                  <a:gd name="T6" fmla="*/ 4 w 36"/>
                  <a:gd name="T7" fmla="*/ 33 h 40"/>
                  <a:gd name="T8" fmla="*/ 8 w 36"/>
                  <a:gd name="T9" fmla="*/ 33 h 40"/>
                  <a:gd name="T10" fmla="*/ 15 w 36"/>
                  <a:gd name="T11" fmla="*/ 33 h 40"/>
                  <a:gd name="T12" fmla="*/ 17 w 36"/>
                  <a:gd name="T13" fmla="*/ 33 h 40"/>
                  <a:gd name="T14" fmla="*/ 19 w 36"/>
                  <a:gd name="T15" fmla="*/ 35 h 40"/>
                  <a:gd name="T16" fmla="*/ 21 w 36"/>
                  <a:gd name="T17" fmla="*/ 37 h 40"/>
                  <a:gd name="T18" fmla="*/ 23 w 36"/>
                  <a:gd name="T19" fmla="*/ 40 h 40"/>
                  <a:gd name="T20" fmla="*/ 25 w 36"/>
                  <a:gd name="T21" fmla="*/ 38 h 40"/>
                  <a:gd name="T22" fmla="*/ 25 w 36"/>
                  <a:gd name="T23" fmla="*/ 37 h 40"/>
                  <a:gd name="T24" fmla="*/ 29 w 36"/>
                  <a:gd name="T25" fmla="*/ 33 h 40"/>
                  <a:gd name="T26" fmla="*/ 31 w 36"/>
                  <a:gd name="T27" fmla="*/ 29 h 40"/>
                  <a:gd name="T28" fmla="*/ 32 w 36"/>
                  <a:gd name="T29" fmla="*/ 27 h 40"/>
                  <a:gd name="T30" fmla="*/ 36 w 36"/>
                  <a:gd name="T31" fmla="*/ 27 h 40"/>
                  <a:gd name="T32" fmla="*/ 36 w 36"/>
                  <a:gd name="T33" fmla="*/ 25 h 40"/>
                  <a:gd name="T34" fmla="*/ 34 w 36"/>
                  <a:gd name="T35" fmla="*/ 23 h 40"/>
                  <a:gd name="T36" fmla="*/ 29 w 36"/>
                  <a:gd name="T37" fmla="*/ 19 h 40"/>
                  <a:gd name="T38" fmla="*/ 27 w 36"/>
                  <a:gd name="T39" fmla="*/ 17 h 40"/>
                  <a:gd name="T40" fmla="*/ 27 w 36"/>
                  <a:gd name="T41" fmla="*/ 17 h 40"/>
                  <a:gd name="T42" fmla="*/ 31 w 36"/>
                  <a:gd name="T43" fmla="*/ 15 h 40"/>
                  <a:gd name="T44" fmla="*/ 31 w 36"/>
                  <a:gd name="T45" fmla="*/ 15 h 40"/>
                  <a:gd name="T46" fmla="*/ 31 w 36"/>
                  <a:gd name="T47" fmla="*/ 15 h 40"/>
                  <a:gd name="T48" fmla="*/ 31 w 36"/>
                  <a:gd name="T49" fmla="*/ 14 h 40"/>
                  <a:gd name="T50" fmla="*/ 32 w 36"/>
                  <a:gd name="T51" fmla="*/ 10 h 40"/>
                  <a:gd name="T52" fmla="*/ 34 w 36"/>
                  <a:gd name="T53" fmla="*/ 8 h 40"/>
                  <a:gd name="T54" fmla="*/ 36 w 36"/>
                  <a:gd name="T55" fmla="*/ 8 h 40"/>
                  <a:gd name="T56" fmla="*/ 34 w 36"/>
                  <a:gd name="T57" fmla="*/ 6 h 40"/>
                  <a:gd name="T58" fmla="*/ 32 w 36"/>
                  <a:gd name="T59" fmla="*/ 4 h 40"/>
                  <a:gd name="T60" fmla="*/ 31 w 36"/>
                  <a:gd name="T61" fmla="*/ 2 h 40"/>
                  <a:gd name="T62" fmla="*/ 31 w 36"/>
                  <a:gd name="T63" fmla="*/ 0 h 40"/>
                  <a:gd name="T64" fmla="*/ 29 w 36"/>
                  <a:gd name="T65" fmla="*/ 2 h 40"/>
                  <a:gd name="T66" fmla="*/ 25 w 36"/>
                  <a:gd name="T67" fmla="*/ 2 h 40"/>
                  <a:gd name="T68" fmla="*/ 23 w 36"/>
                  <a:gd name="T69" fmla="*/ 4 h 40"/>
                  <a:gd name="T70" fmla="*/ 21 w 36"/>
                  <a:gd name="T71" fmla="*/ 8 h 40"/>
                  <a:gd name="T72" fmla="*/ 21 w 36"/>
                  <a:gd name="T73" fmla="*/ 10 h 40"/>
                  <a:gd name="T74" fmla="*/ 21 w 36"/>
                  <a:gd name="T75" fmla="*/ 12 h 40"/>
                  <a:gd name="T76" fmla="*/ 21 w 36"/>
                  <a:gd name="T77" fmla="*/ 12 h 40"/>
                  <a:gd name="T78" fmla="*/ 19 w 36"/>
                  <a:gd name="T79" fmla="*/ 10 h 40"/>
                  <a:gd name="T80" fmla="*/ 15 w 36"/>
                  <a:gd name="T81" fmla="*/ 6 h 40"/>
                  <a:gd name="T82" fmla="*/ 13 w 36"/>
                  <a:gd name="T83" fmla="*/ 6 h 40"/>
                  <a:gd name="T84" fmla="*/ 11 w 36"/>
                  <a:gd name="T85" fmla="*/ 8 h 40"/>
                  <a:gd name="T86" fmla="*/ 11 w 36"/>
                  <a:gd name="T87" fmla="*/ 8 h 40"/>
                  <a:gd name="T88" fmla="*/ 6 w 36"/>
                  <a:gd name="T89" fmla="*/ 12 h 40"/>
                  <a:gd name="T90" fmla="*/ 2 w 36"/>
                  <a:gd name="T91" fmla="*/ 14 h 40"/>
                  <a:gd name="T92" fmla="*/ 0 w 36"/>
                  <a:gd name="T93" fmla="*/ 15 h 40"/>
                  <a:gd name="T94" fmla="*/ 2 w 36"/>
                  <a:gd name="T95" fmla="*/ 15 h 40"/>
                  <a:gd name="T96" fmla="*/ 4 w 36"/>
                  <a:gd name="T97" fmla="*/ 17 h 40"/>
                  <a:gd name="T98" fmla="*/ 6 w 36"/>
                  <a:gd name="T99" fmla="*/ 21 h 40"/>
                  <a:gd name="T100" fmla="*/ 6 w 36"/>
                  <a:gd name="T101" fmla="*/ 25 h 40"/>
                  <a:gd name="T102" fmla="*/ 6 w 36"/>
                  <a:gd name="T103"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 h="40">
                    <a:moveTo>
                      <a:pt x="6" y="25"/>
                    </a:moveTo>
                    <a:lnTo>
                      <a:pt x="6" y="29"/>
                    </a:lnTo>
                    <a:lnTo>
                      <a:pt x="4" y="31"/>
                    </a:lnTo>
                    <a:lnTo>
                      <a:pt x="4" y="33"/>
                    </a:lnTo>
                    <a:lnTo>
                      <a:pt x="8" y="33"/>
                    </a:lnTo>
                    <a:lnTo>
                      <a:pt x="15" y="33"/>
                    </a:lnTo>
                    <a:lnTo>
                      <a:pt x="17" y="33"/>
                    </a:lnTo>
                    <a:lnTo>
                      <a:pt x="19" y="35"/>
                    </a:lnTo>
                    <a:lnTo>
                      <a:pt x="21" y="37"/>
                    </a:lnTo>
                    <a:lnTo>
                      <a:pt x="23" y="40"/>
                    </a:lnTo>
                    <a:lnTo>
                      <a:pt x="25" y="38"/>
                    </a:lnTo>
                    <a:lnTo>
                      <a:pt x="25" y="37"/>
                    </a:lnTo>
                    <a:lnTo>
                      <a:pt x="29" y="33"/>
                    </a:lnTo>
                    <a:lnTo>
                      <a:pt x="31" y="29"/>
                    </a:lnTo>
                    <a:lnTo>
                      <a:pt x="32" y="27"/>
                    </a:lnTo>
                    <a:lnTo>
                      <a:pt x="36" y="27"/>
                    </a:lnTo>
                    <a:lnTo>
                      <a:pt x="36" y="25"/>
                    </a:lnTo>
                    <a:lnTo>
                      <a:pt x="34" y="23"/>
                    </a:lnTo>
                    <a:lnTo>
                      <a:pt x="29" y="19"/>
                    </a:lnTo>
                    <a:lnTo>
                      <a:pt x="27" y="17"/>
                    </a:lnTo>
                    <a:lnTo>
                      <a:pt x="27" y="17"/>
                    </a:lnTo>
                    <a:lnTo>
                      <a:pt x="31" y="15"/>
                    </a:lnTo>
                    <a:lnTo>
                      <a:pt x="31" y="15"/>
                    </a:lnTo>
                    <a:lnTo>
                      <a:pt x="31" y="15"/>
                    </a:lnTo>
                    <a:lnTo>
                      <a:pt x="31" y="14"/>
                    </a:lnTo>
                    <a:lnTo>
                      <a:pt x="32" y="10"/>
                    </a:lnTo>
                    <a:lnTo>
                      <a:pt x="34" y="8"/>
                    </a:lnTo>
                    <a:lnTo>
                      <a:pt x="36" y="8"/>
                    </a:lnTo>
                    <a:lnTo>
                      <a:pt x="34" y="6"/>
                    </a:lnTo>
                    <a:lnTo>
                      <a:pt x="32" y="4"/>
                    </a:lnTo>
                    <a:lnTo>
                      <a:pt x="31" y="2"/>
                    </a:lnTo>
                    <a:lnTo>
                      <a:pt x="31" y="0"/>
                    </a:lnTo>
                    <a:lnTo>
                      <a:pt x="29" y="2"/>
                    </a:lnTo>
                    <a:lnTo>
                      <a:pt x="25" y="2"/>
                    </a:lnTo>
                    <a:lnTo>
                      <a:pt x="23" y="4"/>
                    </a:lnTo>
                    <a:lnTo>
                      <a:pt x="21" y="8"/>
                    </a:lnTo>
                    <a:lnTo>
                      <a:pt x="21" y="10"/>
                    </a:lnTo>
                    <a:lnTo>
                      <a:pt x="21" y="12"/>
                    </a:lnTo>
                    <a:lnTo>
                      <a:pt x="21" y="12"/>
                    </a:lnTo>
                    <a:lnTo>
                      <a:pt x="19" y="10"/>
                    </a:lnTo>
                    <a:lnTo>
                      <a:pt x="15" y="6"/>
                    </a:lnTo>
                    <a:lnTo>
                      <a:pt x="13" y="6"/>
                    </a:lnTo>
                    <a:lnTo>
                      <a:pt x="11" y="8"/>
                    </a:lnTo>
                    <a:lnTo>
                      <a:pt x="11" y="8"/>
                    </a:lnTo>
                    <a:lnTo>
                      <a:pt x="6" y="12"/>
                    </a:lnTo>
                    <a:lnTo>
                      <a:pt x="2" y="14"/>
                    </a:lnTo>
                    <a:lnTo>
                      <a:pt x="0" y="15"/>
                    </a:lnTo>
                    <a:lnTo>
                      <a:pt x="2" y="15"/>
                    </a:lnTo>
                    <a:lnTo>
                      <a:pt x="4" y="17"/>
                    </a:lnTo>
                    <a:lnTo>
                      <a:pt x="6" y="21"/>
                    </a:lnTo>
                    <a:lnTo>
                      <a:pt x="6" y="25"/>
                    </a:lnTo>
                    <a:lnTo>
                      <a:pt x="6" y="25"/>
                    </a:lnTo>
                  </a:path>
                </a:pathLst>
              </a:custGeom>
              <a:grpFill/>
              <a:ln w="3175">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dirty="0">
                  <a:solidFill>
                    <a:srgbClr val="001965"/>
                  </a:solidFill>
                  <a:latin typeface="NeueHaasGroteskDisp Pro" panose="020B0504020202020204" pitchFamily="34" charset="0"/>
                  <a:cs typeface="NeueHaasGroteskDisp Pro" charset="0"/>
                </a:endParaRPr>
              </a:p>
            </p:txBody>
          </p:sp>
          <p:sp>
            <p:nvSpPr>
              <p:cNvPr id="186" name="Freeform 11">
                <a:extLst>
                  <a:ext uri="{FF2B5EF4-FFF2-40B4-BE49-F238E27FC236}">
                    <a16:creationId xmlns:a16="http://schemas.microsoft.com/office/drawing/2014/main" id="{205A11CB-17DF-6D41-AE2D-31D561C4B815}"/>
                  </a:ext>
                </a:extLst>
              </p:cNvPr>
              <p:cNvSpPr>
                <a:spLocks/>
              </p:cNvSpPr>
              <p:nvPr/>
            </p:nvSpPr>
            <p:spPr bwMode="auto">
              <a:xfrm>
                <a:off x="971492" y="3818644"/>
                <a:ext cx="33337" cy="11113"/>
              </a:xfrm>
              <a:custGeom>
                <a:avLst/>
                <a:gdLst>
                  <a:gd name="T0" fmla="*/ 40 w 42"/>
                  <a:gd name="T1" fmla="*/ 0 h 13"/>
                  <a:gd name="T2" fmla="*/ 32 w 42"/>
                  <a:gd name="T3" fmla="*/ 1 h 13"/>
                  <a:gd name="T4" fmla="*/ 31 w 42"/>
                  <a:gd name="T5" fmla="*/ 1 h 13"/>
                  <a:gd name="T6" fmla="*/ 29 w 42"/>
                  <a:gd name="T7" fmla="*/ 3 h 13"/>
                  <a:gd name="T8" fmla="*/ 29 w 42"/>
                  <a:gd name="T9" fmla="*/ 3 h 13"/>
                  <a:gd name="T10" fmla="*/ 27 w 42"/>
                  <a:gd name="T11" fmla="*/ 3 h 13"/>
                  <a:gd name="T12" fmla="*/ 25 w 42"/>
                  <a:gd name="T13" fmla="*/ 3 h 13"/>
                  <a:gd name="T14" fmla="*/ 19 w 42"/>
                  <a:gd name="T15" fmla="*/ 5 h 13"/>
                  <a:gd name="T16" fmla="*/ 17 w 42"/>
                  <a:gd name="T17" fmla="*/ 3 h 13"/>
                  <a:gd name="T18" fmla="*/ 11 w 42"/>
                  <a:gd name="T19" fmla="*/ 3 h 13"/>
                  <a:gd name="T20" fmla="*/ 8 w 42"/>
                  <a:gd name="T21" fmla="*/ 1 h 13"/>
                  <a:gd name="T22" fmla="*/ 4 w 42"/>
                  <a:gd name="T23" fmla="*/ 0 h 13"/>
                  <a:gd name="T24" fmla="*/ 0 w 42"/>
                  <a:gd name="T25" fmla="*/ 1 h 13"/>
                  <a:gd name="T26" fmla="*/ 0 w 42"/>
                  <a:gd name="T27" fmla="*/ 3 h 13"/>
                  <a:gd name="T28" fmla="*/ 0 w 42"/>
                  <a:gd name="T29" fmla="*/ 5 h 13"/>
                  <a:gd name="T30" fmla="*/ 4 w 42"/>
                  <a:gd name="T31" fmla="*/ 7 h 13"/>
                  <a:gd name="T32" fmla="*/ 8 w 42"/>
                  <a:gd name="T33" fmla="*/ 7 h 13"/>
                  <a:gd name="T34" fmla="*/ 11 w 42"/>
                  <a:gd name="T35" fmla="*/ 9 h 13"/>
                  <a:gd name="T36" fmla="*/ 15 w 42"/>
                  <a:gd name="T37" fmla="*/ 11 h 13"/>
                  <a:gd name="T38" fmla="*/ 15 w 42"/>
                  <a:gd name="T39" fmla="*/ 13 h 13"/>
                  <a:gd name="T40" fmla="*/ 17 w 42"/>
                  <a:gd name="T41" fmla="*/ 11 h 13"/>
                  <a:gd name="T42" fmla="*/ 23 w 42"/>
                  <a:gd name="T43" fmla="*/ 11 h 13"/>
                  <a:gd name="T44" fmla="*/ 29 w 42"/>
                  <a:gd name="T45" fmla="*/ 9 h 13"/>
                  <a:gd name="T46" fmla="*/ 38 w 42"/>
                  <a:gd name="T47" fmla="*/ 7 h 13"/>
                  <a:gd name="T48" fmla="*/ 40 w 42"/>
                  <a:gd name="T49" fmla="*/ 7 h 13"/>
                  <a:gd name="T50" fmla="*/ 42 w 42"/>
                  <a:gd name="T51" fmla="*/ 5 h 13"/>
                  <a:gd name="T52" fmla="*/ 42 w 42"/>
                  <a:gd name="T53" fmla="*/ 3 h 13"/>
                  <a:gd name="T54" fmla="*/ 40 w 42"/>
                  <a:gd name="T55" fmla="*/ 0 h 13"/>
                  <a:gd name="T56" fmla="*/ 40 w 42"/>
                  <a:gd name="T57" fmla="*/ 0 h 13"/>
                  <a:gd name="T58" fmla="*/ 40 w 42"/>
                  <a:gd name="T5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13">
                    <a:moveTo>
                      <a:pt x="40" y="0"/>
                    </a:moveTo>
                    <a:lnTo>
                      <a:pt x="32" y="1"/>
                    </a:lnTo>
                    <a:lnTo>
                      <a:pt x="31" y="1"/>
                    </a:lnTo>
                    <a:lnTo>
                      <a:pt x="29" y="3"/>
                    </a:lnTo>
                    <a:lnTo>
                      <a:pt x="29" y="3"/>
                    </a:lnTo>
                    <a:lnTo>
                      <a:pt x="27" y="3"/>
                    </a:lnTo>
                    <a:lnTo>
                      <a:pt x="25" y="3"/>
                    </a:lnTo>
                    <a:lnTo>
                      <a:pt x="19" y="5"/>
                    </a:lnTo>
                    <a:lnTo>
                      <a:pt x="17" y="3"/>
                    </a:lnTo>
                    <a:lnTo>
                      <a:pt x="11" y="3"/>
                    </a:lnTo>
                    <a:lnTo>
                      <a:pt x="8" y="1"/>
                    </a:lnTo>
                    <a:lnTo>
                      <a:pt x="4" y="0"/>
                    </a:lnTo>
                    <a:lnTo>
                      <a:pt x="0" y="1"/>
                    </a:lnTo>
                    <a:lnTo>
                      <a:pt x="0" y="3"/>
                    </a:lnTo>
                    <a:lnTo>
                      <a:pt x="0" y="5"/>
                    </a:lnTo>
                    <a:lnTo>
                      <a:pt x="4" y="7"/>
                    </a:lnTo>
                    <a:lnTo>
                      <a:pt x="8" y="7"/>
                    </a:lnTo>
                    <a:lnTo>
                      <a:pt x="11" y="9"/>
                    </a:lnTo>
                    <a:lnTo>
                      <a:pt x="15" y="11"/>
                    </a:lnTo>
                    <a:lnTo>
                      <a:pt x="15" y="13"/>
                    </a:lnTo>
                    <a:lnTo>
                      <a:pt x="17" y="11"/>
                    </a:lnTo>
                    <a:lnTo>
                      <a:pt x="23" y="11"/>
                    </a:lnTo>
                    <a:lnTo>
                      <a:pt x="29" y="9"/>
                    </a:lnTo>
                    <a:lnTo>
                      <a:pt x="38" y="7"/>
                    </a:lnTo>
                    <a:lnTo>
                      <a:pt x="40" y="7"/>
                    </a:lnTo>
                    <a:lnTo>
                      <a:pt x="42" y="5"/>
                    </a:lnTo>
                    <a:lnTo>
                      <a:pt x="42" y="3"/>
                    </a:lnTo>
                    <a:lnTo>
                      <a:pt x="40" y="0"/>
                    </a:lnTo>
                    <a:lnTo>
                      <a:pt x="40" y="0"/>
                    </a:lnTo>
                    <a:lnTo>
                      <a:pt x="40" y="0"/>
                    </a:lnTo>
                  </a:path>
                </a:pathLst>
              </a:custGeom>
              <a:grpFill/>
              <a:ln w="3175">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dirty="0">
                  <a:solidFill>
                    <a:srgbClr val="001965"/>
                  </a:solidFill>
                  <a:latin typeface="NeueHaasGroteskDisp Pro" panose="020B0504020202020204" pitchFamily="34" charset="0"/>
                  <a:cs typeface="NeueHaasGroteskDisp Pro" charset="0"/>
                </a:endParaRPr>
              </a:p>
            </p:txBody>
          </p:sp>
        </p:grpSp>
        <p:grpSp>
          <p:nvGrpSpPr>
            <p:cNvPr id="180" name="Group 179">
              <a:extLst>
                <a:ext uri="{FF2B5EF4-FFF2-40B4-BE49-F238E27FC236}">
                  <a16:creationId xmlns:a16="http://schemas.microsoft.com/office/drawing/2014/main" id="{D68836B4-F919-DC4E-87B8-B23F342F86B1}"/>
                </a:ext>
              </a:extLst>
            </p:cNvPr>
            <p:cNvGrpSpPr/>
            <p:nvPr/>
          </p:nvGrpSpPr>
          <p:grpSpPr>
            <a:xfrm>
              <a:off x="4176986" y="1862709"/>
              <a:ext cx="1167666" cy="571288"/>
              <a:chOff x="3408944" y="3697096"/>
              <a:chExt cx="960437" cy="469900"/>
            </a:xfrm>
            <a:grpFill/>
          </p:grpSpPr>
          <p:sp>
            <p:nvSpPr>
              <p:cNvPr id="181" name="Freeform 16">
                <a:extLst>
                  <a:ext uri="{FF2B5EF4-FFF2-40B4-BE49-F238E27FC236}">
                    <a16:creationId xmlns:a16="http://schemas.microsoft.com/office/drawing/2014/main" id="{5E38BCD4-AC4C-D545-A499-9CAB456FEA01}"/>
                  </a:ext>
                </a:extLst>
              </p:cNvPr>
              <p:cNvSpPr>
                <a:spLocks/>
              </p:cNvSpPr>
              <p:nvPr/>
            </p:nvSpPr>
            <p:spPr bwMode="auto">
              <a:xfrm>
                <a:off x="3408944" y="3697096"/>
                <a:ext cx="960437" cy="469900"/>
              </a:xfrm>
              <a:custGeom>
                <a:avLst/>
                <a:gdLst>
                  <a:gd name="T0" fmla="*/ 1002 w 1210"/>
                  <a:gd name="T1" fmla="*/ 52 h 593"/>
                  <a:gd name="T2" fmla="*/ 929 w 1210"/>
                  <a:gd name="T3" fmla="*/ 42 h 593"/>
                  <a:gd name="T4" fmla="*/ 864 w 1210"/>
                  <a:gd name="T5" fmla="*/ 31 h 593"/>
                  <a:gd name="T6" fmla="*/ 1045 w 1210"/>
                  <a:gd name="T7" fmla="*/ 21 h 593"/>
                  <a:gd name="T8" fmla="*/ 937 w 1210"/>
                  <a:gd name="T9" fmla="*/ 8 h 593"/>
                  <a:gd name="T10" fmla="*/ 757 w 1210"/>
                  <a:gd name="T11" fmla="*/ 2 h 593"/>
                  <a:gd name="T12" fmla="*/ 622 w 1210"/>
                  <a:gd name="T13" fmla="*/ 8 h 593"/>
                  <a:gd name="T14" fmla="*/ 655 w 1210"/>
                  <a:gd name="T15" fmla="*/ 21 h 593"/>
                  <a:gd name="T16" fmla="*/ 522 w 1210"/>
                  <a:gd name="T17" fmla="*/ 21 h 593"/>
                  <a:gd name="T18" fmla="*/ 384 w 1210"/>
                  <a:gd name="T19" fmla="*/ 27 h 593"/>
                  <a:gd name="T20" fmla="*/ 275 w 1210"/>
                  <a:gd name="T21" fmla="*/ 46 h 593"/>
                  <a:gd name="T22" fmla="*/ 203 w 1210"/>
                  <a:gd name="T23" fmla="*/ 69 h 593"/>
                  <a:gd name="T24" fmla="*/ 54 w 1210"/>
                  <a:gd name="T25" fmla="*/ 102 h 593"/>
                  <a:gd name="T26" fmla="*/ 46 w 1210"/>
                  <a:gd name="T27" fmla="*/ 128 h 593"/>
                  <a:gd name="T28" fmla="*/ 84 w 1210"/>
                  <a:gd name="T29" fmla="*/ 132 h 593"/>
                  <a:gd name="T30" fmla="*/ 40 w 1210"/>
                  <a:gd name="T31" fmla="*/ 146 h 593"/>
                  <a:gd name="T32" fmla="*/ 88 w 1210"/>
                  <a:gd name="T33" fmla="*/ 159 h 593"/>
                  <a:gd name="T34" fmla="*/ 213 w 1210"/>
                  <a:gd name="T35" fmla="*/ 169 h 593"/>
                  <a:gd name="T36" fmla="*/ 250 w 1210"/>
                  <a:gd name="T37" fmla="*/ 215 h 593"/>
                  <a:gd name="T38" fmla="*/ 217 w 1210"/>
                  <a:gd name="T39" fmla="*/ 257 h 593"/>
                  <a:gd name="T40" fmla="*/ 261 w 1210"/>
                  <a:gd name="T41" fmla="*/ 257 h 593"/>
                  <a:gd name="T42" fmla="*/ 296 w 1210"/>
                  <a:gd name="T43" fmla="*/ 292 h 593"/>
                  <a:gd name="T44" fmla="*/ 215 w 1210"/>
                  <a:gd name="T45" fmla="*/ 299 h 593"/>
                  <a:gd name="T46" fmla="*/ 284 w 1210"/>
                  <a:gd name="T47" fmla="*/ 326 h 593"/>
                  <a:gd name="T48" fmla="*/ 261 w 1210"/>
                  <a:gd name="T49" fmla="*/ 353 h 593"/>
                  <a:gd name="T50" fmla="*/ 228 w 1210"/>
                  <a:gd name="T51" fmla="*/ 347 h 593"/>
                  <a:gd name="T52" fmla="*/ 234 w 1210"/>
                  <a:gd name="T53" fmla="*/ 376 h 593"/>
                  <a:gd name="T54" fmla="*/ 234 w 1210"/>
                  <a:gd name="T55" fmla="*/ 386 h 593"/>
                  <a:gd name="T56" fmla="*/ 169 w 1210"/>
                  <a:gd name="T57" fmla="*/ 407 h 593"/>
                  <a:gd name="T58" fmla="*/ 175 w 1210"/>
                  <a:gd name="T59" fmla="*/ 437 h 593"/>
                  <a:gd name="T60" fmla="*/ 184 w 1210"/>
                  <a:gd name="T61" fmla="*/ 462 h 593"/>
                  <a:gd name="T62" fmla="*/ 205 w 1210"/>
                  <a:gd name="T63" fmla="*/ 470 h 593"/>
                  <a:gd name="T64" fmla="*/ 186 w 1210"/>
                  <a:gd name="T65" fmla="*/ 495 h 593"/>
                  <a:gd name="T66" fmla="*/ 202 w 1210"/>
                  <a:gd name="T67" fmla="*/ 533 h 593"/>
                  <a:gd name="T68" fmla="*/ 223 w 1210"/>
                  <a:gd name="T69" fmla="*/ 562 h 593"/>
                  <a:gd name="T70" fmla="*/ 284 w 1210"/>
                  <a:gd name="T71" fmla="*/ 560 h 593"/>
                  <a:gd name="T72" fmla="*/ 321 w 1210"/>
                  <a:gd name="T73" fmla="*/ 583 h 593"/>
                  <a:gd name="T74" fmla="*/ 351 w 1210"/>
                  <a:gd name="T75" fmla="*/ 547 h 593"/>
                  <a:gd name="T76" fmla="*/ 359 w 1210"/>
                  <a:gd name="T77" fmla="*/ 512 h 593"/>
                  <a:gd name="T78" fmla="*/ 417 w 1210"/>
                  <a:gd name="T79" fmla="*/ 485 h 593"/>
                  <a:gd name="T80" fmla="*/ 440 w 1210"/>
                  <a:gd name="T81" fmla="*/ 458 h 593"/>
                  <a:gd name="T82" fmla="*/ 495 w 1210"/>
                  <a:gd name="T83" fmla="*/ 435 h 593"/>
                  <a:gd name="T84" fmla="*/ 538 w 1210"/>
                  <a:gd name="T85" fmla="*/ 422 h 593"/>
                  <a:gd name="T86" fmla="*/ 668 w 1210"/>
                  <a:gd name="T87" fmla="*/ 355 h 593"/>
                  <a:gd name="T88" fmla="*/ 826 w 1210"/>
                  <a:gd name="T89" fmla="*/ 341 h 593"/>
                  <a:gd name="T90" fmla="*/ 908 w 1210"/>
                  <a:gd name="T91" fmla="*/ 309 h 593"/>
                  <a:gd name="T92" fmla="*/ 822 w 1210"/>
                  <a:gd name="T93" fmla="*/ 305 h 593"/>
                  <a:gd name="T94" fmla="*/ 797 w 1210"/>
                  <a:gd name="T95" fmla="*/ 290 h 593"/>
                  <a:gd name="T96" fmla="*/ 807 w 1210"/>
                  <a:gd name="T97" fmla="*/ 274 h 593"/>
                  <a:gd name="T98" fmla="*/ 874 w 1210"/>
                  <a:gd name="T99" fmla="*/ 295 h 593"/>
                  <a:gd name="T100" fmla="*/ 931 w 1210"/>
                  <a:gd name="T101" fmla="*/ 278 h 593"/>
                  <a:gd name="T102" fmla="*/ 868 w 1210"/>
                  <a:gd name="T103" fmla="*/ 251 h 593"/>
                  <a:gd name="T104" fmla="*/ 879 w 1210"/>
                  <a:gd name="T105" fmla="*/ 228 h 593"/>
                  <a:gd name="T106" fmla="*/ 910 w 1210"/>
                  <a:gd name="T107" fmla="*/ 228 h 593"/>
                  <a:gd name="T108" fmla="*/ 964 w 1210"/>
                  <a:gd name="T109" fmla="*/ 211 h 593"/>
                  <a:gd name="T110" fmla="*/ 1020 w 1210"/>
                  <a:gd name="T111" fmla="*/ 198 h 593"/>
                  <a:gd name="T112" fmla="*/ 958 w 1210"/>
                  <a:gd name="T113" fmla="*/ 175 h 593"/>
                  <a:gd name="T114" fmla="*/ 972 w 1210"/>
                  <a:gd name="T115" fmla="*/ 151 h 593"/>
                  <a:gd name="T116" fmla="*/ 1016 w 1210"/>
                  <a:gd name="T117" fmla="*/ 125 h 593"/>
                  <a:gd name="T118" fmla="*/ 1022 w 1210"/>
                  <a:gd name="T119" fmla="*/ 96 h 593"/>
                  <a:gd name="T120" fmla="*/ 1070 w 1210"/>
                  <a:gd name="T121" fmla="*/ 69 h 593"/>
                  <a:gd name="T122" fmla="*/ 1097 w 1210"/>
                  <a:gd name="T123" fmla="*/ 57 h 593"/>
                  <a:gd name="T124" fmla="*/ 1143 w 1210"/>
                  <a:gd name="T125" fmla="*/ 54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0" h="593">
                    <a:moveTo>
                      <a:pt x="1179" y="33"/>
                    </a:moveTo>
                    <a:lnTo>
                      <a:pt x="1173" y="33"/>
                    </a:lnTo>
                    <a:lnTo>
                      <a:pt x="1166" y="33"/>
                    </a:lnTo>
                    <a:lnTo>
                      <a:pt x="1146" y="31"/>
                    </a:lnTo>
                    <a:lnTo>
                      <a:pt x="1137" y="31"/>
                    </a:lnTo>
                    <a:lnTo>
                      <a:pt x="1129" y="31"/>
                    </a:lnTo>
                    <a:lnTo>
                      <a:pt x="1123" y="31"/>
                    </a:lnTo>
                    <a:lnTo>
                      <a:pt x="1120" y="33"/>
                    </a:lnTo>
                    <a:lnTo>
                      <a:pt x="1116" y="34"/>
                    </a:lnTo>
                    <a:lnTo>
                      <a:pt x="1108" y="38"/>
                    </a:lnTo>
                    <a:lnTo>
                      <a:pt x="1100" y="38"/>
                    </a:lnTo>
                    <a:lnTo>
                      <a:pt x="1093" y="40"/>
                    </a:lnTo>
                    <a:lnTo>
                      <a:pt x="1089" y="40"/>
                    </a:lnTo>
                    <a:lnTo>
                      <a:pt x="1085" y="38"/>
                    </a:lnTo>
                    <a:lnTo>
                      <a:pt x="1072" y="36"/>
                    </a:lnTo>
                    <a:lnTo>
                      <a:pt x="1060" y="36"/>
                    </a:lnTo>
                    <a:lnTo>
                      <a:pt x="1054" y="36"/>
                    </a:lnTo>
                    <a:lnTo>
                      <a:pt x="1052" y="36"/>
                    </a:lnTo>
                    <a:lnTo>
                      <a:pt x="1048" y="38"/>
                    </a:lnTo>
                    <a:lnTo>
                      <a:pt x="1045" y="40"/>
                    </a:lnTo>
                    <a:lnTo>
                      <a:pt x="1031" y="44"/>
                    </a:lnTo>
                    <a:lnTo>
                      <a:pt x="1018" y="48"/>
                    </a:lnTo>
                    <a:lnTo>
                      <a:pt x="1012" y="48"/>
                    </a:lnTo>
                    <a:lnTo>
                      <a:pt x="1010" y="50"/>
                    </a:lnTo>
                    <a:lnTo>
                      <a:pt x="1006" y="50"/>
                    </a:lnTo>
                    <a:lnTo>
                      <a:pt x="1002" y="52"/>
                    </a:lnTo>
                    <a:lnTo>
                      <a:pt x="991" y="54"/>
                    </a:lnTo>
                    <a:lnTo>
                      <a:pt x="985" y="56"/>
                    </a:lnTo>
                    <a:lnTo>
                      <a:pt x="979" y="56"/>
                    </a:lnTo>
                    <a:lnTo>
                      <a:pt x="977" y="56"/>
                    </a:lnTo>
                    <a:lnTo>
                      <a:pt x="977" y="54"/>
                    </a:lnTo>
                    <a:lnTo>
                      <a:pt x="981" y="52"/>
                    </a:lnTo>
                    <a:lnTo>
                      <a:pt x="989" y="50"/>
                    </a:lnTo>
                    <a:lnTo>
                      <a:pt x="1006" y="46"/>
                    </a:lnTo>
                    <a:lnTo>
                      <a:pt x="1016" y="42"/>
                    </a:lnTo>
                    <a:lnTo>
                      <a:pt x="1024" y="40"/>
                    </a:lnTo>
                    <a:lnTo>
                      <a:pt x="1027" y="36"/>
                    </a:lnTo>
                    <a:lnTo>
                      <a:pt x="1027" y="34"/>
                    </a:lnTo>
                    <a:lnTo>
                      <a:pt x="1024" y="31"/>
                    </a:lnTo>
                    <a:lnTo>
                      <a:pt x="1016" y="29"/>
                    </a:lnTo>
                    <a:lnTo>
                      <a:pt x="1006" y="29"/>
                    </a:lnTo>
                    <a:lnTo>
                      <a:pt x="999" y="29"/>
                    </a:lnTo>
                    <a:lnTo>
                      <a:pt x="987" y="34"/>
                    </a:lnTo>
                    <a:lnTo>
                      <a:pt x="983" y="34"/>
                    </a:lnTo>
                    <a:lnTo>
                      <a:pt x="981" y="36"/>
                    </a:lnTo>
                    <a:lnTo>
                      <a:pt x="964" y="38"/>
                    </a:lnTo>
                    <a:lnTo>
                      <a:pt x="951" y="40"/>
                    </a:lnTo>
                    <a:lnTo>
                      <a:pt x="943" y="40"/>
                    </a:lnTo>
                    <a:lnTo>
                      <a:pt x="937" y="42"/>
                    </a:lnTo>
                    <a:lnTo>
                      <a:pt x="933" y="42"/>
                    </a:lnTo>
                    <a:lnTo>
                      <a:pt x="931" y="42"/>
                    </a:lnTo>
                    <a:lnTo>
                      <a:pt x="929" y="42"/>
                    </a:lnTo>
                    <a:lnTo>
                      <a:pt x="931" y="42"/>
                    </a:lnTo>
                    <a:lnTo>
                      <a:pt x="937" y="40"/>
                    </a:lnTo>
                    <a:lnTo>
                      <a:pt x="945" y="38"/>
                    </a:lnTo>
                    <a:lnTo>
                      <a:pt x="952" y="36"/>
                    </a:lnTo>
                    <a:lnTo>
                      <a:pt x="960" y="34"/>
                    </a:lnTo>
                    <a:lnTo>
                      <a:pt x="966" y="33"/>
                    </a:lnTo>
                    <a:lnTo>
                      <a:pt x="968" y="31"/>
                    </a:lnTo>
                    <a:lnTo>
                      <a:pt x="966" y="31"/>
                    </a:lnTo>
                    <a:lnTo>
                      <a:pt x="960" y="31"/>
                    </a:lnTo>
                    <a:lnTo>
                      <a:pt x="952" y="31"/>
                    </a:lnTo>
                    <a:lnTo>
                      <a:pt x="933" y="31"/>
                    </a:lnTo>
                    <a:lnTo>
                      <a:pt x="926" y="31"/>
                    </a:lnTo>
                    <a:lnTo>
                      <a:pt x="918" y="31"/>
                    </a:lnTo>
                    <a:lnTo>
                      <a:pt x="912" y="29"/>
                    </a:lnTo>
                    <a:lnTo>
                      <a:pt x="910" y="29"/>
                    </a:lnTo>
                    <a:lnTo>
                      <a:pt x="903" y="31"/>
                    </a:lnTo>
                    <a:lnTo>
                      <a:pt x="897" y="33"/>
                    </a:lnTo>
                    <a:lnTo>
                      <a:pt x="895" y="33"/>
                    </a:lnTo>
                    <a:lnTo>
                      <a:pt x="895" y="33"/>
                    </a:lnTo>
                    <a:lnTo>
                      <a:pt x="885" y="33"/>
                    </a:lnTo>
                    <a:lnTo>
                      <a:pt x="878" y="31"/>
                    </a:lnTo>
                    <a:lnTo>
                      <a:pt x="874" y="31"/>
                    </a:lnTo>
                    <a:lnTo>
                      <a:pt x="870" y="31"/>
                    </a:lnTo>
                    <a:lnTo>
                      <a:pt x="866" y="31"/>
                    </a:lnTo>
                    <a:lnTo>
                      <a:pt x="866" y="31"/>
                    </a:lnTo>
                    <a:lnTo>
                      <a:pt x="864" y="31"/>
                    </a:lnTo>
                    <a:lnTo>
                      <a:pt x="860" y="31"/>
                    </a:lnTo>
                    <a:lnTo>
                      <a:pt x="851" y="34"/>
                    </a:lnTo>
                    <a:lnTo>
                      <a:pt x="839" y="36"/>
                    </a:lnTo>
                    <a:lnTo>
                      <a:pt x="835" y="36"/>
                    </a:lnTo>
                    <a:lnTo>
                      <a:pt x="835" y="34"/>
                    </a:lnTo>
                    <a:lnTo>
                      <a:pt x="837" y="33"/>
                    </a:lnTo>
                    <a:lnTo>
                      <a:pt x="841" y="33"/>
                    </a:lnTo>
                    <a:lnTo>
                      <a:pt x="849" y="31"/>
                    </a:lnTo>
                    <a:lnTo>
                      <a:pt x="856" y="29"/>
                    </a:lnTo>
                    <a:lnTo>
                      <a:pt x="874" y="27"/>
                    </a:lnTo>
                    <a:lnTo>
                      <a:pt x="881" y="27"/>
                    </a:lnTo>
                    <a:lnTo>
                      <a:pt x="887" y="27"/>
                    </a:lnTo>
                    <a:lnTo>
                      <a:pt x="897" y="27"/>
                    </a:lnTo>
                    <a:lnTo>
                      <a:pt x="910" y="27"/>
                    </a:lnTo>
                    <a:lnTo>
                      <a:pt x="926" y="27"/>
                    </a:lnTo>
                    <a:lnTo>
                      <a:pt x="945" y="27"/>
                    </a:lnTo>
                    <a:lnTo>
                      <a:pt x="962" y="27"/>
                    </a:lnTo>
                    <a:lnTo>
                      <a:pt x="977" y="25"/>
                    </a:lnTo>
                    <a:lnTo>
                      <a:pt x="989" y="25"/>
                    </a:lnTo>
                    <a:lnTo>
                      <a:pt x="995" y="25"/>
                    </a:lnTo>
                    <a:lnTo>
                      <a:pt x="999" y="25"/>
                    </a:lnTo>
                    <a:lnTo>
                      <a:pt x="1006" y="25"/>
                    </a:lnTo>
                    <a:lnTo>
                      <a:pt x="1024" y="25"/>
                    </a:lnTo>
                    <a:lnTo>
                      <a:pt x="1033" y="23"/>
                    </a:lnTo>
                    <a:lnTo>
                      <a:pt x="1041" y="23"/>
                    </a:lnTo>
                    <a:lnTo>
                      <a:pt x="1045" y="21"/>
                    </a:lnTo>
                    <a:lnTo>
                      <a:pt x="1045" y="19"/>
                    </a:lnTo>
                    <a:lnTo>
                      <a:pt x="1041" y="17"/>
                    </a:lnTo>
                    <a:lnTo>
                      <a:pt x="1037" y="17"/>
                    </a:lnTo>
                    <a:lnTo>
                      <a:pt x="1022" y="15"/>
                    </a:lnTo>
                    <a:lnTo>
                      <a:pt x="1006" y="13"/>
                    </a:lnTo>
                    <a:lnTo>
                      <a:pt x="995" y="15"/>
                    </a:lnTo>
                    <a:lnTo>
                      <a:pt x="987" y="15"/>
                    </a:lnTo>
                    <a:lnTo>
                      <a:pt x="979" y="15"/>
                    </a:lnTo>
                    <a:lnTo>
                      <a:pt x="976" y="15"/>
                    </a:lnTo>
                    <a:lnTo>
                      <a:pt x="974" y="15"/>
                    </a:lnTo>
                    <a:lnTo>
                      <a:pt x="977" y="15"/>
                    </a:lnTo>
                    <a:lnTo>
                      <a:pt x="981" y="13"/>
                    </a:lnTo>
                    <a:lnTo>
                      <a:pt x="983" y="10"/>
                    </a:lnTo>
                    <a:lnTo>
                      <a:pt x="983" y="10"/>
                    </a:lnTo>
                    <a:lnTo>
                      <a:pt x="979" y="10"/>
                    </a:lnTo>
                    <a:lnTo>
                      <a:pt x="972" y="10"/>
                    </a:lnTo>
                    <a:lnTo>
                      <a:pt x="962" y="10"/>
                    </a:lnTo>
                    <a:lnTo>
                      <a:pt x="954" y="10"/>
                    </a:lnTo>
                    <a:lnTo>
                      <a:pt x="952" y="10"/>
                    </a:lnTo>
                    <a:lnTo>
                      <a:pt x="949" y="10"/>
                    </a:lnTo>
                    <a:lnTo>
                      <a:pt x="943" y="10"/>
                    </a:lnTo>
                    <a:lnTo>
                      <a:pt x="935" y="10"/>
                    </a:lnTo>
                    <a:lnTo>
                      <a:pt x="929" y="8"/>
                    </a:lnTo>
                    <a:lnTo>
                      <a:pt x="928" y="8"/>
                    </a:lnTo>
                    <a:lnTo>
                      <a:pt x="929" y="8"/>
                    </a:lnTo>
                    <a:lnTo>
                      <a:pt x="937" y="8"/>
                    </a:lnTo>
                    <a:lnTo>
                      <a:pt x="945" y="8"/>
                    </a:lnTo>
                    <a:lnTo>
                      <a:pt x="951" y="6"/>
                    </a:lnTo>
                    <a:lnTo>
                      <a:pt x="951" y="4"/>
                    </a:lnTo>
                    <a:lnTo>
                      <a:pt x="949" y="2"/>
                    </a:lnTo>
                    <a:lnTo>
                      <a:pt x="945" y="2"/>
                    </a:lnTo>
                    <a:lnTo>
                      <a:pt x="939" y="2"/>
                    </a:lnTo>
                    <a:lnTo>
                      <a:pt x="926" y="2"/>
                    </a:lnTo>
                    <a:lnTo>
                      <a:pt x="914" y="2"/>
                    </a:lnTo>
                    <a:lnTo>
                      <a:pt x="908" y="2"/>
                    </a:lnTo>
                    <a:lnTo>
                      <a:pt x="901" y="2"/>
                    </a:lnTo>
                    <a:lnTo>
                      <a:pt x="883" y="4"/>
                    </a:lnTo>
                    <a:lnTo>
                      <a:pt x="876" y="4"/>
                    </a:lnTo>
                    <a:lnTo>
                      <a:pt x="870" y="4"/>
                    </a:lnTo>
                    <a:lnTo>
                      <a:pt x="866" y="4"/>
                    </a:lnTo>
                    <a:lnTo>
                      <a:pt x="864" y="4"/>
                    </a:lnTo>
                    <a:lnTo>
                      <a:pt x="864" y="4"/>
                    </a:lnTo>
                    <a:lnTo>
                      <a:pt x="860" y="4"/>
                    </a:lnTo>
                    <a:lnTo>
                      <a:pt x="849" y="2"/>
                    </a:lnTo>
                    <a:lnTo>
                      <a:pt x="837" y="2"/>
                    </a:lnTo>
                    <a:lnTo>
                      <a:pt x="824" y="0"/>
                    </a:lnTo>
                    <a:lnTo>
                      <a:pt x="803" y="0"/>
                    </a:lnTo>
                    <a:lnTo>
                      <a:pt x="795" y="2"/>
                    </a:lnTo>
                    <a:lnTo>
                      <a:pt x="789" y="2"/>
                    </a:lnTo>
                    <a:lnTo>
                      <a:pt x="783" y="4"/>
                    </a:lnTo>
                    <a:lnTo>
                      <a:pt x="776" y="4"/>
                    </a:lnTo>
                    <a:lnTo>
                      <a:pt x="757" y="2"/>
                    </a:lnTo>
                    <a:lnTo>
                      <a:pt x="747" y="2"/>
                    </a:lnTo>
                    <a:lnTo>
                      <a:pt x="737" y="2"/>
                    </a:lnTo>
                    <a:lnTo>
                      <a:pt x="732" y="4"/>
                    </a:lnTo>
                    <a:lnTo>
                      <a:pt x="730" y="6"/>
                    </a:lnTo>
                    <a:lnTo>
                      <a:pt x="734" y="8"/>
                    </a:lnTo>
                    <a:lnTo>
                      <a:pt x="741" y="8"/>
                    </a:lnTo>
                    <a:lnTo>
                      <a:pt x="747" y="8"/>
                    </a:lnTo>
                    <a:lnTo>
                      <a:pt x="751" y="8"/>
                    </a:lnTo>
                    <a:lnTo>
                      <a:pt x="749" y="10"/>
                    </a:lnTo>
                    <a:lnTo>
                      <a:pt x="747" y="10"/>
                    </a:lnTo>
                    <a:lnTo>
                      <a:pt x="737" y="10"/>
                    </a:lnTo>
                    <a:lnTo>
                      <a:pt x="728" y="11"/>
                    </a:lnTo>
                    <a:lnTo>
                      <a:pt x="718" y="11"/>
                    </a:lnTo>
                    <a:lnTo>
                      <a:pt x="714" y="10"/>
                    </a:lnTo>
                    <a:lnTo>
                      <a:pt x="709" y="10"/>
                    </a:lnTo>
                    <a:lnTo>
                      <a:pt x="693" y="8"/>
                    </a:lnTo>
                    <a:lnTo>
                      <a:pt x="678" y="8"/>
                    </a:lnTo>
                    <a:lnTo>
                      <a:pt x="670" y="6"/>
                    </a:lnTo>
                    <a:lnTo>
                      <a:pt x="666" y="6"/>
                    </a:lnTo>
                    <a:lnTo>
                      <a:pt x="657" y="6"/>
                    </a:lnTo>
                    <a:lnTo>
                      <a:pt x="645" y="6"/>
                    </a:lnTo>
                    <a:lnTo>
                      <a:pt x="636" y="6"/>
                    </a:lnTo>
                    <a:lnTo>
                      <a:pt x="632" y="6"/>
                    </a:lnTo>
                    <a:lnTo>
                      <a:pt x="630" y="8"/>
                    </a:lnTo>
                    <a:lnTo>
                      <a:pt x="628" y="8"/>
                    </a:lnTo>
                    <a:lnTo>
                      <a:pt x="622" y="8"/>
                    </a:lnTo>
                    <a:lnTo>
                      <a:pt x="613" y="10"/>
                    </a:lnTo>
                    <a:lnTo>
                      <a:pt x="609" y="10"/>
                    </a:lnTo>
                    <a:lnTo>
                      <a:pt x="605" y="11"/>
                    </a:lnTo>
                    <a:lnTo>
                      <a:pt x="605" y="11"/>
                    </a:lnTo>
                    <a:lnTo>
                      <a:pt x="609" y="13"/>
                    </a:lnTo>
                    <a:lnTo>
                      <a:pt x="614" y="13"/>
                    </a:lnTo>
                    <a:lnTo>
                      <a:pt x="622" y="15"/>
                    </a:lnTo>
                    <a:lnTo>
                      <a:pt x="641" y="17"/>
                    </a:lnTo>
                    <a:lnTo>
                      <a:pt x="651" y="17"/>
                    </a:lnTo>
                    <a:lnTo>
                      <a:pt x="659" y="17"/>
                    </a:lnTo>
                    <a:lnTo>
                      <a:pt x="664" y="17"/>
                    </a:lnTo>
                    <a:lnTo>
                      <a:pt x="666" y="17"/>
                    </a:lnTo>
                    <a:lnTo>
                      <a:pt x="678" y="19"/>
                    </a:lnTo>
                    <a:lnTo>
                      <a:pt x="687" y="19"/>
                    </a:lnTo>
                    <a:lnTo>
                      <a:pt x="693" y="21"/>
                    </a:lnTo>
                    <a:lnTo>
                      <a:pt x="697" y="21"/>
                    </a:lnTo>
                    <a:lnTo>
                      <a:pt x="701" y="21"/>
                    </a:lnTo>
                    <a:lnTo>
                      <a:pt x="703" y="21"/>
                    </a:lnTo>
                    <a:lnTo>
                      <a:pt x="701" y="21"/>
                    </a:lnTo>
                    <a:lnTo>
                      <a:pt x="697" y="21"/>
                    </a:lnTo>
                    <a:lnTo>
                      <a:pt x="684" y="21"/>
                    </a:lnTo>
                    <a:lnTo>
                      <a:pt x="670" y="23"/>
                    </a:lnTo>
                    <a:lnTo>
                      <a:pt x="664" y="23"/>
                    </a:lnTo>
                    <a:lnTo>
                      <a:pt x="662" y="23"/>
                    </a:lnTo>
                    <a:lnTo>
                      <a:pt x="659" y="23"/>
                    </a:lnTo>
                    <a:lnTo>
                      <a:pt x="655" y="21"/>
                    </a:lnTo>
                    <a:lnTo>
                      <a:pt x="641" y="19"/>
                    </a:lnTo>
                    <a:lnTo>
                      <a:pt x="632" y="17"/>
                    </a:lnTo>
                    <a:lnTo>
                      <a:pt x="628" y="17"/>
                    </a:lnTo>
                    <a:lnTo>
                      <a:pt x="626" y="17"/>
                    </a:lnTo>
                    <a:lnTo>
                      <a:pt x="630" y="19"/>
                    </a:lnTo>
                    <a:lnTo>
                      <a:pt x="634" y="21"/>
                    </a:lnTo>
                    <a:lnTo>
                      <a:pt x="638" y="21"/>
                    </a:lnTo>
                    <a:lnTo>
                      <a:pt x="639" y="21"/>
                    </a:lnTo>
                    <a:lnTo>
                      <a:pt x="628" y="23"/>
                    </a:lnTo>
                    <a:lnTo>
                      <a:pt x="622" y="23"/>
                    </a:lnTo>
                    <a:lnTo>
                      <a:pt x="620" y="23"/>
                    </a:lnTo>
                    <a:lnTo>
                      <a:pt x="620" y="23"/>
                    </a:lnTo>
                    <a:lnTo>
                      <a:pt x="618" y="25"/>
                    </a:lnTo>
                    <a:lnTo>
                      <a:pt x="614" y="27"/>
                    </a:lnTo>
                    <a:lnTo>
                      <a:pt x="613" y="31"/>
                    </a:lnTo>
                    <a:lnTo>
                      <a:pt x="613" y="34"/>
                    </a:lnTo>
                    <a:lnTo>
                      <a:pt x="613" y="34"/>
                    </a:lnTo>
                    <a:lnTo>
                      <a:pt x="611" y="34"/>
                    </a:lnTo>
                    <a:lnTo>
                      <a:pt x="605" y="36"/>
                    </a:lnTo>
                    <a:lnTo>
                      <a:pt x="595" y="34"/>
                    </a:lnTo>
                    <a:lnTo>
                      <a:pt x="588" y="33"/>
                    </a:lnTo>
                    <a:lnTo>
                      <a:pt x="580" y="29"/>
                    </a:lnTo>
                    <a:lnTo>
                      <a:pt x="570" y="27"/>
                    </a:lnTo>
                    <a:lnTo>
                      <a:pt x="545" y="23"/>
                    </a:lnTo>
                    <a:lnTo>
                      <a:pt x="534" y="21"/>
                    </a:lnTo>
                    <a:lnTo>
                      <a:pt x="522" y="21"/>
                    </a:lnTo>
                    <a:lnTo>
                      <a:pt x="513" y="21"/>
                    </a:lnTo>
                    <a:lnTo>
                      <a:pt x="511" y="21"/>
                    </a:lnTo>
                    <a:lnTo>
                      <a:pt x="511" y="29"/>
                    </a:lnTo>
                    <a:lnTo>
                      <a:pt x="511" y="33"/>
                    </a:lnTo>
                    <a:lnTo>
                      <a:pt x="511" y="33"/>
                    </a:lnTo>
                    <a:lnTo>
                      <a:pt x="511" y="33"/>
                    </a:lnTo>
                    <a:lnTo>
                      <a:pt x="509" y="33"/>
                    </a:lnTo>
                    <a:lnTo>
                      <a:pt x="503" y="34"/>
                    </a:lnTo>
                    <a:lnTo>
                      <a:pt x="490" y="34"/>
                    </a:lnTo>
                    <a:lnTo>
                      <a:pt x="482" y="33"/>
                    </a:lnTo>
                    <a:lnTo>
                      <a:pt x="474" y="31"/>
                    </a:lnTo>
                    <a:lnTo>
                      <a:pt x="467" y="29"/>
                    </a:lnTo>
                    <a:lnTo>
                      <a:pt x="461" y="29"/>
                    </a:lnTo>
                    <a:lnTo>
                      <a:pt x="457" y="31"/>
                    </a:lnTo>
                    <a:lnTo>
                      <a:pt x="451" y="33"/>
                    </a:lnTo>
                    <a:lnTo>
                      <a:pt x="447" y="34"/>
                    </a:lnTo>
                    <a:lnTo>
                      <a:pt x="445" y="36"/>
                    </a:lnTo>
                    <a:lnTo>
                      <a:pt x="445" y="34"/>
                    </a:lnTo>
                    <a:lnTo>
                      <a:pt x="447" y="31"/>
                    </a:lnTo>
                    <a:lnTo>
                      <a:pt x="447" y="27"/>
                    </a:lnTo>
                    <a:lnTo>
                      <a:pt x="444" y="25"/>
                    </a:lnTo>
                    <a:lnTo>
                      <a:pt x="438" y="25"/>
                    </a:lnTo>
                    <a:lnTo>
                      <a:pt x="432" y="25"/>
                    </a:lnTo>
                    <a:lnTo>
                      <a:pt x="411" y="25"/>
                    </a:lnTo>
                    <a:lnTo>
                      <a:pt x="392" y="27"/>
                    </a:lnTo>
                    <a:lnTo>
                      <a:pt x="384" y="27"/>
                    </a:lnTo>
                    <a:lnTo>
                      <a:pt x="376" y="27"/>
                    </a:lnTo>
                    <a:lnTo>
                      <a:pt x="367" y="27"/>
                    </a:lnTo>
                    <a:lnTo>
                      <a:pt x="357" y="27"/>
                    </a:lnTo>
                    <a:lnTo>
                      <a:pt x="349" y="27"/>
                    </a:lnTo>
                    <a:lnTo>
                      <a:pt x="348" y="27"/>
                    </a:lnTo>
                    <a:lnTo>
                      <a:pt x="348" y="29"/>
                    </a:lnTo>
                    <a:lnTo>
                      <a:pt x="351" y="31"/>
                    </a:lnTo>
                    <a:lnTo>
                      <a:pt x="361" y="34"/>
                    </a:lnTo>
                    <a:lnTo>
                      <a:pt x="369" y="38"/>
                    </a:lnTo>
                    <a:lnTo>
                      <a:pt x="372" y="40"/>
                    </a:lnTo>
                    <a:lnTo>
                      <a:pt x="372" y="40"/>
                    </a:lnTo>
                    <a:lnTo>
                      <a:pt x="371" y="40"/>
                    </a:lnTo>
                    <a:lnTo>
                      <a:pt x="367" y="38"/>
                    </a:lnTo>
                    <a:lnTo>
                      <a:pt x="355" y="36"/>
                    </a:lnTo>
                    <a:lnTo>
                      <a:pt x="342" y="33"/>
                    </a:lnTo>
                    <a:lnTo>
                      <a:pt x="336" y="31"/>
                    </a:lnTo>
                    <a:lnTo>
                      <a:pt x="332" y="31"/>
                    </a:lnTo>
                    <a:lnTo>
                      <a:pt x="326" y="31"/>
                    </a:lnTo>
                    <a:lnTo>
                      <a:pt x="319" y="31"/>
                    </a:lnTo>
                    <a:lnTo>
                      <a:pt x="311" y="31"/>
                    </a:lnTo>
                    <a:lnTo>
                      <a:pt x="307" y="34"/>
                    </a:lnTo>
                    <a:lnTo>
                      <a:pt x="303" y="38"/>
                    </a:lnTo>
                    <a:lnTo>
                      <a:pt x="298" y="42"/>
                    </a:lnTo>
                    <a:lnTo>
                      <a:pt x="290" y="44"/>
                    </a:lnTo>
                    <a:lnTo>
                      <a:pt x="284" y="46"/>
                    </a:lnTo>
                    <a:lnTo>
                      <a:pt x="275" y="46"/>
                    </a:lnTo>
                    <a:lnTo>
                      <a:pt x="265" y="46"/>
                    </a:lnTo>
                    <a:lnTo>
                      <a:pt x="255" y="46"/>
                    </a:lnTo>
                    <a:lnTo>
                      <a:pt x="253" y="46"/>
                    </a:lnTo>
                    <a:lnTo>
                      <a:pt x="252" y="46"/>
                    </a:lnTo>
                    <a:lnTo>
                      <a:pt x="250" y="46"/>
                    </a:lnTo>
                    <a:lnTo>
                      <a:pt x="244" y="48"/>
                    </a:lnTo>
                    <a:lnTo>
                      <a:pt x="236" y="48"/>
                    </a:lnTo>
                    <a:lnTo>
                      <a:pt x="228" y="50"/>
                    </a:lnTo>
                    <a:lnTo>
                      <a:pt x="219" y="52"/>
                    </a:lnTo>
                    <a:lnTo>
                      <a:pt x="211" y="54"/>
                    </a:lnTo>
                    <a:lnTo>
                      <a:pt x="205" y="54"/>
                    </a:lnTo>
                    <a:lnTo>
                      <a:pt x="202" y="56"/>
                    </a:lnTo>
                    <a:lnTo>
                      <a:pt x="200" y="56"/>
                    </a:lnTo>
                    <a:lnTo>
                      <a:pt x="194" y="56"/>
                    </a:lnTo>
                    <a:lnTo>
                      <a:pt x="177" y="59"/>
                    </a:lnTo>
                    <a:lnTo>
                      <a:pt x="169" y="61"/>
                    </a:lnTo>
                    <a:lnTo>
                      <a:pt x="163" y="61"/>
                    </a:lnTo>
                    <a:lnTo>
                      <a:pt x="159" y="63"/>
                    </a:lnTo>
                    <a:lnTo>
                      <a:pt x="159" y="65"/>
                    </a:lnTo>
                    <a:lnTo>
                      <a:pt x="169" y="67"/>
                    </a:lnTo>
                    <a:lnTo>
                      <a:pt x="179" y="69"/>
                    </a:lnTo>
                    <a:lnTo>
                      <a:pt x="190" y="71"/>
                    </a:lnTo>
                    <a:lnTo>
                      <a:pt x="194" y="71"/>
                    </a:lnTo>
                    <a:lnTo>
                      <a:pt x="196" y="71"/>
                    </a:lnTo>
                    <a:lnTo>
                      <a:pt x="200" y="69"/>
                    </a:lnTo>
                    <a:lnTo>
                      <a:pt x="203" y="69"/>
                    </a:lnTo>
                    <a:lnTo>
                      <a:pt x="207" y="69"/>
                    </a:lnTo>
                    <a:lnTo>
                      <a:pt x="209" y="69"/>
                    </a:lnTo>
                    <a:lnTo>
                      <a:pt x="200" y="71"/>
                    </a:lnTo>
                    <a:lnTo>
                      <a:pt x="196" y="73"/>
                    </a:lnTo>
                    <a:lnTo>
                      <a:pt x="194" y="75"/>
                    </a:lnTo>
                    <a:lnTo>
                      <a:pt x="194" y="75"/>
                    </a:lnTo>
                    <a:lnTo>
                      <a:pt x="190" y="79"/>
                    </a:lnTo>
                    <a:lnTo>
                      <a:pt x="186" y="80"/>
                    </a:lnTo>
                    <a:lnTo>
                      <a:pt x="186" y="80"/>
                    </a:lnTo>
                    <a:lnTo>
                      <a:pt x="184" y="80"/>
                    </a:lnTo>
                    <a:lnTo>
                      <a:pt x="180" y="82"/>
                    </a:lnTo>
                    <a:lnTo>
                      <a:pt x="169" y="86"/>
                    </a:lnTo>
                    <a:lnTo>
                      <a:pt x="155" y="90"/>
                    </a:lnTo>
                    <a:lnTo>
                      <a:pt x="146" y="92"/>
                    </a:lnTo>
                    <a:lnTo>
                      <a:pt x="140" y="92"/>
                    </a:lnTo>
                    <a:lnTo>
                      <a:pt x="132" y="92"/>
                    </a:lnTo>
                    <a:lnTo>
                      <a:pt x="113" y="92"/>
                    </a:lnTo>
                    <a:lnTo>
                      <a:pt x="94" y="94"/>
                    </a:lnTo>
                    <a:lnTo>
                      <a:pt x="86" y="96"/>
                    </a:lnTo>
                    <a:lnTo>
                      <a:pt x="81" y="98"/>
                    </a:lnTo>
                    <a:lnTo>
                      <a:pt x="75" y="102"/>
                    </a:lnTo>
                    <a:lnTo>
                      <a:pt x="69" y="100"/>
                    </a:lnTo>
                    <a:lnTo>
                      <a:pt x="67" y="98"/>
                    </a:lnTo>
                    <a:lnTo>
                      <a:pt x="65" y="98"/>
                    </a:lnTo>
                    <a:lnTo>
                      <a:pt x="58" y="100"/>
                    </a:lnTo>
                    <a:lnTo>
                      <a:pt x="54" y="102"/>
                    </a:lnTo>
                    <a:lnTo>
                      <a:pt x="52" y="102"/>
                    </a:lnTo>
                    <a:lnTo>
                      <a:pt x="52" y="102"/>
                    </a:lnTo>
                    <a:lnTo>
                      <a:pt x="44" y="102"/>
                    </a:lnTo>
                    <a:lnTo>
                      <a:pt x="38" y="102"/>
                    </a:lnTo>
                    <a:lnTo>
                      <a:pt x="33" y="102"/>
                    </a:lnTo>
                    <a:lnTo>
                      <a:pt x="31" y="102"/>
                    </a:lnTo>
                    <a:lnTo>
                      <a:pt x="31" y="102"/>
                    </a:lnTo>
                    <a:lnTo>
                      <a:pt x="29" y="102"/>
                    </a:lnTo>
                    <a:lnTo>
                      <a:pt x="25" y="102"/>
                    </a:lnTo>
                    <a:lnTo>
                      <a:pt x="13" y="104"/>
                    </a:lnTo>
                    <a:lnTo>
                      <a:pt x="8" y="105"/>
                    </a:lnTo>
                    <a:lnTo>
                      <a:pt x="2" y="107"/>
                    </a:lnTo>
                    <a:lnTo>
                      <a:pt x="0" y="109"/>
                    </a:lnTo>
                    <a:lnTo>
                      <a:pt x="2" y="111"/>
                    </a:lnTo>
                    <a:lnTo>
                      <a:pt x="10" y="115"/>
                    </a:lnTo>
                    <a:lnTo>
                      <a:pt x="17" y="119"/>
                    </a:lnTo>
                    <a:lnTo>
                      <a:pt x="23" y="123"/>
                    </a:lnTo>
                    <a:lnTo>
                      <a:pt x="27" y="123"/>
                    </a:lnTo>
                    <a:lnTo>
                      <a:pt x="34" y="121"/>
                    </a:lnTo>
                    <a:lnTo>
                      <a:pt x="38" y="119"/>
                    </a:lnTo>
                    <a:lnTo>
                      <a:pt x="38" y="119"/>
                    </a:lnTo>
                    <a:lnTo>
                      <a:pt x="38" y="119"/>
                    </a:lnTo>
                    <a:lnTo>
                      <a:pt x="38" y="121"/>
                    </a:lnTo>
                    <a:lnTo>
                      <a:pt x="40" y="123"/>
                    </a:lnTo>
                    <a:lnTo>
                      <a:pt x="42" y="125"/>
                    </a:lnTo>
                    <a:lnTo>
                      <a:pt x="46" y="128"/>
                    </a:lnTo>
                    <a:lnTo>
                      <a:pt x="52" y="127"/>
                    </a:lnTo>
                    <a:lnTo>
                      <a:pt x="59" y="125"/>
                    </a:lnTo>
                    <a:lnTo>
                      <a:pt x="65" y="123"/>
                    </a:lnTo>
                    <a:lnTo>
                      <a:pt x="67" y="121"/>
                    </a:lnTo>
                    <a:lnTo>
                      <a:pt x="67" y="123"/>
                    </a:lnTo>
                    <a:lnTo>
                      <a:pt x="67" y="125"/>
                    </a:lnTo>
                    <a:lnTo>
                      <a:pt x="69" y="127"/>
                    </a:lnTo>
                    <a:lnTo>
                      <a:pt x="71" y="128"/>
                    </a:lnTo>
                    <a:lnTo>
                      <a:pt x="79" y="127"/>
                    </a:lnTo>
                    <a:lnTo>
                      <a:pt x="90" y="125"/>
                    </a:lnTo>
                    <a:lnTo>
                      <a:pt x="100" y="121"/>
                    </a:lnTo>
                    <a:lnTo>
                      <a:pt x="106" y="121"/>
                    </a:lnTo>
                    <a:lnTo>
                      <a:pt x="109" y="125"/>
                    </a:lnTo>
                    <a:lnTo>
                      <a:pt x="109" y="127"/>
                    </a:lnTo>
                    <a:lnTo>
                      <a:pt x="109" y="128"/>
                    </a:lnTo>
                    <a:lnTo>
                      <a:pt x="106" y="128"/>
                    </a:lnTo>
                    <a:lnTo>
                      <a:pt x="104" y="128"/>
                    </a:lnTo>
                    <a:lnTo>
                      <a:pt x="102" y="128"/>
                    </a:lnTo>
                    <a:lnTo>
                      <a:pt x="102" y="130"/>
                    </a:lnTo>
                    <a:lnTo>
                      <a:pt x="100" y="132"/>
                    </a:lnTo>
                    <a:lnTo>
                      <a:pt x="96" y="134"/>
                    </a:lnTo>
                    <a:lnTo>
                      <a:pt x="92" y="134"/>
                    </a:lnTo>
                    <a:lnTo>
                      <a:pt x="90" y="134"/>
                    </a:lnTo>
                    <a:lnTo>
                      <a:pt x="90" y="134"/>
                    </a:lnTo>
                    <a:lnTo>
                      <a:pt x="88" y="132"/>
                    </a:lnTo>
                    <a:lnTo>
                      <a:pt x="84" y="132"/>
                    </a:lnTo>
                    <a:lnTo>
                      <a:pt x="77" y="132"/>
                    </a:lnTo>
                    <a:lnTo>
                      <a:pt x="67" y="132"/>
                    </a:lnTo>
                    <a:lnTo>
                      <a:pt x="59" y="134"/>
                    </a:lnTo>
                    <a:lnTo>
                      <a:pt x="56" y="134"/>
                    </a:lnTo>
                    <a:lnTo>
                      <a:pt x="56" y="134"/>
                    </a:lnTo>
                    <a:lnTo>
                      <a:pt x="44" y="134"/>
                    </a:lnTo>
                    <a:lnTo>
                      <a:pt x="40" y="132"/>
                    </a:lnTo>
                    <a:lnTo>
                      <a:pt x="38" y="132"/>
                    </a:lnTo>
                    <a:lnTo>
                      <a:pt x="38" y="132"/>
                    </a:lnTo>
                    <a:lnTo>
                      <a:pt x="36" y="132"/>
                    </a:lnTo>
                    <a:lnTo>
                      <a:pt x="34" y="130"/>
                    </a:lnTo>
                    <a:lnTo>
                      <a:pt x="25" y="128"/>
                    </a:lnTo>
                    <a:lnTo>
                      <a:pt x="13" y="128"/>
                    </a:lnTo>
                    <a:lnTo>
                      <a:pt x="10" y="128"/>
                    </a:lnTo>
                    <a:lnTo>
                      <a:pt x="6" y="132"/>
                    </a:lnTo>
                    <a:lnTo>
                      <a:pt x="4" y="136"/>
                    </a:lnTo>
                    <a:lnTo>
                      <a:pt x="6" y="140"/>
                    </a:lnTo>
                    <a:lnTo>
                      <a:pt x="10" y="144"/>
                    </a:lnTo>
                    <a:lnTo>
                      <a:pt x="15" y="146"/>
                    </a:lnTo>
                    <a:lnTo>
                      <a:pt x="21" y="146"/>
                    </a:lnTo>
                    <a:lnTo>
                      <a:pt x="27" y="146"/>
                    </a:lnTo>
                    <a:lnTo>
                      <a:pt x="34" y="146"/>
                    </a:lnTo>
                    <a:lnTo>
                      <a:pt x="42" y="146"/>
                    </a:lnTo>
                    <a:lnTo>
                      <a:pt x="44" y="146"/>
                    </a:lnTo>
                    <a:lnTo>
                      <a:pt x="42" y="146"/>
                    </a:lnTo>
                    <a:lnTo>
                      <a:pt x="40" y="146"/>
                    </a:lnTo>
                    <a:lnTo>
                      <a:pt x="31" y="148"/>
                    </a:lnTo>
                    <a:lnTo>
                      <a:pt x="23" y="150"/>
                    </a:lnTo>
                    <a:lnTo>
                      <a:pt x="19" y="151"/>
                    </a:lnTo>
                    <a:lnTo>
                      <a:pt x="19" y="151"/>
                    </a:lnTo>
                    <a:lnTo>
                      <a:pt x="25" y="155"/>
                    </a:lnTo>
                    <a:lnTo>
                      <a:pt x="31" y="157"/>
                    </a:lnTo>
                    <a:lnTo>
                      <a:pt x="38" y="159"/>
                    </a:lnTo>
                    <a:lnTo>
                      <a:pt x="40" y="159"/>
                    </a:lnTo>
                    <a:lnTo>
                      <a:pt x="50" y="161"/>
                    </a:lnTo>
                    <a:lnTo>
                      <a:pt x="54" y="161"/>
                    </a:lnTo>
                    <a:lnTo>
                      <a:pt x="56" y="161"/>
                    </a:lnTo>
                    <a:lnTo>
                      <a:pt x="56" y="161"/>
                    </a:lnTo>
                    <a:lnTo>
                      <a:pt x="56" y="161"/>
                    </a:lnTo>
                    <a:lnTo>
                      <a:pt x="58" y="159"/>
                    </a:lnTo>
                    <a:lnTo>
                      <a:pt x="59" y="157"/>
                    </a:lnTo>
                    <a:lnTo>
                      <a:pt x="61" y="155"/>
                    </a:lnTo>
                    <a:lnTo>
                      <a:pt x="65" y="155"/>
                    </a:lnTo>
                    <a:lnTo>
                      <a:pt x="67" y="157"/>
                    </a:lnTo>
                    <a:lnTo>
                      <a:pt x="71" y="159"/>
                    </a:lnTo>
                    <a:lnTo>
                      <a:pt x="71" y="161"/>
                    </a:lnTo>
                    <a:lnTo>
                      <a:pt x="81" y="157"/>
                    </a:lnTo>
                    <a:lnTo>
                      <a:pt x="84" y="157"/>
                    </a:lnTo>
                    <a:lnTo>
                      <a:pt x="86" y="155"/>
                    </a:lnTo>
                    <a:lnTo>
                      <a:pt x="86" y="155"/>
                    </a:lnTo>
                    <a:lnTo>
                      <a:pt x="86" y="157"/>
                    </a:lnTo>
                    <a:lnTo>
                      <a:pt x="88" y="159"/>
                    </a:lnTo>
                    <a:lnTo>
                      <a:pt x="88" y="161"/>
                    </a:lnTo>
                    <a:lnTo>
                      <a:pt x="90" y="161"/>
                    </a:lnTo>
                    <a:lnTo>
                      <a:pt x="94" y="161"/>
                    </a:lnTo>
                    <a:lnTo>
                      <a:pt x="102" y="157"/>
                    </a:lnTo>
                    <a:lnTo>
                      <a:pt x="111" y="155"/>
                    </a:lnTo>
                    <a:lnTo>
                      <a:pt x="117" y="155"/>
                    </a:lnTo>
                    <a:lnTo>
                      <a:pt x="125" y="157"/>
                    </a:lnTo>
                    <a:lnTo>
                      <a:pt x="131" y="157"/>
                    </a:lnTo>
                    <a:lnTo>
                      <a:pt x="134" y="157"/>
                    </a:lnTo>
                    <a:lnTo>
                      <a:pt x="138" y="155"/>
                    </a:lnTo>
                    <a:lnTo>
                      <a:pt x="142" y="153"/>
                    </a:lnTo>
                    <a:lnTo>
                      <a:pt x="146" y="153"/>
                    </a:lnTo>
                    <a:lnTo>
                      <a:pt x="150" y="153"/>
                    </a:lnTo>
                    <a:lnTo>
                      <a:pt x="154" y="155"/>
                    </a:lnTo>
                    <a:lnTo>
                      <a:pt x="157" y="159"/>
                    </a:lnTo>
                    <a:lnTo>
                      <a:pt x="159" y="159"/>
                    </a:lnTo>
                    <a:lnTo>
                      <a:pt x="161" y="159"/>
                    </a:lnTo>
                    <a:lnTo>
                      <a:pt x="163" y="159"/>
                    </a:lnTo>
                    <a:lnTo>
                      <a:pt x="173" y="159"/>
                    </a:lnTo>
                    <a:lnTo>
                      <a:pt x="182" y="159"/>
                    </a:lnTo>
                    <a:lnTo>
                      <a:pt x="194" y="159"/>
                    </a:lnTo>
                    <a:lnTo>
                      <a:pt x="203" y="163"/>
                    </a:lnTo>
                    <a:lnTo>
                      <a:pt x="207" y="167"/>
                    </a:lnTo>
                    <a:lnTo>
                      <a:pt x="211" y="169"/>
                    </a:lnTo>
                    <a:lnTo>
                      <a:pt x="211" y="171"/>
                    </a:lnTo>
                    <a:lnTo>
                      <a:pt x="213" y="169"/>
                    </a:lnTo>
                    <a:lnTo>
                      <a:pt x="219" y="169"/>
                    </a:lnTo>
                    <a:lnTo>
                      <a:pt x="223" y="169"/>
                    </a:lnTo>
                    <a:lnTo>
                      <a:pt x="225" y="171"/>
                    </a:lnTo>
                    <a:lnTo>
                      <a:pt x="225" y="173"/>
                    </a:lnTo>
                    <a:lnTo>
                      <a:pt x="223" y="175"/>
                    </a:lnTo>
                    <a:lnTo>
                      <a:pt x="221" y="178"/>
                    </a:lnTo>
                    <a:lnTo>
                      <a:pt x="219" y="178"/>
                    </a:lnTo>
                    <a:lnTo>
                      <a:pt x="221" y="182"/>
                    </a:lnTo>
                    <a:lnTo>
                      <a:pt x="223" y="184"/>
                    </a:lnTo>
                    <a:lnTo>
                      <a:pt x="223" y="184"/>
                    </a:lnTo>
                    <a:lnTo>
                      <a:pt x="225" y="184"/>
                    </a:lnTo>
                    <a:lnTo>
                      <a:pt x="227" y="184"/>
                    </a:lnTo>
                    <a:lnTo>
                      <a:pt x="234" y="186"/>
                    </a:lnTo>
                    <a:lnTo>
                      <a:pt x="240" y="190"/>
                    </a:lnTo>
                    <a:lnTo>
                      <a:pt x="244" y="190"/>
                    </a:lnTo>
                    <a:lnTo>
                      <a:pt x="244" y="192"/>
                    </a:lnTo>
                    <a:lnTo>
                      <a:pt x="242" y="196"/>
                    </a:lnTo>
                    <a:lnTo>
                      <a:pt x="238" y="199"/>
                    </a:lnTo>
                    <a:lnTo>
                      <a:pt x="236" y="199"/>
                    </a:lnTo>
                    <a:lnTo>
                      <a:pt x="234" y="199"/>
                    </a:lnTo>
                    <a:lnTo>
                      <a:pt x="236" y="205"/>
                    </a:lnTo>
                    <a:lnTo>
                      <a:pt x="238" y="209"/>
                    </a:lnTo>
                    <a:lnTo>
                      <a:pt x="240" y="209"/>
                    </a:lnTo>
                    <a:lnTo>
                      <a:pt x="246" y="213"/>
                    </a:lnTo>
                    <a:lnTo>
                      <a:pt x="248" y="215"/>
                    </a:lnTo>
                    <a:lnTo>
                      <a:pt x="250" y="215"/>
                    </a:lnTo>
                    <a:lnTo>
                      <a:pt x="244" y="217"/>
                    </a:lnTo>
                    <a:lnTo>
                      <a:pt x="242" y="219"/>
                    </a:lnTo>
                    <a:lnTo>
                      <a:pt x="240" y="219"/>
                    </a:lnTo>
                    <a:lnTo>
                      <a:pt x="244" y="222"/>
                    </a:lnTo>
                    <a:lnTo>
                      <a:pt x="246" y="224"/>
                    </a:lnTo>
                    <a:lnTo>
                      <a:pt x="248" y="226"/>
                    </a:lnTo>
                    <a:lnTo>
                      <a:pt x="246" y="226"/>
                    </a:lnTo>
                    <a:lnTo>
                      <a:pt x="244" y="226"/>
                    </a:lnTo>
                    <a:lnTo>
                      <a:pt x="240" y="228"/>
                    </a:lnTo>
                    <a:lnTo>
                      <a:pt x="240" y="230"/>
                    </a:lnTo>
                    <a:lnTo>
                      <a:pt x="242" y="234"/>
                    </a:lnTo>
                    <a:lnTo>
                      <a:pt x="246" y="236"/>
                    </a:lnTo>
                    <a:lnTo>
                      <a:pt x="252" y="238"/>
                    </a:lnTo>
                    <a:lnTo>
                      <a:pt x="252" y="242"/>
                    </a:lnTo>
                    <a:lnTo>
                      <a:pt x="250" y="244"/>
                    </a:lnTo>
                    <a:lnTo>
                      <a:pt x="244" y="245"/>
                    </a:lnTo>
                    <a:lnTo>
                      <a:pt x="240" y="247"/>
                    </a:lnTo>
                    <a:lnTo>
                      <a:pt x="238" y="249"/>
                    </a:lnTo>
                    <a:lnTo>
                      <a:pt x="242" y="253"/>
                    </a:lnTo>
                    <a:lnTo>
                      <a:pt x="242" y="253"/>
                    </a:lnTo>
                    <a:lnTo>
                      <a:pt x="242" y="253"/>
                    </a:lnTo>
                    <a:lnTo>
                      <a:pt x="238" y="253"/>
                    </a:lnTo>
                    <a:lnTo>
                      <a:pt x="230" y="255"/>
                    </a:lnTo>
                    <a:lnTo>
                      <a:pt x="221" y="257"/>
                    </a:lnTo>
                    <a:lnTo>
                      <a:pt x="219" y="257"/>
                    </a:lnTo>
                    <a:lnTo>
                      <a:pt x="217" y="257"/>
                    </a:lnTo>
                    <a:lnTo>
                      <a:pt x="221" y="259"/>
                    </a:lnTo>
                    <a:lnTo>
                      <a:pt x="230" y="261"/>
                    </a:lnTo>
                    <a:lnTo>
                      <a:pt x="234" y="261"/>
                    </a:lnTo>
                    <a:lnTo>
                      <a:pt x="234" y="263"/>
                    </a:lnTo>
                    <a:lnTo>
                      <a:pt x="230" y="265"/>
                    </a:lnTo>
                    <a:lnTo>
                      <a:pt x="228" y="267"/>
                    </a:lnTo>
                    <a:lnTo>
                      <a:pt x="228" y="267"/>
                    </a:lnTo>
                    <a:lnTo>
                      <a:pt x="225" y="267"/>
                    </a:lnTo>
                    <a:lnTo>
                      <a:pt x="213" y="267"/>
                    </a:lnTo>
                    <a:lnTo>
                      <a:pt x="209" y="269"/>
                    </a:lnTo>
                    <a:lnTo>
                      <a:pt x="205" y="269"/>
                    </a:lnTo>
                    <a:lnTo>
                      <a:pt x="203" y="270"/>
                    </a:lnTo>
                    <a:lnTo>
                      <a:pt x="203" y="272"/>
                    </a:lnTo>
                    <a:lnTo>
                      <a:pt x="217" y="278"/>
                    </a:lnTo>
                    <a:lnTo>
                      <a:pt x="230" y="280"/>
                    </a:lnTo>
                    <a:lnTo>
                      <a:pt x="236" y="278"/>
                    </a:lnTo>
                    <a:lnTo>
                      <a:pt x="240" y="276"/>
                    </a:lnTo>
                    <a:lnTo>
                      <a:pt x="242" y="274"/>
                    </a:lnTo>
                    <a:lnTo>
                      <a:pt x="244" y="272"/>
                    </a:lnTo>
                    <a:lnTo>
                      <a:pt x="246" y="272"/>
                    </a:lnTo>
                    <a:lnTo>
                      <a:pt x="252" y="272"/>
                    </a:lnTo>
                    <a:lnTo>
                      <a:pt x="257" y="272"/>
                    </a:lnTo>
                    <a:lnTo>
                      <a:pt x="259" y="269"/>
                    </a:lnTo>
                    <a:lnTo>
                      <a:pt x="259" y="265"/>
                    </a:lnTo>
                    <a:lnTo>
                      <a:pt x="261" y="261"/>
                    </a:lnTo>
                    <a:lnTo>
                      <a:pt x="261" y="257"/>
                    </a:lnTo>
                    <a:lnTo>
                      <a:pt x="263" y="257"/>
                    </a:lnTo>
                    <a:lnTo>
                      <a:pt x="263" y="263"/>
                    </a:lnTo>
                    <a:lnTo>
                      <a:pt x="263" y="267"/>
                    </a:lnTo>
                    <a:lnTo>
                      <a:pt x="263" y="269"/>
                    </a:lnTo>
                    <a:lnTo>
                      <a:pt x="263" y="269"/>
                    </a:lnTo>
                    <a:lnTo>
                      <a:pt x="271" y="265"/>
                    </a:lnTo>
                    <a:lnTo>
                      <a:pt x="273" y="263"/>
                    </a:lnTo>
                    <a:lnTo>
                      <a:pt x="275" y="261"/>
                    </a:lnTo>
                    <a:lnTo>
                      <a:pt x="275" y="261"/>
                    </a:lnTo>
                    <a:lnTo>
                      <a:pt x="275" y="263"/>
                    </a:lnTo>
                    <a:lnTo>
                      <a:pt x="273" y="263"/>
                    </a:lnTo>
                    <a:lnTo>
                      <a:pt x="271" y="265"/>
                    </a:lnTo>
                    <a:lnTo>
                      <a:pt x="273" y="269"/>
                    </a:lnTo>
                    <a:lnTo>
                      <a:pt x="276" y="270"/>
                    </a:lnTo>
                    <a:lnTo>
                      <a:pt x="282" y="270"/>
                    </a:lnTo>
                    <a:lnTo>
                      <a:pt x="288" y="272"/>
                    </a:lnTo>
                    <a:lnTo>
                      <a:pt x="292" y="272"/>
                    </a:lnTo>
                    <a:lnTo>
                      <a:pt x="288" y="274"/>
                    </a:lnTo>
                    <a:lnTo>
                      <a:pt x="286" y="274"/>
                    </a:lnTo>
                    <a:lnTo>
                      <a:pt x="286" y="276"/>
                    </a:lnTo>
                    <a:lnTo>
                      <a:pt x="284" y="276"/>
                    </a:lnTo>
                    <a:lnTo>
                      <a:pt x="284" y="280"/>
                    </a:lnTo>
                    <a:lnTo>
                      <a:pt x="284" y="282"/>
                    </a:lnTo>
                    <a:lnTo>
                      <a:pt x="288" y="284"/>
                    </a:lnTo>
                    <a:lnTo>
                      <a:pt x="292" y="288"/>
                    </a:lnTo>
                    <a:lnTo>
                      <a:pt x="296" y="292"/>
                    </a:lnTo>
                    <a:lnTo>
                      <a:pt x="298" y="295"/>
                    </a:lnTo>
                    <a:lnTo>
                      <a:pt x="298" y="299"/>
                    </a:lnTo>
                    <a:lnTo>
                      <a:pt x="294" y="299"/>
                    </a:lnTo>
                    <a:lnTo>
                      <a:pt x="290" y="301"/>
                    </a:lnTo>
                    <a:lnTo>
                      <a:pt x="288" y="301"/>
                    </a:lnTo>
                    <a:lnTo>
                      <a:pt x="286" y="299"/>
                    </a:lnTo>
                    <a:lnTo>
                      <a:pt x="286" y="303"/>
                    </a:lnTo>
                    <a:lnTo>
                      <a:pt x="286" y="303"/>
                    </a:lnTo>
                    <a:lnTo>
                      <a:pt x="284" y="303"/>
                    </a:lnTo>
                    <a:lnTo>
                      <a:pt x="280" y="303"/>
                    </a:lnTo>
                    <a:lnTo>
                      <a:pt x="271" y="303"/>
                    </a:lnTo>
                    <a:lnTo>
                      <a:pt x="267" y="301"/>
                    </a:lnTo>
                    <a:lnTo>
                      <a:pt x="263" y="299"/>
                    </a:lnTo>
                    <a:lnTo>
                      <a:pt x="261" y="297"/>
                    </a:lnTo>
                    <a:lnTo>
                      <a:pt x="259" y="295"/>
                    </a:lnTo>
                    <a:lnTo>
                      <a:pt x="252" y="295"/>
                    </a:lnTo>
                    <a:lnTo>
                      <a:pt x="246" y="295"/>
                    </a:lnTo>
                    <a:lnTo>
                      <a:pt x="238" y="295"/>
                    </a:lnTo>
                    <a:lnTo>
                      <a:pt x="234" y="295"/>
                    </a:lnTo>
                    <a:lnTo>
                      <a:pt x="234" y="295"/>
                    </a:lnTo>
                    <a:lnTo>
                      <a:pt x="232" y="293"/>
                    </a:lnTo>
                    <a:lnTo>
                      <a:pt x="227" y="290"/>
                    </a:lnTo>
                    <a:lnTo>
                      <a:pt x="219" y="290"/>
                    </a:lnTo>
                    <a:lnTo>
                      <a:pt x="217" y="292"/>
                    </a:lnTo>
                    <a:lnTo>
                      <a:pt x="215" y="295"/>
                    </a:lnTo>
                    <a:lnTo>
                      <a:pt x="215" y="299"/>
                    </a:lnTo>
                    <a:lnTo>
                      <a:pt x="219" y="301"/>
                    </a:lnTo>
                    <a:lnTo>
                      <a:pt x="227" y="305"/>
                    </a:lnTo>
                    <a:lnTo>
                      <a:pt x="232" y="305"/>
                    </a:lnTo>
                    <a:lnTo>
                      <a:pt x="240" y="305"/>
                    </a:lnTo>
                    <a:lnTo>
                      <a:pt x="244" y="309"/>
                    </a:lnTo>
                    <a:lnTo>
                      <a:pt x="248" y="311"/>
                    </a:lnTo>
                    <a:lnTo>
                      <a:pt x="253" y="315"/>
                    </a:lnTo>
                    <a:lnTo>
                      <a:pt x="259" y="316"/>
                    </a:lnTo>
                    <a:lnTo>
                      <a:pt x="273" y="315"/>
                    </a:lnTo>
                    <a:lnTo>
                      <a:pt x="276" y="313"/>
                    </a:lnTo>
                    <a:lnTo>
                      <a:pt x="276" y="313"/>
                    </a:lnTo>
                    <a:lnTo>
                      <a:pt x="282" y="315"/>
                    </a:lnTo>
                    <a:lnTo>
                      <a:pt x="286" y="316"/>
                    </a:lnTo>
                    <a:lnTo>
                      <a:pt x="286" y="316"/>
                    </a:lnTo>
                    <a:lnTo>
                      <a:pt x="292" y="315"/>
                    </a:lnTo>
                    <a:lnTo>
                      <a:pt x="294" y="313"/>
                    </a:lnTo>
                    <a:lnTo>
                      <a:pt x="296" y="313"/>
                    </a:lnTo>
                    <a:lnTo>
                      <a:pt x="294" y="316"/>
                    </a:lnTo>
                    <a:lnTo>
                      <a:pt x="294" y="318"/>
                    </a:lnTo>
                    <a:lnTo>
                      <a:pt x="294" y="320"/>
                    </a:lnTo>
                    <a:lnTo>
                      <a:pt x="292" y="320"/>
                    </a:lnTo>
                    <a:lnTo>
                      <a:pt x="288" y="318"/>
                    </a:lnTo>
                    <a:lnTo>
                      <a:pt x="284" y="318"/>
                    </a:lnTo>
                    <a:lnTo>
                      <a:pt x="282" y="320"/>
                    </a:lnTo>
                    <a:lnTo>
                      <a:pt x="282" y="322"/>
                    </a:lnTo>
                    <a:lnTo>
                      <a:pt x="284" y="326"/>
                    </a:lnTo>
                    <a:lnTo>
                      <a:pt x="288" y="328"/>
                    </a:lnTo>
                    <a:lnTo>
                      <a:pt x="288" y="328"/>
                    </a:lnTo>
                    <a:lnTo>
                      <a:pt x="286" y="328"/>
                    </a:lnTo>
                    <a:lnTo>
                      <a:pt x="280" y="328"/>
                    </a:lnTo>
                    <a:lnTo>
                      <a:pt x="275" y="330"/>
                    </a:lnTo>
                    <a:lnTo>
                      <a:pt x="271" y="332"/>
                    </a:lnTo>
                    <a:lnTo>
                      <a:pt x="275" y="334"/>
                    </a:lnTo>
                    <a:lnTo>
                      <a:pt x="278" y="334"/>
                    </a:lnTo>
                    <a:lnTo>
                      <a:pt x="282" y="334"/>
                    </a:lnTo>
                    <a:lnTo>
                      <a:pt x="286" y="334"/>
                    </a:lnTo>
                    <a:lnTo>
                      <a:pt x="284" y="336"/>
                    </a:lnTo>
                    <a:lnTo>
                      <a:pt x="284" y="338"/>
                    </a:lnTo>
                    <a:lnTo>
                      <a:pt x="280" y="341"/>
                    </a:lnTo>
                    <a:lnTo>
                      <a:pt x="276" y="341"/>
                    </a:lnTo>
                    <a:lnTo>
                      <a:pt x="273" y="340"/>
                    </a:lnTo>
                    <a:lnTo>
                      <a:pt x="267" y="338"/>
                    </a:lnTo>
                    <a:lnTo>
                      <a:pt x="263" y="338"/>
                    </a:lnTo>
                    <a:lnTo>
                      <a:pt x="263" y="341"/>
                    </a:lnTo>
                    <a:lnTo>
                      <a:pt x="265" y="343"/>
                    </a:lnTo>
                    <a:lnTo>
                      <a:pt x="267" y="345"/>
                    </a:lnTo>
                    <a:lnTo>
                      <a:pt x="267" y="347"/>
                    </a:lnTo>
                    <a:lnTo>
                      <a:pt x="261" y="345"/>
                    </a:lnTo>
                    <a:lnTo>
                      <a:pt x="259" y="345"/>
                    </a:lnTo>
                    <a:lnTo>
                      <a:pt x="257" y="345"/>
                    </a:lnTo>
                    <a:lnTo>
                      <a:pt x="259" y="351"/>
                    </a:lnTo>
                    <a:lnTo>
                      <a:pt x="261" y="353"/>
                    </a:lnTo>
                    <a:lnTo>
                      <a:pt x="261" y="355"/>
                    </a:lnTo>
                    <a:lnTo>
                      <a:pt x="259" y="355"/>
                    </a:lnTo>
                    <a:lnTo>
                      <a:pt x="253" y="355"/>
                    </a:lnTo>
                    <a:lnTo>
                      <a:pt x="250" y="357"/>
                    </a:lnTo>
                    <a:lnTo>
                      <a:pt x="250" y="361"/>
                    </a:lnTo>
                    <a:lnTo>
                      <a:pt x="252" y="364"/>
                    </a:lnTo>
                    <a:lnTo>
                      <a:pt x="257" y="366"/>
                    </a:lnTo>
                    <a:lnTo>
                      <a:pt x="261" y="366"/>
                    </a:lnTo>
                    <a:lnTo>
                      <a:pt x="263" y="368"/>
                    </a:lnTo>
                    <a:lnTo>
                      <a:pt x="263" y="368"/>
                    </a:lnTo>
                    <a:lnTo>
                      <a:pt x="263" y="370"/>
                    </a:lnTo>
                    <a:lnTo>
                      <a:pt x="263" y="372"/>
                    </a:lnTo>
                    <a:lnTo>
                      <a:pt x="259" y="374"/>
                    </a:lnTo>
                    <a:lnTo>
                      <a:pt x="257" y="374"/>
                    </a:lnTo>
                    <a:lnTo>
                      <a:pt x="257" y="376"/>
                    </a:lnTo>
                    <a:lnTo>
                      <a:pt x="259" y="378"/>
                    </a:lnTo>
                    <a:lnTo>
                      <a:pt x="257" y="378"/>
                    </a:lnTo>
                    <a:lnTo>
                      <a:pt x="257" y="378"/>
                    </a:lnTo>
                    <a:lnTo>
                      <a:pt x="255" y="374"/>
                    </a:lnTo>
                    <a:lnTo>
                      <a:pt x="250" y="368"/>
                    </a:lnTo>
                    <a:lnTo>
                      <a:pt x="248" y="366"/>
                    </a:lnTo>
                    <a:lnTo>
                      <a:pt x="246" y="364"/>
                    </a:lnTo>
                    <a:lnTo>
                      <a:pt x="246" y="363"/>
                    </a:lnTo>
                    <a:lnTo>
                      <a:pt x="240" y="357"/>
                    </a:lnTo>
                    <a:lnTo>
                      <a:pt x="234" y="351"/>
                    </a:lnTo>
                    <a:lnTo>
                      <a:pt x="228" y="347"/>
                    </a:lnTo>
                    <a:lnTo>
                      <a:pt x="223" y="349"/>
                    </a:lnTo>
                    <a:lnTo>
                      <a:pt x="217" y="353"/>
                    </a:lnTo>
                    <a:lnTo>
                      <a:pt x="213" y="357"/>
                    </a:lnTo>
                    <a:lnTo>
                      <a:pt x="213" y="359"/>
                    </a:lnTo>
                    <a:lnTo>
                      <a:pt x="215" y="361"/>
                    </a:lnTo>
                    <a:lnTo>
                      <a:pt x="223" y="364"/>
                    </a:lnTo>
                    <a:lnTo>
                      <a:pt x="230" y="366"/>
                    </a:lnTo>
                    <a:lnTo>
                      <a:pt x="236" y="366"/>
                    </a:lnTo>
                    <a:lnTo>
                      <a:pt x="238" y="368"/>
                    </a:lnTo>
                    <a:lnTo>
                      <a:pt x="236" y="368"/>
                    </a:lnTo>
                    <a:lnTo>
                      <a:pt x="232" y="368"/>
                    </a:lnTo>
                    <a:lnTo>
                      <a:pt x="221" y="368"/>
                    </a:lnTo>
                    <a:lnTo>
                      <a:pt x="209" y="368"/>
                    </a:lnTo>
                    <a:lnTo>
                      <a:pt x="203" y="368"/>
                    </a:lnTo>
                    <a:lnTo>
                      <a:pt x="200" y="368"/>
                    </a:lnTo>
                    <a:lnTo>
                      <a:pt x="194" y="370"/>
                    </a:lnTo>
                    <a:lnTo>
                      <a:pt x="188" y="372"/>
                    </a:lnTo>
                    <a:lnTo>
                      <a:pt x="184" y="374"/>
                    </a:lnTo>
                    <a:lnTo>
                      <a:pt x="184" y="376"/>
                    </a:lnTo>
                    <a:lnTo>
                      <a:pt x="186" y="376"/>
                    </a:lnTo>
                    <a:lnTo>
                      <a:pt x="190" y="376"/>
                    </a:lnTo>
                    <a:lnTo>
                      <a:pt x="202" y="376"/>
                    </a:lnTo>
                    <a:lnTo>
                      <a:pt x="213" y="374"/>
                    </a:lnTo>
                    <a:lnTo>
                      <a:pt x="221" y="374"/>
                    </a:lnTo>
                    <a:lnTo>
                      <a:pt x="227" y="376"/>
                    </a:lnTo>
                    <a:lnTo>
                      <a:pt x="234" y="376"/>
                    </a:lnTo>
                    <a:lnTo>
                      <a:pt x="240" y="376"/>
                    </a:lnTo>
                    <a:lnTo>
                      <a:pt x="242" y="376"/>
                    </a:lnTo>
                    <a:lnTo>
                      <a:pt x="240" y="376"/>
                    </a:lnTo>
                    <a:lnTo>
                      <a:pt x="236" y="376"/>
                    </a:lnTo>
                    <a:lnTo>
                      <a:pt x="230" y="376"/>
                    </a:lnTo>
                    <a:lnTo>
                      <a:pt x="227" y="376"/>
                    </a:lnTo>
                    <a:lnTo>
                      <a:pt x="223" y="378"/>
                    </a:lnTo>
                    <a:lnTo>
                      <a:pt x="217" y="378"/>
                    </a:lnTo>
                    <a:lnTo>
                      <a:pt x="202" y="378"/>
                    </a:lnTo>
                    <a:lnTo>
                      <a:pt x="184" y="380"/>
                    </a:lnTo>
                    <a:lnTo>
                      <a:pt x="179" y="382"/>
                    </a:lnTo>
                    <a:lnTo>
                      <a:pt x="177" y="384"/>
                    </a:lnTo>
                    <a:lnTo>
                      <a:pt x="175" y="386"/>
                    </a:lnTo>
                    <a:lnTo>
                      <a:pt x="175" y="386"/>
                    </a:lnTo>
                    <a:lnTo>
                      <a:pt x="177" y="387"/>
                    </a:lnTo>
                    <a:lnTo>
                      <a:pt x="182" y="387"/>
                    </a:lnTo>
                    <a:lnTo>
                      <a:pt x="192" y="387"/>
                    </a:lnTo>
                    <a:lnTo>
                      <a:pt x="203" y="386"/>
                    </a:lnTo>
                    <a:lnTo>
                      <a:pt x="213" y="386"/>
                    </a:lnTo>
                    <a:lnTo>
                      <a:pt x="215" y="386"/>
                    </a:lnTo>
                    <a:lnTo>
                      <a:pt x="217" y="384"/>
                    </a:lnTo>
                    <a:lnTo>
                      <a:pt x="219" y="384"/>
                    </a:lnTo>
                    <a:lnTo>
                      <a:pt x="227" y="384"/>
                    </a:lnTo>
                    <a:lnTo>
                      <a:pt x="232" y="386"/>
                    </a:lnTo>
                    <a:lnTo>
                      <a:pt x="234" y="386"/>
                    </a:lnTo>
                    <a:lnTo>
                      <a:pt x="234" y="386"/>
                    </a:lnTo>
                    <a:lnTo>
                      <a:pt x="230" y="387"/>
                    </a:lnTo>
                    <a:lnTo>
                      <a:pt x="221" y="387"/>
                    </a:lnTo>
                    <a:lnTo>
                      <a:pt x="209" y="387"/>
                    </a:lnTo>
                    <a:lnTo>
                      <a:pt x="207" y="389"/>
                    </a:lnTo>
                    <a:lnTo>
                      <a:pt x="205" y="389"/>
                    </a:lnTo>
                    <a:lnTo>
                      <a:pt x="203" y="389"/>
                    </a:lnTo>
                    <a:lnTo>
                      <a:pt x="200" y="389"/>
                    </a:lnTo>
                    <a:lnTo>
                      <a:pt x="188" y="389"/>
                    </a:lnTo>
                    <a:lnTo>
                      <a:pt x="177" y="389"/>
                    </a:lnTo>
                    <a:lnTo>
                      <a:pt x="173" y="391"/>
                    </a:lnTo>
                    <a:lnTo>
                      <a:pt x="171" y="391"/>
                    </a:lnTo>
                    <a:lnTo>
                      <a:pt x="173" y="391"/>
                    </a:lnTo>
                    <a:lnTo>
                      <a:pt x="175" y="393"/>
                    </a:lnTo>
                    <a:lnTo>
                      <a:pt x="182" y="395"/>
                    </a:lnTo>
                    <a:lnTo>
                      <a:pt x="192" y="397"/>
                    </a:lnTo>
                    <a:lnTo>
                      <a:pt x="196" y="399"/>
                    </a:lnTo>
                    <a:lnTo>
                      <a:pt x="198" y="399"/>
                    </a:lnTo>
                    <a:lnTo>
                      <a:pt x="196" y="399"/>
                    </a:lnTo>
                    <a:lnTo>
                      <a:pt x="190" y="397"/>
                    </a:lnTo>
                    <a:lnTo>
                      <a:pt x="184" y="397"/>
                    </a:lnTo>
                    <a:lnTo>
                      <a:pt x="179" y="399"/>
                    </a:lnTo>
                    <a:lnTo>
                      <a:pt x="179" y="401"/>
                    </a:lnTo>
                    <a:lnTo>
                      <a:pt x="179" y="403"/>
                    </a:lnTo>
                    <a:lnTo>
                      <a:pt x="179" y="405"/>
                    </a:lnTo>
                    <a:lnTo>
                      <a:pt x="177" y="405"/>
                    </a:lnTo>
                    <a:lnTo>
                      <a:pt x="169" y="407"/>
                    </a:lnTo>
                    <a:lnTo>
                      <a:pt x="163" y="410"/>
                    </a:lnTo>
                    <a:lnTo>
                      <a:pt x="161" y="410"/>
                    </a:lnTo>
                    <a:lnTo>
                      <a:pt x="161" y="412"/>
                    </a:lnTo>
                    <a:lnTo>
                      <a:pt x="171" y="412"/>
                    </a:lnTo>
                    <a:lnTo>
                      <a:pt x="177" y="412"/>
                    </a:lnTo>
                    <a:lnTo>
                      <a:pt x="179" y="412"/>
                    </a:lnTo>
                    <a:lnTo>
                      <a:pt x="179" y="412"/>
                    </a:lnTo>
                    <a:lnTo>
                      <a:pt x="169" y="416"/>
                    </a:lnTo>
                    <a:lnTo>
                      <a:pt x="165" y="418"/>
                    </a:lnTo>
                    <a:lnTo>
                      <a:pt x="163" y="418"/>
                    </a:lnTo>
                    <a:lnTo>
                      <a:pt x="163" y="418"/>
                    </a:lnTo>
                    <a:lnTo>
                      <a:pt x="163" y="420"/>
                    </a:lnTo>
                    <a:lnTo>
                      <a:pt x="163" y="422"/>
                    </a:lnTo>
                    <a:lnTo>
                      <a:pt x="165" y="426"/>
                    </a:lnTo>
                    <a:lnTo>
                      <a:pt x="169" y="426"/>
                    </a:lnTo>
                    <a:lnTo>
                      <a:pt x="175" y="424"/>
                    </a:lnTo>
                    <a:lnTo>
                      <a:pt x="182" y="424"/>
                    </a:lnTo>
                    <a:lnTo>
                      <a:pt x="188" y="424"/>
                    </a:lnTo>
                    <a:lnTo>
                      <a:pt x="190" y="424"/>
                    </a:lnTo>
                    <a:lnTo>
                      <a:pt x="188" y="424"/>
                    </a:lnTo>
                    <a:lnTo>
                      <a:pt x="186" y="426"/>
                    </a:lnTo>
                    <a:lnTo>
                      <a:pt x="179" y="428"/>
                    </a:lnTo>
                    <a:lnTo>
                      <a:pt x="171" y="432"/>
                    </a:lnTo>
                    <a:lnTo>
                      <a:pt x="169" y="434"/>
                    </a:lnTo>
                    <a:lnTo>
                      <a:pt x="169" y="435"/>
                    </a:lnTo>
                    <a:lnTo>
                      <a:pt x="175" y="437"/>
                    </a:lnTo>
                    <a:lnTo>
                      <a:pt x="180" y="435"/>
                    </a:lnTo>
                    <a:lnTo>
                      <a:pt x="186" y="434"/>
                    </a:lnTo>
                    <a:lnTo>
                      <a:pt x="188" y="434"/>
                    </a:lnTo>
                    <a:lnTo>
                      <a:pt x="186" y="435"/>
                    </a:lnTo>
                    <a:lnTo>
                      <a:pt x="182" y="437"/>
                    </a:lnTo>
                    <a:lnTo>
                      <a:pt x="179" y="443"/>
                    </a:lnTo>
                    <a:lnTo>
                      <a:pt x="177" y="447"/>
                    </a:lnTo>
                    <a:lnTo>
                      <a:pt x="175" y="451"/>
                    </a:lnTo>
                    <a:lnTo>
                      <a:pt x="175" y="453"/>
                    </a:lnTo>
                    <a:lnTo>
                      <a:pt x="177" y="455"/>
                    </a:lnTo>
                    <a:lnTo>
                      <a:pt x="184" y="451"/>
                    </a:lnTo>
                    <a:lnTo>
                      <a:pt x="186" y="449"/>
                    </a:lnTo>
                    <a:lnTo>
                      <a:pt x="188" y="449"/>
                    </a:lnTo>
                    <a:lnTo>
                      <a:pt x="188" y="451"/>
                    </a:lnTo>
                    <a:lnTo>
                      <a:pt x="186" y="455"/>
                    </a:lnTo>
                    <a:lnTo>
                      <a:pt x="184" y="457"/>
                    </a:lnTo>
                    <a:lnTo>
                      <a:pt x="180" y="458"/>
                    </a:lnTo>
                    <a:lnTo>
                      <a:pt x="177" y="458"/>
                    </a:lnTo>
                    <a:lnTo>
                      <a:pt x="171" y="462"/>
                    </a:lnTo>
                    <a:lnTo>
                      <a:pt x="169" y="466"/>
                    </a:lnTo>
                    <a:lnTo>
                      <a:pt x="167" y="470"/>
                    </a:lnTo>
                    <a:lnTo>
                      <a:pt x="169" y="472"/>
                    </a:lnTo>
                    <a:lnTo>
                      <a:pt x="175" y="470"/>
                    </a:lnTo>
                    <a:lnTo>
                      <a:pt x="180" y="466"/>
                    </a:lnTo>
                    <a:lnTo>
                      <a:pt x="182" y="464"/>
                    </a:lnTo>
                    <a:lnTo>
                      <a:pt x="184" y="462"/>
                    </a:lnTo>
                    <a:lnTo>
                      <a:pt x="188" y="460"/>
                    </a:lnTo>
                    <a:lnTo>
                      <a:pt x="192" y="457"/>
                    </a:lnTo>
                    <a:lnTo>
                      <a:pt x="194" y="457"/>
                    </a:lnTo>
                    <a:lnTo>
                      <a:pt x="198" y="457"/>
                    </a:lnTo>
                    <a:lnTo>
                      <a:pt x="205" y="457"/>
                    </a:lnTo>
                    <a:lnTo>
                      <a:pt x="209" y="455"/>
                    </a:lnTo>
                    <a:lnTo>
                      <a:pt x="213" y="453"/>
                    </a:lnTo>
                    <a:lnTo>
                      <a:pt x="211" y="457"/>
                    </a:lnTo>
                    <a:lnTo>
                      <a:pt x="211" y="458"/>
                    </a:lnTo>
                    <a:lnTo>
                      <a:pt x="211" y="458"/>
                    </a:lnTo>
                    <a:lnTo>
                      <a:pt x="215" y="457"/>
                    </a:lnTo>
                    <a:lnTo>
                      <a:pt x="219" y="455"/>
                    </a:lnTo>
                    <a:lnTo>
                      <a:pt x="219" y="453"/>
                    </a:lnTo>
                    <a:lnTo>
                      <a:pt x="215" y="458"/>
                    </a:lnTo>
                    <a:lnTo>
                      <a:pt x="211" y="462"/>
                    </a:lnTo>
                    <a:lnTo>
                      <a:pt x="211" y="462"/>
                    </a:lnTo>
                    <a:lnTo>
                      <a:pt x="219" y="464"/>
                    </a:lnTo>
                    <a:lnTo>
                      <a:pt x="223" y="464"/>
                    </a:lnTo>
                    <a:lnTo>
                      <a:pt x="225" y="464"/>
                    </a:lnTo>
                    <a:lnTo>
                      <a:pt x="225" y="464"/>
                    </a:lnTo>
                    <a:lnTo>
                      <a:pt x="221" y="464"/>
                    </a:lnTo>
                    <a:lnTo>
                      <a:pt x="215" y="466"/>
                    </a:lnTo>
                    <a:lnTo>
                      <a:pt x="207" y="466"/>
                    </a:lnTo>
                    <a:lnTo>
                      <a:pt x="203" y="468"/>
                    </a:lnTo>
                    <a:lnTo>
                      <a:pt x="203" y="468"/>
                    </a:lnTo>
                    <a:lnTo>
                      <a:pt x="205" y="470"/>
                    </a:lnTo>
                    <a:lnTo>
                      <a:pt x="207" y="470"/>
                    </a:lnTo>
                    <a:lnTo>
                      <a:pt x="209" y="470"/>
                    </a:lnTo>
                    <a:lnTo>
                      <a:pt x="205" y="472"/>
                    </a:lnTo>
                    <a:lnTo>
                      <a:pt x="202" y="472"/>
                    </a:lnTo>
                    <a:lnTo>
                      <a:pt x="194" y="474"/>
                    </a:lnTo>
                    <a:lnTo>
                      <a:pt x="190" y="474"/>
                    </a:lnTo>
                    <a:lnTo>
                      <a:pt x="188" y="476"/>
                    </a:lnTo>
                    <a:lnTo>
                      <a:pt x="188" y="476"/>
                    </a:lnTo>
                    <a:lnTo>
                      <a:pt x="190" y="478"/>
                    </a:lnTo>
                    <a:lnTo>
                      <a:pt x="188" y="478"/>
                    </a:lnTo>
                    <a:lnTo>
                      <a:pt x="182" y="480"/>
                    </a:lnTo>
                    <a:lnTo>
                      <a:pt x="177" y="481"/>
                    </a:lnTo>
                    <a:lnTo>
                      <a:pt x="175" y="483"/>
                    </a:lnTo>
                    <a:lnTo>
                      <a:pt x="177" y="485"/>
                    </a:lnTo>
                    <a:lnTo>
                      <a:pt x="180" y="485"/>
                    </a:lnTo>
                    <a:lnTo>
                      <a:pt x="186" y="485"/>
                    </a:lnTo>
                    <a:lnTo>
                      <a:pt x="190" y="485"/>
                    </a:lnTo>
                    <a:lnTo>
                      <a:pt x="188" y="485"/>
                    </a:lnTo>
                    <a:lnTo>
                      <a:pt x="182" y="487"/>
                    </a:lnTo>
                    <a:lnTo>
                      <a:pt x="179" y="487"/>
                    </a:lnTo>
                    <a:lnTo>
                      <a:pt x="177" y="489"/>
                    </a:lnTo>
                    <a:lnTo>
                      <a:pt x="179" y="491"/>
                    </a:lnTo>
                    <a:lnTo>
                      <a:pt x="182" y="493"/>
                    </a:lnTo>
                    <a:lnTo>
                      <a:pt x="186" y="493"/>
                    </a:lnTo>
                    <a:lnTo>
                      <a:pt x="188" y="495"/>
                    </a:lnTo>
                    <a:lnTo>
                      <a:pt x="186" y="495"/>
                    </a:lnTo>
                    <a:lnTo>
                      <a:pt x="182" y="495"/>
                    </a:lnTo>
                    <a:lnTo>
                      <a:pt x="179" y="497"/>
                    </a:lnTo>
                    <a:lnTo>
                      <a:pt x="177" y="499"/>
                    </a:lnTo>
                    <a:lnTo>
                      <a:pt x="179" y="501"/>
                    </a:lnTo>
                    <a:lnTo>
                      <a:pt x="184" y="501"/>
                    </a:lnTo>
                    <a:lnTo>
                      <a:pt x="190" y="501"/>
                    </a:lnTo>
                    <a:lnTo>
                      <a:pt x="192" y="501"/>
                    </a:lnTo>
                    <a:lnTo>
                      <a:pt x="188" y="506"/>
                    </a:lnTo>
                    <a:lnTo>
                      <a:pt x="186" y="508"/>
                    </a:lnTo>
                    <a:lnTo>
                      <a:pt x="184" y="510"/>
                    </a:lnTo>
                    <a:lnTo>
                      <a:pt x="192" y="508"/>
                    </a:lnTo>
                    <a:lnTo>
                      <a:pt x="196" y="508"/>
                    </a:lnTo>
                    <a:lnTo>
                      <a:pt x="198" y="508"/>
                    </a:lnTo>
                    <a:lnTo>
                      <a:pt x="198" y="508"/>
                    </a:lnTo>
                    <a:lnTo>
                      <a:pt x="196" y="508"/>
                    </a:lnTo>
                    <a:lnTo>
                      <a:pt x="190" y="512"/>
                    </a:lnTo>
                    <a:lnTo>
                      <a:pt x="186" y="516"/>
                    </a:lnTo>
                    <a:lnTo>
                      <a:pt x="184" y="522"/>
                    </a:lnTo>
                    <a:lnTo>
                      <a:pt x="188" y="526"/>
                    </a:lnTo>
                    <a:lnTo>
                      <a:pt x="194" y="528"/>
                    </a:lnTo>
                    <a:lnTo>
                      <a:pt x="200" y="528"/>
                    </a:lnTo>
                    <a:lnTo>
                      <a:pt x="202" y="528"/>
                    </a:lnTo>
                    <a:lnTo>
                      <a:pt x="198" y="531"/>
                    </a:lnTo>
                    <a:lnTo>
                      <a:pt x="196" y="535"/>
                    </a:lnTo>
                    <a:lnTo>
                      <a:pt x="194" y="535"/>
                    </a:lnTo>
                    <a:lnTo>
                      <a:pt x="202" y="533"/>
                    </a:lnTo>
                    <a:lnTo>
                      <a:pt x="205" y="531"/>
                    </a:lnTo>
                    <a:lnTo>
                      <a:pt x="207" y="531"/>
                    </a:lnTo>
                    <a:lnTo>
                      <a:pt x="207" y="531"/>
                    </a:lnTo>
                    <a:lnTo>
                      <a:pt x="207" y="533"/>
                    </a:lnTo>
                    <a:lnTo>
                      <a:pt x="203" y="535"/>
                    </a:lnTo>
                    <a:lnTo>
                      <a:pt x="202" y="539"/>
                    </a:lnTo>
                    <a:lnTo>
                      <a:pt x="200" y="541"/>
                    </a:lnTo>
                    <a:lnTo>
                      <a:pt x="203" y="543"/>
                    </a:lnTo>
                    <a:lnTo>
                      <a:pt x="207" y="545"/>
                    </a:lnTo>
                    <a:lnTo>
                      <a:pt x="213" y="545"/>
                    </a:lnTo>
                    <a:lnTo>
                      <a:pt x="215" y="545"/>
                    </a:lnTo>
                    <a:lnTo>
                      <a:pt x="213" y="545"/>
                    </a:lnTo>
                    <a:lnTo>
                      <a:pt x="211" y="547"/>
                    </a:lnTo>
                    <a:lnTo>
                      <a:pt x="209" y="549"/>
                    </a:lnTo>
                    <a:lnTo>
                      <a:pt x="209" y="551"/>
                    </a:lnTo>
                    <a:lnTo>
                      <a:pt x="211" y="552"/>
                    </a:lnTo>
                    <a:lnTo>
                      <a:pt x="215" y="552"/>
                    </a:lnTo>
                    <a:lnTo>
                      <a:pt x="217" y="552"/>
                    </a:lnTo>
                    <a:lnTo>
                      <a:pt x="219" y="552"/>
                    </a:lnTo>
                    <a:lnTo>
                      <a:pt x="217" y="554"/>
                    </a:lnTo>
                    <a:lnTo>
                      <a:pt x="215" y="556"/>
                    </a:lnTo>
                    <a:lnTo>
                      <a:pt x="211" y="560"/>
                    </a:lnTo>
                    <a:lnTo>
                      <a:pt x="211" y="562"/>
                    </a:lnTo>
                    <a:lnTo>
                      <a:pt x="213" y="562"/>
                    </a:lnTo>
                    <a:lnTo>
                      <a:pt x="219" y="564"/>
                    </a:lnTo>
                    <a:lnTo>
                      <a:pt x="223" y="562"/>
                    </a:lnTo>
                    <a:lnTo>
                      <a:pt x="223" y="562"/>
                    </a:lnTo>
                    <a:lnTo>
                      <a:pt x="223" y="568"/>
                    </a:lnTo>
                    <a:lnTo>
                      <a:pt x="223" y="568"/>
                    </a:lnTo>
                    <a:lnTo>
                      <a:pt x="232" y="566"/>
                    </a:lnTo>
                    <a:lnTo>
                      <a:pt x="236" y="564"/>
                    </a:lnTo>
                    <a:lnTo>
                      <a:pt x="238" y="564"/>
                    </a:lnTo>
                    <a:lnTo>
                      <a:pt x="238" y="564"/>
                    </a:lnTo>
                    <a:lnTo>
                      <a:pt x="240" y="566"/>
                    </a:lnTo>
                    <a:lnTo>
                      <a:pt x="242" y="568"/>
                    </a:lnTo>
                    <a:lnTo>
                      <a:pt x="246" y="568"/>
                    </a:lnTo>
                    <a:lnTo>
                      <a:pt x="250" y="568"/>
                    </a:lnTo>
                    <a:lnTo>
                      <a:pt x="255" y="564"/>
                    </a:lnTo>
                    <a:lnTo>
                      <a:pt x="261" y="560"/>
                    </a:lnTo>
                    <a:lnTo>
                      <a:pt x="269" y="556"/>
                    </a:lnTo>
                    <a:lnTo>
                      <a:pt x="273" y="554"/>
                    </a:lnTo>
                    <a:lnTo>
                      <a:pt x="273" y="556"/>
                    </a:lnTo>
                    <a:lnTo>
                      <a:pt x="273" y="558"/>
                    </a:lnTo>
                    <a:lnTo>
                      <a:pt x="269" y="560"/>
                    </a:lnTo>
                    <a:lnTo>
                      <a:pt x="269" y="560"/>
                    </a:lnTo>
                    <a:lnTo>
                      <a:pt x="275" y="562"/>
                    </a:lnTo>
                    <a:lnTo>
                      <a:pt x="276" y="564"/>
                    </a:lnTo>
                    <a:lnTo>
                      <a:pt x="278" y="564"/>
                    </a:lnTo>
                    <a:lnTo>
                      <a:pt x="284" y="560"/>
                    </a:lnTo>
                    <a:lnTo>
                      <a:pt x="286" y="560"/>
                    </a:lnTo>
                    <a:lnTo>
                      <a:pt x="288" y="560"/>
                    </a:lnTo>
                    <a:lnTo>
                      <a:pt x="284" y="560"/>
                    </a:lnTo>
                    <a:lnTo>
                      <a:pt x="280" y="564"/>
                    </a:lnTo>
                    <a:lnTo>
                      <a:pt x="275" y="568"/>
                    </a:lnTo>
                    <a:lnTo>
                      <a:pt x="271" y="570"/>
                    </a:lnTo>
                    <a:lnTo>
                      <a:pt x="267" y="574"/>
                    </a:lnTo>
                    <a:lnTo>
                      <a:pt x="267" y="575"/>
                    </a:lnTo>
                    <a:lnTo>
                      <a:pt x="269" y="575"/>
                    </a:lnTo>
                    <a:lnTo>
                      <a:pt x="275" y="575"/>
                    </a:lnTo>
                    <a:lnTo>
                      <a:pt x="282" y="574"/>
                    </a:lnTo>
                    <a:lnTo>
                      <a:pt x="290" y="574"/>
                    </a:lnTo>
                    <a:lnTo>
                      <a:pt x="292" y="574"/>
                    </a:lnTo>
                    <a:lnTo>
                      <a:pt x="290" y="574"/>
                    </a:lnTo>
                    <a:lnTo>
                      <a:pt x="282" y="577"/>
                    </a:lnTo>
                    <a:lnTo>
                      <a:pt x="278" y="581"/>
                    </a:lnTo>
                    <a:lnTo>
                      <a:pt x="276" y="585"/>
                    </a:lnTo>
                    <a:lnTo>
                      <a:pt x="278" y="585"/>
                    </a:lnTo>
                    <a:lnTo>
                      <a:pt x="284" y="587"/>
                    </a:lnTo>
                    <a:lnTo>
                      <a:pt x="290" y="587"/>
                    </a:lnTo>
                    <a:lnTo>
                      <a:pt x="294" y="587"/>
                    </a:lnTo>
                    <a:lnTo>
                      <a:pt x="296" y="585"/>
                    </a:lnTo>
                    <a:lnTo>
                      <a:pt x="298" y="587"/>
                    </a:lnTo>
                    <a:lnTo>
                      <a:pt x="300" y="591"/>
                    </a:lnTo>
                    <a:lnTo>
                      <a:pt x="305" y="593"/>
                    </a:lnTo>
                    <a:lnTo>
                      <a:pt x="311" y="593"/>
                    </a:lnTo>
                    <a:lnTo>
                      <a:pt x="319" y="587"/>
                    </a:lnTo>
                    <a:lnTo>
                      <a:pt x="323" y="585"/>
                    </a:lnTo>
                    <a:lnTo>
                      <a:pt x="321" y="583"/>
                    </a:lnTo>
                    <a:lnTo>
                      <a:pt x="317" y="579"/>
                    </a:lnTo>
                    <a:lnTo>
                      <a:pt x="317" y="577"/>
                    </a:lnTo>
                    <a:lnTo>
                      <a:pt x="319" y="577"/>
                    </a:lnTo>
                    <a:lnTo>
                      <a:pt x="324" y="577"/>
                    </a:lnTo>
                    <a:lnTo>
                      <a:pt x="328" y="577"/>
                    </a:lnTo>
                    <a:lnTo>
                      <a:pt x="330" y="574"/>
                    </a:lnTo>
                    <a:lnTo>
                      <a:pt x="330" y="570"/>
                    </a:lnTo>
                    <a:lnTo>
                      <a:pt x="330" y="566"/>
                    </a:lnTo>
                    <a:lnTo>
                      <a:pt x="330" y="564"/>
                    </a:lnTo>
                    <a:lnTo>
                      <a:pt x="332" y="566"/>
                    </a:lnTo>
                    <a:lnTo>
                      <a:pt x="338" y="566"/>
                    </a:lnTo>
                    <a:lnTo>
                      <a:pt x="342" y="568"/>
                    </a:lnTo>
                    <a:lnTo>
                      <a:pt x="344" y="564"/>
                    </a:lnTo>
                    <a:lnTo>
                      <a:pt x="342" y="558"/>
                    </a:lnTo>
                    <a:lnTo>
                      <a:pt x="340" y="554"/>
                    </a:lnTo>
                    <a:lnTo>
                      <a:pt x="342" y="556"/>
                    </a:lnTo>
                    <a:lnTo>
                      <a:pt x="344" y="558"/>
                    </a:lnTo>
                    <a:lnTo>
                      <a:pt x="348" y="560"/>
                    </a:lnTo>
                    <a:lnTo>
                      <a:pt x="351" y="560"/>
                    </a:lnTo>
                    <a:lnTo>
                      <a:pt x="351" y="558"/>
                    </a:lnTo>
                    <a:lnTo>
                      <a:pt x="353" y="556"/>
                    </a:lnTo>
                    <a:lnTo>
                      <a:pt x="353" y="552"/>
                    </a:lnTo>
                    <a:lnTo>
                      <a:pt x="348" y="547"/>
                    </a:lnTo>
                    <a:lnTo>
                      <a:pt x="346" y="545"/>
                    </a:lnTo>
                    <a:lnTo>
                      <a:pt x="348" y="545"/>
                    </a:lnTo>
                    <a:lnTo>
                      <a:pt x="351" y="547"/>
                    </a:lnTo>
                    <a:lnTo>
                      <a:pt x="357" y="547"/>
                    </a:lnTo>
                    <a:lnTo>
                      <a:pt x="359" y="547"/>
                    </a:lnTo>
                    <a:lnTo>
                      <a:pt x="357" y="543"/>
                    </a:lnTo>
                    <a:lnTo>
                      <a:pt x="355" y="541"/>
                    </a:lnTo>
                    <a:lnTo>
                      <a:pt x="363" y="541"/>
                    </a:lnTo>
                    <a:lnTo>
                      <a:pt x="367" y="541"/>
                    </a:lnTo>
                    <a:lnTo>
                      <a:pt x="367" y="539"/>
                    </a:lnTo>
                    <a:lnTo>
                      <a:pt x="367" y="539"/>
                    </a:lnTo>
                    <a:lnTo>
                      <a:pt x="365" y="535"/>
                    </a:lnTo>
                    <a:lnTo>
                      <a:pt x="363" y="533"/>
                    </a:lnTo>
                    <a:lnTo>
                      <a:pt x="363" y="531"/>
                    </a:lnTo>
                    <a:lnTo>
                      <a:pt x="367" y="529"/>
                    </a:lnTo>
                    <a:lnTo>
                      <a:pt x="369" y="529"/>
                    </a:lnTo>
                    <a:lnTo>
                      <a:pt x="369" y="529"/>
                    </a:lnTo>
                    <a:lnTo>
                      <a:pt x="369" y="528"/>
                    </a:lnTo>
                    <a:lnTo>
                      <a:pt x="365" y="526"/>
                    </a:lnTo>
                    <a:lnTo>
                      <a:pt x="361" y="524"/>
                    </a:lnTo>
                    <a:lnTo>
                      <a:pt x="359" y="524"/>
                    </a:lnTo>
                    <a:lnTo>
                      <a:pt x="359" y="522"/>
                    </a:lnTo>
                    <a:lnTo>
                      <a:pt x="363" y="522"/>
                    </a:lnTo>
                    <a:lnTo>
                      <a:pt x="365" y="520"/>
                    </a:lnTo>
                    <a:lnTo>
                      <a:pt x="367" y="520"/>
                    </a:lnTo>
                    <a:lnTo>
                      <a:pt x="361" y="514"/>
                    </a:lnTo>
                    <a:lnTo>
                      <a:pt x="359" y="512"/>
                    </a:lnTo>
                    <a:lnTo>
                      <a:pt x="357" y="510"/>
                    </a:lnTo>
                    <a:lnTo>
                      <a:pt x="359" y="512"/>
                    </a:lnTo>
                    <a:lnTo>
                      <a:pt x="363" y="514"/>
                    </a:lnTo>
                    <a:lnTo>
                      <a:pt x="367" y="516"/>
                    </a:lnTo>
                    <a:lnTo>
                      <a:pt x="369" y="516"/>
                    </a:lnTo>
                    <a:lnTo>
                      <a:pt x="374" y="514"/>
                    </a:lnTo>
                    <a:lnTo>
                      <a:pt x="376" y="510"/>
                    </a:lnTo>
                    <a:lnTo>
                      <a:pt x="378" y="512"/>
                    </a:lnTo>
                    <a:lnTo>
                      <a:pt x="382" y="512"/>
                    </a:lnTo>
                    <a:lnTo>
                      <a:pt x="386" y="512"/>
                    </a:lnTo>
                    <a:lnTo>
                      <a:pt x="388" y="510"/>
                    </a:lnTo>
                    <a:lnTo>
                      <a:pt x="390" y="508"/>
                    </a:lnTo>
                    <a:lnTo>
                      <a:pt x="388" y="506"/>
                    </a:lnTo>
                    <a:lnTo>
                      <a:pt x="386" y="505"/>
                    </a:lnTo>
                    <a:lnTo>
                      <a:pt x="386" y="503"/>
                    </a:lnTo>
                    <a:lnTo>
                      <a:pt x="392" y="503"/>
                    </a:lnTo>
                    <a:lnTo>
                      <a:pt x="394" y="503"/>
                    </a:lnTo>
                    <a:lnTo>
                      <a:pt x="396" y="503"/>
                    </a:lnTo>
                    <a:lnTo>
                      <a:pt x="397" y="497"/>
                    </a:lnTo>
                    <a:lnTo>
                      <a:pt x="397" y="493"/>
                    </a:lnTo>
                    <a:lnTo>
                      <a:pt x="397" y="493"/>
                    </a:lnTo>
                    <a:lnTo>
                      <a:pt x="399" y="493"/>
                    </a:lnTo>
                    <a:lnTo>
                      <a:pt x="405" y="495"/>
                    </a:lnTo>
                    <a:lnTo>
                      <a:pt x="411" y="495"/>
                    </a:lnTo>
                    <a:lnTo>
                      <a:pt x="415" y="493"/>
                    </a:lnTo>
                    <a:lnTo>
                      <a:pt x="417" y="491"/>
                    </a:lnTo>
                    <a:lnTo>
                      <a:pt x="417" y="489"/>
                    </a:lnTo>
                    <a:lnTo>
                      <a:pt x="417" y="485"/>
                    </a:lnTo>
                    <a:lnTo>
                      <a:pt x="415" y="485"/>
                    </a:lnTo>
                    <a:lnTo>
                      <a:pt x="417" y="487"/>
                    </a:lnTo>
                    <a:lnTo>
                      <a:pt x="419" y="489"/>
                    </a:lnTo>
                    <a:lnTo>
                      <a:pt x="421" y="491"/>
                    </a:lnTo>
                    <a:lnTo>
                      <a:pt x="424" y="491"/>
                    </a:lnTo>
                    <a:lnTo>
                      <a:pt x="426" y="491"/>
                    </a:lnTo>
                    <a:lnTo>
                      <a:pt x="428" y="489"/>
                    </a:lnTo>
                    <a:lnTo>
                      <a:pt x="430" y="485"/>
                    </a:lnTo>
                    <a:lnTo>
                      <a:pt x="432" y="481"/>
                    </a:lnTo>
                    <a:lnTo>
                      <a:pt x="432" y="478"/>
                    </a:lnTo>
                    <a:lnTo>
                      <a:pt x="430" y="476"/>
                    </a:lnTo>
                    <a:lnTo>
                      <a:pt x="430" y="476"/>
                    </a:lnTo>
                    <a:lnTo>
                      <a:pt x="421" y="474"/>
                    </a:lnTo>
                    <a:lnTo>
                      <a:pt x="417" y="472"/>
                    </a:lnTo>
                    <a:lnTo>
                      <a:pt x="415" y="472"/>
                    </a:lnTo>
                    <a:lnTo>
                      <a:pt x="415" y="472"/>
                    </a:lnTo>
                    <a:lnTo>
                      <a:pt x="421" y="470"/>
                    </a:lnTo>
                    <a:lnTo>
                      <a:pt x="424" y="470"/>
                    </a:lnTo>
                    <a:lnTo>
                      <a:pt x="426" y="470"/>
                    </a:lnTo>
                    <a:lnTo>
                      <a:pt x="426" y="470"/>
                    </a:lnTo>
                    <a:lnTo>
                      <a:pt x="434" y="466"/>
                    </a:lnTo>
                    <a:lnTo>
                      <a:pt x="438" y="466"/>
                    </a:lnTo>
                    <a:lnTo>
                      <a:pt x="438" y="464"/>
                    </a:lnTo>
                    <a:lnTo>
                      <a:pt x="440" y="464"/>
                    </a:lnTo>
                    <a:lnTo>
                      <a:pt x="440" y="460"/>
                    </a:lnTo>
                    <a:lnTo>
                      <a:pt x="440" y="458"/>
                    </a:lnTo>
                    <a:lnTo>
                      <a:pt x="440" y="457"/>
                    </a:lnTo>
                    <a:lnTo>
                      <a:pt x="434" y="457"/>
                    </a:lnTo>
                    <a:lnTo>
                      <a:pt x="432" y="455"/>
                    </a:lnTo>
                    <a:lnTo>
                      <a:pt x="432" y="455"/>
                    </a:lnTo>
                    <a:lnTo>
                      <a:pt x="432" y="451"/>
                    </a:lnTo>
                    <a:lnTo>
                      <a:pt x="434" y="449"/>
                    </a:lnTo>
                    <a:lnTo>
                      <a:pt x="434" y="447"/>
                    </a:lnTo>
                    <a:lnTo>
                      <a:pt x="442" y="447"/>
                    </a:lnTo>
                    <a:lnTo>
                      <a:pt x="445" y="447"/>
                    </a:lnTo>
                    <a:lnTo>
                      <a:pt x="447" y="447"/>
                    </a:lnTo>
                    <a:lnTo>
                      <a:pt x="447" y="447"/>
                    </a:lnTo>
                    <a:lnTo>
                      <a:pt x="449" y="449"/>
                    </a:lnTo>
                    <a:lnTo>
                      <a:pt x="453" y="449"/>
                    </a:lnTo>
                    <a:lnTo>
                      <a:pt x="457" y="449"/>
                    </a:lnTo>
                    <a:lnTo>
                      <a:pt x="461" y="447"/>
                    </a:lnTo>
                    <a:lnTo>
                      <a:pt x="463" y="443"/>
                    </a:lnTo>
                    <a:lnTo>
                      <a:pt x="463" y="439"/>
                    </a:lnTo>
                    <a:lnTo>
                      <a:pt x="463" y="437"/>
                    </a:lnTo>
                    <a:lnTo>
                      <a:pt x="463" y="435"/>
                    </a:lnTo>
                    <a:lnTo>
                      <a:pt x="470" y="435"/>
                    </a:lnTo>
                    <a:lnTo>
                      <a:pt x="474" y="434"/>
                    </a:lnTo>
                    <a:lnTo>
                      <a:pt x="476" y="434"/>
                    </a:lnTo>
                    <a:lnTo>
                      <a:pt x="476" y="434"/>
                    </a:lnTo>
                    <a:lnTo>
                      <a:pt x="480" y="434"/>
                    </a:lnTo>
                    <a:lnTo>
                      <a:pt x="488" y="435"/>
                    </a:lnTo>
                    <a:lnTo>
                      <a:pt x="495" y="435"/>
                    </a:lnTo>
                    <a:lnTo>
                      <a:pt x="501" y="434"/>
                    </a:lnTo>
                    <a:lnTo>
                      <a:pt x="507" y="428"/>
                    </a:lnTo>
                    <a:lnTo>
                      <a:pt x="509" y="426"/>
                    </a:lnTo>
                    <a:lnTo>
                      <a:pt x="513" y="424"/>
                    </a:lnTo>
                    <a:lnTo>
                      <a:pt x="515" y="422"/>
                    </a:lnTo>
                    <a:lnTo>
                      <a:pt x="515" y="422"/>
                    </a:lnTo>
                    <a:lnTo>
                      <a:pt x="515" y="420"/>
                    </a:lnTo>
                    <a:lnTo>
                      <a:pt x="517" y="418"/>
                    </a:lnTo>
                    <a:lnTo>
                      <a:pt x="518" y="416"/>
                    </a:lnTo>
                    <a:lnTo>
                      <a:pt x="522" y="414"/>
                    </a:lnTo>
                    <a:lnTo>
                      <a:pt x="524" y="414"/>
                    </a:lnTo>
                    <a:lnTo>
                      <a:pt x="524" y="416"/>
                    </a:lnTo>
                    <a:lnTo>
                      <a:pt x="520" y="424"/>
                    </a:lnTo>
                    <a:lnTo>
                      <a:pt x="515" y="430"/>
                    </a:lnTo>
                    <a:lnTo>
                      <a:pt x="515" y="432"/>
                    </a:lnTo>
                    <a:lnTo>
                      <a:pt x="515" y="434"/>
                    </a:lnTo>
                    <a:lnTo>
                      <a:pt x="522" y="434"/>
                    </a:lnTo>
                    <a:lnTo>
                      <a:pt x="524" y="432"/>
                    </a:lnTo>
                    <a:lnTo>
                      <a:pt x="526" y="432"/>
                    </a:lnTo>
                    <a:lnTo>
                      <a:pt x="526" y="428"/>
                    </a:lnTo>
                    <a:lnTo>
                      <a:pt x="528" y="426"/>
                    </a:lnTo>
                    <a:lnTo>
                      <a:pt x="528" y="424"/>
                    </a:lnTo>
                    <a:lnTo>
                      <a:pt x="532" y="426"/>
                    </a:lnTo>
                    <a:lnTo>
                      <a:pt x="534" y="426"/>
                    </a:lnTo>
                    <a:lnTo>
                      <a:pt x="534" y="426"/>
                    </a:lnTo>
                    <a:lnTo>
                      <a:pt x="538" y="422"/>
                    </a:lnTo>
                    <a:lnTo>
                      <a:pt x="538" y="420"/>
                    </a:lnTo>
                    <a:lnTo>
                      <a:pt x="540" y="420"/>
                    </a:lnTo>
                    <a:lnTo>
                      <a:pt x="541" y="422"/>
                    </a:lnTo>
                    <a:lnTo>
                      <a:pt x="545" y="424"/>
                    </a:lnTo>
                    <a:lnTo>
                      <a:pt x="551" y="426"/>
                    </a:lnTo>
                    <a:lnTo>
                      <a:pt x="557" y="424"/>
                    </a:lnTo>
                    <a:lnTo>
                      <a:pt x="570" y="416"/>
                    </a:lnTo>
                    <a:lnTo>
                      <a:pt x="574" y="412"/>
                    </a:lnTo>
                    <a:lnTo>
                      <a:pt x="576" y="412"/>
                    </a:lnTo>
                    <a:lnTo>
                      <a:pt x="578" y="412"/>
                    </a:lnTo>
                    <a:lnTo>
                      <a:pt x="584" y="412"/>
                    </a:lnTo>
                    <a:lnTo>
                      <a:pt x="591" y="412"/>
                    </a:lnTo>
                    <a:lnTo>
                      <a:pt x="605" y="409"/>
                    </a:lnTo>
                    <a:lnTo>
                      <a:pt x="614" y="403"/>
                    </a:lnTo>
                    <a:lnTo>
                      <a:pt x="620" y="397"/>
                    </a:lnTo>
                    <a:lnTo>
                      <a:pt x="624" y="391"/>
                    </a:lnTo>
                    <a:lnTo>
                      <a:pt x="632" y="386"/>
                    </a:lnTo>
                    <a:lnTo>
                      <a:pt x="641" y="380"/>
                    </a:lnTo>
                    <a:lnTo>
                      <a:pt x="655" y="376"/>
                    </a:lnTo>
                    <a:lnTo>
                      <a:pt x="664" y="372"/>
                    </a:lnTo>
                    <a:lnTo>
                      <a:pt x="668" y="372"/>
                    </a:lnTo>
                    <a:lnTo>
                      <a:pt x="670" y="370"/>
                    </a:lnTo>
                    <a:lnTo>
                      <a:pt x="670" y="370"/>
                    </a:lnTo>
                    <a:lnTo>
                      <a:pt x="670" y="368"/>
                    </a:lnTo>
                    <a:lnTo>
                      <a:pt x="670" y="363"/>
                    </a:lnTo>
                    <a:lnTo>
                      <a:pt x="668" y="355"/>
                    </a:lnTo>
                    <a:lnTo>
                      <a:pt x="668" y="353"/>
                    </a:lnTo>
                    <a:lnTo>
                      <a:pt x="670" y="351"/>
                    </a:lnTo>
                    <a:lnTo>
                      <a:pt x="674" y="353"/>
                    </a:lnTo>
                    <a:lnTo>
                      <a:pt x="678" y="357"/>
                    </a:lnTo>
                    <a:lnTo>
                      <a:pt x="684" y="363"/>
                    </a:lnTo>
                    <a:lnTo>
                      <a:pt x="689" y="366"/>
                    </a:lnTo>
                    <a:lnTo>
                      <a:pt x="689" y="366"/>
                    </a:lnTo>
                    <a:lnTo>
                      <a:pt x="693" y="366"/>
                    </a:lnTo>
                    <a:lnTo>
                      <a:pt x="703" y="364"/>
                    </a:lnTo>
                    <a:lnTo>
                      <a:pt x="714" y="364"/>
                    </a:lnTo>
                    <a:lnTo>
                      <a:pt x="722" y="364"/>
                    </a:lnTo>
                    <a:lnTo>
                      <a:pt x="730" y="363"/>
                    </a:lnTo>
                    <a:lnTo>
                      <a:pt x="737" y="359"/>
                    </a:lnTo>
                    <a:lnTo>
                      <a:pt x="759" y="355"/>
                    </a:lnTo>
                    <a:lnTo>
                      <a:pt x="770" y="353"/>
                    </a:lnTo>
                    <a:lnTo>
                      <a:pt x="785" y="353"/>
                    </a:lnTo>
                    <a:lnTo>
                      <a:pt x="797" y="351"/>
                    </a:lnTo>
                    <a:lnTo>
                      <a:pt x="801" y="351"/>
                    </a:lnTo>
                    <a:lnTo>
                      <a:pt x="803" y="349"/>
                    </a:lnTo>
                    <a:lnTo>
                      <a:pt x="808" y="347"/>
                    </a:lnTo>
                    <a:lnTo>
                      <a:pt x="812" y="345"/>
                    </a:lnTo>
                    <a:lnTo>
                      <a:pt x="818" y="345"/>
                    </a:lnTo>
                    <a:lnTo>
                      <a:pt x="822" y="345"/>
                    </a:lnTo>
                    <a:lnTo>
                      <a:pt x="824" y="345"/>
                    </a:lnTo>
                    <a:lnTo>
                      <a:pt x="824" y="345"/>
                    </a:lnTo>
                    <a:lnTo>
                      <a:pt x="826" y="341"/>
                    </a:lnTo>
                    <a:lnTo>
                      <a:pt x="828" y="340"/>
                    </a:lnTo>
                    <a:lnTo>
                      <a:pt x="830" y="338"/>
                    </a:lnTo>
                    <a:lnTo>
                      <a:pt x="835" y="338"/>
                    </a:lnTo>
                    <a:lnTo>
                      <a:pt x="839" y="338"/>
                    </a:lnTo>
                    <a:lnTo>
                      <a:pt x="839" y="338"/>
                    </a:lnTo>
                    <a:lnTo>
                      <a:pt x="839" y="338"/>
                    </a:lnTo>
                    <a:lnTo>
                      <a:pt x="841" y="336"/>
                    </a:lnTo>
                    <a:lnTo>
                      <a:pt x="847" y="334"/>
                    </a:lnTo>
                    <a:lnTo>
                      <a:pt x="851" y="330"/>
                    </a:lnTo>
                    <a:lnTo>
                      <a:pt x="855" y="326"/>
                    </a:lnTo>
                    <a:lnTo>
                      <a:pt x="858" y="326"/>
                    </a:lnTo>
                    <a:lnTo>
                      <a:pt x="864" y="324"/>
                    </a:lnTo>
                    <a:lnTo>
                      <a:pt x="870" y="324"/>
                    </a:lnTo>
                    <a:lnTo>
                      <a:pt x="874" y="324"/>
                    </a:lnTo>
                    <a:lnTo>
                      <a:pt x="879" y="322"/>
                    </a:lnTo>
                    <a:lnTo>
                      <a:pt x="885" y="320"/>
                    </a:lnTo>
                    <a:lnTo>
                      <a:pt x="891" y="318"/>
                    </a:lnTo>
                    <a:lnTo>
                      <a:pt x="893" y="316"/>
                    </a:lnTo>
                    <a:lnTo>
                      <a:pt x="895" y="316"/>
                    </a:lnTo>
                    <a:lnTo>
                      <a:pt x="903" y="315"/>
                    </a:lnTo>
                    <a:lnTo>
                      <a:pt x="906" y="315"/>
                    </a:lnTo>
                    <a:lnTo>
                      <a:pt x="906" y="315"/>
                    </a:lnTo>
                    <a:lnTo>
                      <a:pt x="908" y="315"/>
                    </a:lnTo>
                    <a:lnTo>
                      <a:pt x="910" y="311"/>
                    </a:lnTo>
                    <a:lnTo>
                      <a:pt x="910" y="309"/>
                    </a:lnTo>
                    <a:lnTo>
                      <a:pt x="908" y="309"/>
                    </a:lnTo>
                    <a:lnTo>
                      <a:pt x="903" y="311"/>
                    </a:lnTo>
                    <a:lnTo>
                      <a:pt x="889" y="311"/>
                    </a:lnTo>
                    <a:lnTo>
                      <a:pt x="879" y="309"/>
                    </a:lnTo>
                    <a:lnTo>
                      <a:pt x="868" y="305"/>
                    </a:lnTo>
                    <a:lnTo>
                      <a:pt x="858" y="305"/>
                    </a:lnTo>
                    <a:lnTo>
                      <a:pt x="849" y="305"/>
                    </a:lnTo>
                    <a:lnTo>
                      <a:pt x="839" y="305"/>
                    </a:lnTo>
                    <a:lnTo>
                      <a:pt x="831" y="307"/>
                    </a:lnTo>
                    <a:lnTo>
                      <a:pt x="816" y="309"/>
                    </a:lnTo>
                    <a:lnTo>
                      <a:pt x="810" y="309"/>
                    </a:lnTo>
                    <a:lnTo>
                      <a:pt x="808" y="309"/>
                    </a:lnTo>
                    <a:lnTo>
                      <a:pt x="805" y="313"/>
                    </a:lnTo>
                    <a:lnTo>
                      <a:pt x="803" y="313"/>
                    </a:lnTo>
                    <a:lnTo>
                      <a:pt x="803" y="315"/>
                    </a:lnTo>
                    <a:lnTo>
                      <a:pt x="801" y="315"/>
                    </a:lnTo>
                    <a:lnTo>
                      <a:pt x="799" y="315"/>
                    </a:lnTo>
                    <a:lnTo>
                      <a:pt x="789" y="315"/>
                    </a:lnTo>
                    <a:lnTo>
                      <a:pt x="780" y="315"/>
                    </a:lnTo>
                    <a:lnTo>
                      <a:pt x="778" y="315"/>
                    </a:lnTo>
                    <a:lnTo>
                      <a:pt x="778" y="313"/>
                    </a:lnTo>
                    <a:lnTo>
                      <a:pt x="782" y="311"/>
                    </a:lnTo>
                    <a:lnTo>
                      <a:pt x="787" y="311"/>
                    </a:lnTo>
                    <a:lnTo>
                      <a:pt x="801" y="307"/>
                    </a:lnTo>
                    <a:lnTo>
                      <a:pt x="814" y="305"/>
                    </a:lnTo>
                    <a:lnTo>
                      <a:pt x="820" y="305"/>
                    </a:lnTo>
                    <a:lnTo>
                      <a:pt x="822" y="305"/>
                    </a:lnTo>
                    <a:lnTo>
                      <a:pt x="824" y="303"/>
                    </a:lnTo>
                    <a:lnTo>
                      <a:pt x="828" y="303"/>
                    </a:lnTo>
                    <a:lnTo>
                      <a:pt x="839" y="299"/>
                    </a:lnTo>
                    <a:lnTo>
                      <a:pt x="845" y="297"/>
                    </a:lnTo>
                    <a:lnTo>
                      <a:pt x="851" y="295"/>
                    </a:lnTo>
                    <a:lnTo>
                      <a:pt x="853" y="293"/>
                    </a:lnTo>
                    <a:lnTo>
                      <a:pt x="851" y="292"/>
                    </a:lnTo>
                    <a:lnTo>
                      <a:pt x="843" y="290"/>
                    </a:lnTo>
                    <a:lnTo>
                      <a:pt x="839" y="288"/>
                    </a:lnTo>
                    <a:lnTo>
                      <a:pt x="837" y="286"/>
                    </a:lnTo>
                    <a:lnTo>
                      <a:pt x="835" y="286"/>
                    </a:lnTo>
                    <a:lnTo>
                      <a:pt x="833" y="288"/>
                    </a:lnTo>
                    <a:lnTo>
                      <a:pt x="830" y="288"/>
                    </a:lnTo>
                    <a:lnTo>
                      <a:pt x="818" y="292"/>
                    </a:lnTo>
                    <a:lnTo>
                      <a:pt x="805" y="295"/>
                    </a:lnTo>
                    <a:lnTo>
                      <a:pt x="799" y="297"/>
                    </a:lnTo>
                    <a:lnTo>
                      <a:pt x="797" y="299"/>
                    </a:lnTo>
                    <a:lnTo>
                      <a:pt x="791" y="299"/>
                    </a:lnTo>
                    <a:lnTo>
                      <a:pt x="785" y="299"/>
                    </a:lnTo>
                    <a:lnTo>
                      <a:pt x="778" y="299"/>
                    </a:lnTo>
                    <a:lnTo>
                      <a:pt x="776" y="299"/>
                    </a:lnTo>
                    <a:lnTo>
                      <a:pt x="785" y="295"/>
                    </a:lnTo>
                    <a:lnTo>
                      <a:pt x="789" y="293"/>
                    </a:lnTo>
                    <a:lnTo>
                      <a:pt x="791" y="293"/>
                    </a:lnTo>
                    <a:lnTo>
                      <a:pt x="791" y="292"/>
                    </a:lnTo>
                    <a:lnTo>
                      <a:pt x="797" y="290"/>
                    </a:lnTo>
                    <a:lnTo>
                      <a:pt x="799" y="288"/>
                    </a:lnTo>
                    <a:lnTo>
                      <a:pt x="801" y="286"/>
                    </a:lnTo>
                    <a:lnTo>
                      <a:pt x="803" y="286"/>
                    </a:lnTo>
                    <a:lnTo>
                      <a:pt x="808" y="288"/>
                    </a:lnTo>
                    <a:lnTo>
                      <a:pt x="814" y="288"/>
                    </a:lnTo>
                    <a:lnTo>
                      <a:pt x="820" y="288"/>
                    </a:lnTo>
                    <a:lnTo>
                      <a:pt x="824" y="286"/>
                    </a:lnTo>
                    <a:lnTo>
                      <a:pt x="830" y="286"/>
                    </a:lnTo>
                    <a:lnTo>
                      <a:pt x="837" y="284"/>
                    </a:lnTo>
                    <a:lnTo>
                      <a:pt x="841" y="284"/>
                    </a:lnTo>
                    <a:lnTo>
                      <a:pt x="847" y="284"/>
                    </a:lnTo>
                    <a:lnTo>
                      <a:pt x="853" y="282"/>
                    </a:lnTo>
                    <a:lnTo>
                      <a:pt x="855" y="282"/>
                    </a:lnTo>
                    <a:lnTo>
                      <a:pt x="855" y="280"/>
                    </a:lnTo>
                    <a:lnTo>
                      <a:pt x="853" y="278"/>
                    </a:lnTo>
                    <a:lnTo>
                      <a:pt x="845" y="276"/>
                    </a:lnTo>
                    <a:lnTo>
                      <a:pt x="833" y="276"/>
                    </a:lnTo>
                    <a:lnTo>
                      <a:pt x="824" y="274"/>
                    </a:lnTo>
                    <a:lnTo>
                      <a:pt x="822" y="274"/>
                    </a:lnTo>
                    <a:lnTo>
                      <a:pt x="820" y="274"/>
                    </a:lnTo>
                    <a:lnTo>
                      <a:pt x="814" y="274"/>
                    </a:lnTo>
                    <a:lnTo>
                      <a:pt x="808" y="276"/>
                    </a:lnTo>
                    <a:lnTo>
                      <a:pt x="803" y="276"/>
                    </a:lnTo>
                    <a:lnTo>
                      <a:pt x="801" y="276"/>
                    </a:lnTo>
                    <a:lnTo>
                      <a:pt x="801" y="276"/>
                    </a:lnTo>
                    <a:lnTo>
                      <a:pt x="807" y="274"/>
                    </a:lnTo>
                    <a:lnTo>
                      <a:pt x="808" y="272"/>
                    </a:lnTo>
                    <a:lnTo>
                      <a:pt x="810" y="272"/>
                    </a:lnTo>
                    <a:lnTo>
                      <a:pt x="805" y="269"/>
                    </a:lnTo>
                    <a:lnTo>
                      <a:pt x="801" y="267"/>
                    </a:lnTo>
                    <a:lnTo>
                      <a:pt x="801" y="267"/>
                    </a:lnTo>
                    <a:lnTo>
                      <a:pt x="801" y="265"/>
                    </a:lnTo>
                    <a:lnTo>
                      <a:pt x="799" y="263"/>
                    </a:lnTo>
                    <a:lnTo>
                      <a:pt x="801" y="261"/>
                    </a:lnTo>
                    <a:lnTo>
                      <a:pt x="801" y="261"/>
                    </a:lnTo>
                    <a:lnTo>
                      <a:pt x="805" y="263"/>
                    </a:lnTo>
                    <a:lnTo>
                      <a:pt x="810" y="267"/>
                    </a:lnTo>
                    <a:lnTo>
                      <a:pt x="818" y="269"/>
                    </a:lnTo>
                    <a:lnTo>
                      <a:pt x="826" y="270"/>
                    </a:lnTo>
                    <a:lnTo>
                      <a:pt x="833" y="272"/>
                    </a:lnTo>
                    <a:lnTo>
                      <a:pt x="845" y="276"/>
                    </a:lnTo>
                    <a:lnTo>
                      <a:pt x="856" y="278"/>
                    </a:lnTo>
                    <a:lnTo>
                      <a:pt x="858" y="278"/>
                    </a:lnTo>
                    <a:lnTo>
                      <a:pt x="860" y="278"/>
                    </a:lnTo>
                    <a:lnTo>
                      <a:pt x="862" y="278"/>
                    </a:lnTo>
                    <a:lnTo>
                      <a:pt x="866" y="278"/>
                    </a:lnTo>
                    <a:lnTo>
                      <a:pt x="870" y="278"/>
                    </a:lnTo>
                    <a:lnTo>
                      <a:pt x="872" y="280"/>
                    </a:lnTo>
                    <a:lnTo>
                      <a:pt x="872" y="284"/>
                    </a:lnTo>
                    <a:lnTo>
                      <a:pt x="870" y="290"/>
                    </a:lnTo>
                    <a:lnTo>
                      <a:pt x="872" y="293"/>
                    </a:lnTo>
                    <a:lnTo>
                      <a:pt x="874" y="295"/>
                    </a:lnTo>
                    <a:lnTo>
                      <a:pt x="878" y="297"/>
                    </a:lnTo>
                    <a:lnTo>
                      <a:pt x="889" y="299"/>
                    </a:lnTo>
                    <a:lnTo>
                      <a:pt x="897" y="299"/>
                    </a:lnTo>
                    <a:lnTo>
                      <a:pt x="904" y="301"/>
                    </a:lnTo>
                    <a:lnTo>
                      <a:pt x="906" y="301"/>
                    </a:lnTo>
                    <a:lnTo>
                      <a:pt x="906" y="299"/>
                    </a:lnTo>
                    <a:lnTo>
                      <a:pt x="908" y="297"/>
                    </a:lnTo>
                    <a:lnTo>
                      <a:pt x="908" y="293"/>
                    </a:lnTo>
                    <a:lnTo>
                      <a:pt x="910" y="293"/>
                    </a:lnTo>
                    <a:lnTo>
                      <a:pt x="912" y="295"/>
                    </a:lnTo>
                    <a:lnTo>
                      <a:pt x="912" y="299"/>
                    </a:lnTo>
                    <a:lnTo>
                      <a:pt x="914" y="303"/>
                    </a:lnTo>
                    <a:lnTo>
                      <a:pt x="916" y="305"/>
                    </a:lnTo>
                    <a:lnTo>
                      <a:pt x="922" y="303"/>
                    </a:lnTo>
                    <a:lnTo>
                      <a:pt x="926" y="301"/>
                    </a:lnTo>
                    <a:lnTo>
                      <a:pt x="929" y="299"/>
                    </a:lnTo>
                    <a:lnTo>
                      <a:pt x="929" y="299"/>
                    </a:lnTo>
                    <a:lnTo>
                      <a:pt x="929" y="293"/>
                    </a:lnTo>
                    <a:lnTo>
                      <a:pt x="929" y="290"/>
                    </a:lnTo>
                    <a:lnTo>
                      <a:pt x="929" y="290"/>
                    </a:lnTo>
                    <a:lnTo>
                      <a:pt x="926" y="288"/>
                    </a:lnTo>
                    <a:lnTo>
                      <a:pt x="926" y="288"/>
                    </a:lnTo>
                    <a:lnTo>
                      <a:pt x="928" y="286"/>
                    </a:lnTo>
                    <a:lnTo>
                      <a:pt x="929" y="284"/>
                    </a:lnTo>
                    <a:lnTo>
                      <a:pt x="931" y="282"/>
                    </a:lnTo>
                    <a:lnTo>
                      <a:pt x="931" y="278"/>
                    </a:lnTo>
                    <a:lnTo>
                      <a:pt x="928" y="278"/>
                    </a:lnTo>
                    <a:lnTo>
                      <a:pt x="924" y="278"/>
                    </a:lnTo>
                    <a:lnTo>
                      <a:pt x="922" y="278"/>
                    </a:lnTo>
                    <a:lnTo>
                      <a:pt x="920" y="278"/>
                    </a:lnTo>
                    <a:lnTo>
                      <a:pt x="918" y="274"/>
                    </a:lnTo>
                    <a:lnTo>
                      <a:pt x="916" y="270"/>
                    </a:lnTo>
                    <a:lnTo>
                      <a:pt x="916" y="270"/>
                    </a:lnTo>
                    <a:lnTo>
                      <a:pt x="912" y="269"/>
                    </a:lnTo>
                    <a:lnTo>
                      <a:pt x="910" y="269"/>
                    </a:lnTo>
                    <a:lnTo>
                      <a:pt x="910" y="269"/>
                    </a:lnTo>
                    <a:lnTo>
                      <a:pt x="910" y="265"/>
                    </a:lnTo>
                    <a:lnTo>
                      <a:pt x="910" y="263"/>
                    </a:lnTo>
                    <a:lnTo>
                      <a:pt x="912" y="263"/>
                    </a:lnTo>
                    <a:lnTo>
                      <a:pt x="901" y="259"/>
                    </a:lnTo>
                    <a:lnTo>
                      <a:pt x="893" y="255"/>
                    </a:lnTo>
                    <a:lnTo>
                      <a:pt x="887" y="253"/>
                    </a:lnTo>
                    <a:lnTo>
                      <a:pt x="883" y="253"/>
                    </a:lnTo>
                    <a:lnTo>
                      <a:pt x="881" y="251"/>
                    </a:lnTo>
                    <a:lnTo>
                      <a:pt x="879" y="251"/>
                    </a:lnTo>
                    <a:lnTo>
                      <a:pt x="870" y="253"/>
                    </a:lnTo>
                    <a:lnTo>
                      <a:pt x="866" y="255"/>
                    </a:lnTo>
                    <a:lnTo>
                      <a:pt x="864" y="255"/>
                    </a:lnTo>
                    <a:lnTo>
                      <a:pt x="862" y="255"/>
                    </a:lnTo>
                    <a:lnTo>
                      <a:pt x="860" y="253"/>
                    </a:lnTo>
                    <a:lnTo>
                      <a:pt x="858" y="253"/>
                    </a:lnTo>
                    <a:lnTo>
                      <a:pt x="868" y="251"/>
                    </a:lnTo>
                    <a:lnTo>
                      <a:pt x="872" y="249"/>
                    </a:lnTo>
                    <a:lnTo>
                      <a:pt x="874" y="249"/>
                    </a:lnTo>
                    <a:lnTo>
                      <a:pt x="874" y="249"/>
                    </a:lnTo>
                    <a:lnTo>
                      <a:pt x="874" y="247"/>
                    </a:lnTo>
                    <a:lnTo>
                      <a:pt x="874" y="247"/>
                    </a:lnTo>
                    <a:lnTo>
                      <a:pt x="874" y="247"/>
                    </a:lnTo>
                    <a:lnTo>
                      <a:pt x="874" y="245"/>
                    </a:lnTo>
                    <a:lnTo>
                      <a:pt x="870" y="244"/>
                    </a:lnTo>
                    <a:lnTo>
                      <a:pt x="862" y="242"/>
                    </a:lnTo>
                    <a:lnTo>
                      <a:pt x="853" y="242"/>
                    </a:lnTo>
                    <a:lnTo>
                      <a:pt x="843" y="242"/>
                    </a:lnTo>
                    <a:lnTo>
                      <a:pt x="835" y="242"/>
                    </a:lnTo>
                    <a:lnTo>
                      <a:pt x="831" y="242"/>
                    </a:lnTo>
                    <a:lnTo>
                      <a:pt x="831" y="242"/>
                    </a:lnTo>
                    <a:lnTo>
                      <a:pt x="835" y="236"/>
                    </a:lnTo>
                    <a:lnTo>
                      <a:pt x="837" y="234"/>
                    </a:lnTo>
                    <a:lnTo>
                      <a:pt x="837" y="232"/>
                    </a:lnTo>
                    <a:lnTo>
                      <a:pt x="839" y="232"/>
                    </a:lnTo>
                    <a:lnTo>
                      <a:pt x="843" y="232"/>
                    </a:lnTo>
                    <a:lnTo>
                      <a:pt x="853" y="234"/>
                    </a:lnTo>
                    <a:lnTo>
                      <a:pt x="858" y="234"/>
                    </a:lnTo>
                    <a:lnTo>
                      <a:pt x="864" y="232"/>
                    </a:lnTo>
                    <a:lnTo>
                      <a:pt x="868" y="230"/>
                    </a:lnTo>
                    <a:lnTo>
                      <a:pt x="870" y="230"/>
                    </a:lnTo>
                    <a:lnTo>
                      <a:pt x="876" y="228"/>
                    </a:lnTo>
                    <a:lnTo>
                      <a:pt x="879" y="228"/>
                    </a:lnTo>
                    <a:lnTo>
                      <a:pt x="881" y="228"/>
                    </a:lnTo>
                    <a:lnTo>
                      <a:pt x="881" y="228"/>
                    </a:lnTo>
                    <a:lnTo>
                      <a:pt x="887" y="230"/>
                    </a:lnTo>
                    <a:lnTo>
                      <a:pt x="893" y="232"/>
                    </a:lnTo>
                    <a:lnTo>
                      <a:pt x="899" y="232"/>
                    </a:lnTo>
                    <a:lnTo>
                      <a:pt x="901" y="234"/>
                    </a:lnTo>
                    <a:lnTo>
                      <a:pt x="903" y="234"/>
                    </a:lnTo>
                    <a:lnTo>
                      <a:pt x="906" y="232"/>
                    </a:lnTo>
                    <a:lnTo>
                      <a:pt x="910" y="232"/>
                    </a:lnTo>
                    <a:lnTo>
                      <a:pt x="910" y="232"/>
                    </a:lnTo>
                    <a:lnTo>
                      <a:pt x="914" y="234"/>
                    </a:lnTo>
                    <a:lnTo>
                      <a:pt x="920" y="238"/>
                    </a:lnTo>
                    <a:lnTo>
                      <a:pt x="928" y="242"/>
                    </a:lnTo>
                    <a:lnTo>
                      <a:pt x="935" y="244"/>
                    </a:lnTo>
                    <a:lnTo>
                      <a:pt x="939" y="244"/>
                    </a:lnTo>
                    <a:lnTo>
                      <a:pt x="939" y="240"/>
                    </a:lnTo>
                    <a:lnTo>
                      <a:pt x="939" y="238"/>
                    </a:lnTo>
                    <a:lnTo>
                      <a:pt x="939" y="236"/>
                    </a:lnTo>
                    <a:lnTo>
                      <a:pt x="929" y="234"/>
                    </a:lnTo>
                    <a:lnTo>
                      <a:pt x="924" y="234"/>
                    </a:lnTo>
                    <a:lnTo>
                      <a:pt x="922" y="234"/>
                    </a:lnTo>
                    <a:lnTo>
                      <a:pt x="922" y="234"/>
                    </a:lnTo>
                    <a:lnTo>
                      <a:pt x="914" y="230"/>
                    </a:lnTo>
                    <a:lnTo>
                      <a:pt x="910" y="228"/>
                    </a:lnTo>
                    <a:lnTo>
                      <a:pt x="910" y="228"/>
                    </a:lnTo>
                    <a:lnTo>
                      <a:pt x="910" y="228"/>
                    </a:lnTo>
                    <a:lnTo>
                      <a:pt x="899" y="226"/>
                    </a:lnTo>
                    <a:lnTo>
                      <a:pt x="891" y="226"/>
                    </a:lnTo>
                    <a:lnTo>
                      <a:pt x="889" y="226"/>
                    </a:lnTo>
                    <a:lnTo>
                      <a:pt x="889" y="226"/>
                    </a:lnTo>
                    <a:lnTo>
                      <a:pt x="891" y="224"/>
                    </a:lnTo>
                    <a:lnTo>
                      <a:pt x="893" y="222"/>
                    </a:lnTo>
                    <a:lnTo>
                      <a:pt x="899" y="219"/>
                    </a:lnTo>
                    <a:lnTo>
                      <a:pt x="903" y="221"/>
                    </a:lnTo>
                    <a:lnTo>
                      <a:pt x="908" y="222"/>
                    </a:lnTo>
                    <a:lnTo>
                      <a:pt x="916" y="226"/>
                    </a:lnTo>
                    <a:lnTo>
                      <a:pt x="924" y="228"/>
                    </a:lnTo>
                    <a:lnTo>
                      <a:pt x="933" y="228"/>
                    </a:lnTo>
                    <a:lnTo>
                      <a:pt x="943" y="228"/>
                    </a:lnTo>
                    <a:lnTo>
                      <a:pt x="949" y="228"/>
                    </a:lnTo>
                    <a:lnTo>
                      <a:pt x="952" y="228"/>
                    </a:lnTo>
                    <a:lnTo>
                      <a:pt x="962" y="228"/>
                    </a:lnTo>
                    <a:lnTo>
                      <a:pt x="968" y="226"/>
                    </a:lnTo>
                    <a:lnTo>
                      <a:pt x="976" y="226"/>
                    </a:lnTo>
                    <a:lnTo>
                      <a:pt x="979" y="226"/>
                    </a:lnTo>
                    <a:lnTo>
                      <a:pt x="979" y="226"/>
                    </a:lnTo>
                    <a:lnTo>
                      <a:pt x="979" y="219"/>
                    </a:lnTo>
                    <a:lnTo>
                      <a:pt x="979" y="217"/>
                    </a:lnTo>
                    <a:lnTo>
                      <a:pt x="979" y="215"/>
                    </a:lnTo>
                    <a:lnTo>
                      <a:pt x="979" y="215"/>
                    </a:lnTo>
                    <a:lnTo>
                      <a:pt x="970" y="213"/>
                    </a:lnTo>
                    <a:lnTo>
                      <a:pt x="964" y="211"/>
                    </a:lnTo>
                    <a:lnTo>
                      <a:pt x="962" y="211"/>
                    </a:lnTo>
                    <a:lnTo>
                      <a:pt x="962" y="211"/>
                    </a:lnTo>
                    <a:lnTo>
                      <a:pt x="956" y="215"/>
                    </a:lnTo>
                    <a:lnTo>
                      <a:pt x="952" y="217"/>
                    </a:lnTo>
                    <a:lnTo>
                      <a:pt x="952" y="217"/>
                    </a:lnTo>
                    <a:lnTo>
                      <a:pt x="951" y="215"/>
                    </a:lnTo>
                    <a:lnTo>
                      <a:pt x="947" y="213"/>
                    </a:lnTo>
                    <a:lnTo>
                      <a:pt x="945" y="209"/>
                    </a:lnTo>
                    <a:lnTo>
                      <a:pt x="945" y="207"/>
                    </a:lnTo>
                    <a:lnTo>
                      <a:pt x="951" y="207"/>
                    </a:lnTo>
                    <a:lnTo>
                      <a:pt x="958" y="205"/>
                    </a:lnTo>
                    <a:lnTo>
                      <a:pt x="966" y="207"/>
                    </a:lnTo>
                    <a:lnTo>
                      <a:pt x="968" y="207"/>
                    </a:lnTo>
                    <a:lnTo>
                      <a:pt x="968" y="207"/>
                    </a:lnTo>
                    <a:lnTo>
                      <a:pt x="979" y="203"/>
                    </a:lnTo>
                    <a:lnTo>
                      <a:pt x="985" y="203"/>
                    </a:lnTo>
                    <a:lnTo>
                      <a:pt x="987" y="201"/>
                    </a:lnTo>
                    <a:lnTo>
                      <a:pt x="987" y="201"/>
                    </a:lnTo>
                    <a:lnTo>
                      <a:pt x="989" y="203"/>
                    </a:lnTo>
                    <a:lnTo>
                      <a:pt x="993" y="205"/>
                    </a:lnTo>
                    <a:lnTo>
                      <a:pt x="1000" y="205"/>
                    </a:lnTo>
                    <a:lnTo>
                      <a:pt x="1006" y="205"/>
                    </a:lnTo>
                    <a:lnTo>
                      <a:pt x="1012" y="203"/>
                    </a:lnTo>
                    <a:lnTo>
                      <a:pt x="1018" y="201"/>
                    </a:lnTo>
                    <a:lnTo>
                      <a:pt x="1020" y="198"/>
                    </a:lnTo>
                    <a:lnTo>
                      <a:pt x="1020" y="198"/>
                    </a:lnTo>
                    <a:lnTo>
                      <a:pt x="1018" y="196"/>
                    </a:lnTo>
                    <a:lnTo>
                      <a:pt x="1014" y="196"/>
                    </a:lnTo>
                    <a:lnTo>
                      <a:pt x="1002" y="196"/>
                    </a:lnTo>
                    <a:lnTo>
                      <a:pt x="993" y="196"/>
                    </a:lnTo>
                    <a:lnTo>
                      <a:pt x="989" y="196"/>
                    </a:lnTo>
                    <a:lnTo>
                      <a:pt x="987" y="196"/>
                    </a:lnTo>
                    <a:lnTo>
                      <a:pt x="987" y="194"/>
                    </a:lnTo>
                    <a:lnTo>
                      <a:pt x="987" y="192"/>
                    </a:lnTo>
                    <a:lnTo>
                      <a:pt x="985" y="190"/>
                    </a:lnTo>
                    <a:lnTo>
                      <a:pt x="981" y="188"/>
                    </a:lnTo>
                    <a:lnTo>
                      <a:pt x="976" y="188"/>
                    </a:lnTo>
                    <a:lnTo>
                      <a:pt x="966" y="188"/>
                    </a:lnTo>
                    <a:lnTo>
                      <a:pt x="958" y="188"/>
                    </a:lnTo>
                    <a:lnTo>
                      <a:pt x="956" y="188"/>
                    </a:lnTo>
                    <a:lnTo>
                      <a:pt x="956" y="188"/>
                    </a:lnTo>
                    <a:lnTo>
                      <a:pt x="960" y="188"/>
                    </a:lnTo>
                    <a:lnTo>
                      <a:pt x="968" y="186"/>
                    </a:lnTo>
                    <a:lnTo>
                      <a:pt x="976" y="186"/>
                    </a:lnTo>
                    <a:lnTo>
                      <a:pt x="979" y="184"/>
                    </a:lnTo>
                    <a:lnTo>
                      <a:pt x="979" y="182"/>
                    </a:lnTo>
                    <a:lnTo>
                      <a:pt x="977" y="180"/>
                    </a:lnTo>
                    <a:lnTo>
                      <a:pt x="970" y="178"/>
                    </a:lnTo>
                    <a:lnTo>
                      <a:pt x="960" y="176"/>
                    </a:lnTo>
                    <a:lnTo>
                      <a:pt x="958" y="176"/>
                    </a:lnTo>
                    <a:lnTo>
                      <a:pt x="956" y="176"/>
                    </a:lnTo>
                    <a:lnTo>
                      <a:pt x="958" y="175"/>
                    </a:lnTo>
                    <a:lnTo>
                      <a:pt x="964" y="175"/>
                    </a:lnTo>
                    <a:lnTo>
                      <a:pt x="972" y="175"/>
                    </a:lnTo>
                    <a:lnTo>
                      <a:pt x="976" y="175"/>
                    </a:lnTo>
                    <a:lnTo>
                      <a:pt x="981" y="176"/>
                    </a:lnTo>
                    <a:lnTo>
                      <a:pt x="987" y="178"/>
                    </a:lnTo>
                    <a:lnTo>
                      <a:pt x="995" y="180"/>
                    </a:lnTo>
                    <a:lnTo>
                      <a:pt x="999" y="180"/>
                    </a:lnTo>
                    <a:lnTo>
                      <a:pt x="1002" y="180"/>
                    </a:lnTo>
                    <a:lnTo>
                      <a:pt x="1004" y="182"/>
                    </a:lnTo>
                    <a:lnTo>
                      <a:pt x="1006" y="184"/>
                    </a:lnTo>
                    <a:lnTo>
                      <a:pt x="1010" y="184"/>
                    </a:lnTo>
                    <a:lnTo>
                      <a:pt x="1016" y="182"/>
                    </a:lnTo>
                    <a:lnTo>
                      <a:pt x="1018" y="176"/>
                    </a:lnTo>
                    <a:lnTo>
                      <a:pt x="1020" y="173"/>
                    </a:lnTo>
                    <a:lnTo>
                      <a:pt x="1018" y="169"/>
                    </a:lnTo>
                    <a:lnTo>
                      <a:pt x="1014" y="165"/>
                    </a:lnTo>
                    <a:lnTo>
                      <a:pt x="1008" y="163"/>
                    </a:lnTo>
                    <a:lnTo>
                      <a:pt x="1004" y="159"/>
                    </a:lnTo>
                    <a:lnTo>
                      <a:pt x="1002" y="159"/>
                    </a:lnTo>
                    <a:lnTo>
                      <a:pt x="995" y="157"/>
                    </a:lnTo>
                    <a:lnTo>
                      <a:pt x="989" y="155"/>
                    </a:lnTo>
                    <a:lnTo>
                      <a:pt x="981" y="155"/>
                    </a:lnTo>
                    <a:lnTo>
                      <a:pt x="977" y="153"/>
                    </a:lnTo>
                    <a:lnTo>
                      <a:pt x="977" y="153"/>
                    </a:lnTo>
                    <a:lnTo>
                      <a:pt x="976" y="153"/>
                    </a:lnTo>
                    <a:lnTo>
                      <a:pt x="972" y="151"/>
                    </a:lnTo>
                    <a:lnTo>
                      <a:pt x="970" y="148"/>
                    </a:lnTo>
                    <a:lnTo>
                      <a:pt x="970" y="146"/>
                    </a:lnTo>
                    <a:lnTo>
                      <a:pt x="976" y="144"/>
                    </a:lnTo>
                    <a:lnTo>
                      <a:pt x="981" y="144"/>
                    </a:lnTo>
                    <a:lnTo>
                      <a:pt x="987" y="146"/>
                    </a:lnTo>
                    <a:lnTo>
                      <a:pt x="989" y="146"/>
                    </a:lnTo>
                    <a:lnTo>
                      <a:pt x="1000" y="142"/>
                    </a:lnTo>
                    <a:lnTo>
                      <a:pt x="1006" y="142"/>
                    </a:lnTo>
                    <a:lnTo>
                      <a:pt x="1008" y="142"/>
                    </a:lnTo>
                    <a:lnTo>
                      <a:pt x="1008" y="142"/>
                    </a:lnTo>
                    <a:lnTo>
                      <a:pt x="1010" y="142"/>
                    </a:lnTo>
                    <a:lnTo>
                      <a:pt x="1016" y="142"/>
                    </a:lnTo>
                    <a:lnTo>
                      <a:pt x="1024" y="142"/>
                    </a:lnTo>
                    <a:lnTo>
                      <a:pt x="1037" y="144"/>
                    </a:lnTo>
                    <a:lnTo>
                      <a:pt x="1050" y="142"/>
                    </a:lnTo>
                    <a:lnTo>
                      <a:pt x="1058" y="138"/>
                    </a:lnTo>
                    <a:lnTo>
                      <a:pt x="1060" y="134"/>
                    </a:lnTo>
                    <a:lnTo>
                      <a:pt x="1058" y="132"/>
                    </a:lnTo>
                    <a:lnTo>
                      <a:pt x="1056" y="130"/>
                    </a:lnTo>
                    <a:lnTo>
                      <a:pt x="1052" y="130"/>
                    </a:lnTo>
                    <a:lnTo>
                      <a:pt x="1041" y="128"/>
                    </a:lnTo>
                    <a:lnTo>
                      <a:pt x="1027" y="128"/>
                    </a:lnTo>
                    <a:lnTo>
                      <a:pt x="1020" y="128"/>
                    </a:lnTo>
                    <a:lnTo>
                      <a:pt x="1016" y="128"/>
                    </a:lnTo>
                    <a:lnTo>
                      <a:pt x="1016" y="128"/>
                    </a:lnTo>
                    <a:lnTo>
                      <a:pt x="1016" y="125"/>
                    </a:lnTo>
                    <a:lnTo>
                      <a:pt x="1014" y="123"/>
                    </a:lnTo>
                    <a:lnTo>
                      <a:pt x="1014" y="123"/>
                    </a:lnTo>
                    <a:lnTo>
                      <a:pt x="1022" y="123"/>
                    </a:lnTo>
                    <a:lnTo>
                      <a:pt x="1025" y="123"/>
                    </a:lnTo>
                    <a:lnTo>
                      <a:pt x="1027" y="123"/>
                    </a:lnTo>
                    <a:lnTo>
                      <a:pt x="1027" y="123"/>
                    </a:lnTo>
                    <a:lnTo>
                      <a:pt x="1027" y="121"/>
                    </a:lnTo>
                    <a:lnTo>
                      <a:pt x="1024" y="119"/>
                    </a:lnTo>
                    <a:lnTo>
                      <a:pt x="1020" y="115"/>
                    </a:lnTo>
                    <a:lnTo>
                      <a:pt x="1014" y="115"/>
                    </a:lnTo>
                    <a:lnTo>
                      <a:pt x="1008" y="117"/>
                    </a:lnTo>
                    <a:lnTo>
                      <a:pt x="1008" y="121"/>
                    </a:lnTo>
                    <a:lnTo>
                      <a:pt x="1008" y="125"/>
                    </a:lnTo>
                    <a:lnTo>
                      <a:pt x="1004" y="127"/>
                    </a:lnTo>
                    <a:lnTo>
                      <a:pt x="999" y="125"/>
                    </a:lnTo>
                    <a:lnTo>
                      <a:pt x="993" y="123"/>
                    </a:lnTo>
                    <a:lnTo>
                      <a:pt x="989" y="119"/>
                    </a:lnTo>
                    <a:lnTo>
                      <a:pt x="987" y="119"/>
                    </a:lnTo>
                    <a:lnTo>
                      <a:pt x="989" y="117"/>
                    </a:lnTo>
                    <a:lnTo>
                      <a:pt x="995" y="115"/>
                    </a:lnTo>
                    <a:lnTo>
                      <a:pt x="1002" y="113"/>
                    </a:lnTo>
                    <a:lnTo>
                      <a:pt x="1008" y="111"/>
                    </a:lnTo>
                    <a:lnTo>
                      <a:pt x="1012" y="107"/>
                    </a:lnTo>
                    <a:lnTo>
                      <a:pt x="1018" y="100"/>
                    </a:lnTo>
                    <a:lnTo>
                      <a:pt x="1020" y="98"/>
                    </a:lnTo>
                    <a:lnTo>
                      <a:pt x="1022" y="96"/>
                    </a:lnTo>
                    <a:lnTo>
                      <a:pt x="1025" y="96"/>
                    </a:lnTo>
                    <a:lnTo>
                      <a:pt x="1029" y="96"/>
                    </a:lnTo>
                    <a:lnTo>
                      <a:pt x="1035" y="98"/>
                    </a:lnTo>
                    <a:lnTo>
                      <a:pt x="1039" y="96"/>
                    </a:lnTo>
                    <a:lnTo>
                      <a:pt x="1048" y="90"/>
                    </a:lnTo>
                    <a:lnTo>
                      <a:pt x="1052" y="88"/>
                    </a:lnTo>
                    <a:lnTo>
                      <a:pt x="1054" y="88"/>
                    </a:lnTo>
                    <a:lnTo>
                      <a:pt x="1050" y="84"/>
                    </a:lnTo>
                    <a:lnTo>
                      <a:pt x="1048" y="82"/>
                    </a:lnTo>
                    <a:lnTo>
                      <a:pt x="1047" y="82"/>
                    </a:lnTo>
                    <a:lnTo>
                      <a:pt x="1050" y="80"/>
                    </a:lnTo>
                    <a:lnTo>
                      <a:pt x="1056" y="79"/>
                    </a:lnTo>
                    <a:lnTo>
                      <a:pt x="1062" y="75"/>
                    </a:lnTo>
                    <a:lnTo>
                      <a:pt x="1068" y="75"/>
                    </a:lnTo>
                    <a:lnTo>
                      <a:pt x="1072" y="75"/>
                    </a:lnTo>
                    <a:lnTo>
                      <a:pt x="1075" y="77"/>
                    </a:lnTo>
                    <a:lnTo>
                      <a:pt x="1079" y="79"/>
                    </a:lnTo>
                    <a:lnTo>
                      <a:pt x="1083" y="77"/>
                    </a:lnTo>
                    <a:lnTo>
                      <a:pt x="1087" y="75"/>
                    </a:lnTo>
                    <a:lnTo>
                      <a:pt x="1093" y="73"/>
                    </a:lnTo>
                    <a:lnTo>
                      <a:pt x="1097" y="71"/>
                    </a:lnTo>
                    <a:lnTo>
                      <a:pt x="1095" y="69"/>
                    </a:lnTo>
                    <a:lnTo>
                      <a:pt x="1093" y="69"/>
                    </a:lnTo>
                    <a:lnTo>
                      <a:pt x="1085" y="69"/>
                    </a:lnTo>
                    <a:lnTo>
                      <a:pt x="1077" y="69"/>
                    </a:lnTo>
                    <a:lnTo>
                      <a:pt x="1070" y="69"/>
                    </a:lnTo>
                    <a:lnTo>
                      <a:pt x="1068" y="69"/>
                    </a:lnTo>
                    <a:lnTo>
                      <a:pt x="1066" y="69"/>
                    </a:lnTo>
                    <a:lnTo>
                      <a:pt x="1062" y="71"/>
                    </a:lnTo>
                    <a:lnTo>
                      <a:pt x="1050" y="73"/>
                    </a:lnTo>
                    <a:lnTo>
                      <a:pt x="1045" y="73"/>
                    </a:lnTo>
                    <a:lnTo>
                      <a:pt x="1041" y="73"/>
                    </a:lnTo>
                    <a:lnTo>
                      <a:pt x="1037" y="73"/>
                    </a:lnTo>
                    <a:lnTo>
                      <a:pt x="1039" y="71"/>
                    </a:lnTo>
                    <a:lnTo>
                      <a:pt x="1045" y="67"/>
                    </a:lnTo>
                    <a:lnTo>
                      <a:pt x="1052" y="65"/>
                    </a:lnTo>
                    <a:lnTo>
                      <a:pt x="1058" y="65"/>
                    </a:lnTo>
                    <a:lnTo>
                      <a:pt x="1060" y="65"/>
                    </a:lnTo>
                    <a:lnTo>
                      <a:pt x="1060" y="65"/>
                    </a:lnTo>
                    <a:lnTo>
                      <a:pt x="1064" y="65"/>
                    </a:lnTo>
                    <a:lnTo>
                      <a:pt x="1075" y="65"/>
                    </a:lnTo>
                    <a:lnTo>
                      <a:pt x="1087" y="65"/>
                    </a:lnTo>
                    <a:lnTo>
                      <a:pt x="1100" y="65"/>
                    </a:lnTo>
                    <a:lnTo>
                      <a:pt x="1110" y="63"/>
                    </a:lnTo>
                    <a:lnTo>
                      <a:pt x="1116" y="61"/>
                    </a:lnTo>
                    <a:lnTo>
                      <a:pt x="1121" y="61"/>
                    </a:lnTo>
                    <a:lnTo>
                      <a:pt x="1123" y="59"/>
                    </a:lnTo>
                    <a:lnTo>
                      <a:pt x="1121" y="59"/>
                    </a:lnTo>
                    <a:lnTo>
                      <a:pt x="1120" y="59"/>
                    </a:lnTo>
                    <a:lnTo>
                      <a:pt x="1112" y="57"/>
                    </a:lnTo>
                    <a:lnTo>
                      <a:pt x="1102" y="56"/>
                    </a:lnTo>
                    <a:lnTo>
                      <a:pt x="1097" y="57"/>
                    </a:lnTo>
                    <a:lnTo>
                      <a:pt x="1095" y="57"/>
                    </a:lnTo>
                    <a:lnTo>
                      <a:pt x="1091" y="57"/>
                    </a:lnTo>
                    <a:lnTo>
                      <a:pt x="1081" y="57"/>
                    </a:lnTo>
                    <a:lnTo>
                      <a:pt x="1072" y="59"/>
                    </a:lnTo>
                    <a:lnTo>
                      <a:pt x="1070" y="59"/>
                    </a:lnTo>
                    <a:lnTo>
                      <a:pt x="1068" y="59"/>
                    </a:lnTo>
                    <a:lnTo>
                      <a:pt x="1068" y="59"/>
                    </a:lnTo>
                    <a:lnTo>
                      <a:pt x="1064" y="59"/>
                    </a:lnTo>
                    <a:lnTo>
                      <a:pt x="1054" y="59"/>
                    </a:lnTo>
                    <a:lnTo>
                      <a:pt x="1050" y="59"/>
                    </a:lnTo>
                    <a:lnTo>
                      <a:pt x="1047" y="59"/>
                    </a:lnTo>
                    <a:lnTo>
                      <a:pt x="1047" y="59"/>
                    </a:lnTo>
                    <a:lnTo>
                      <a:pt x="1048" y="57"/>
                    </a:lnTo>
                    <a:lnTo>
                      <a:pt x="1054" y="57"/>
                    </a:lnTo>
                    <a:lnTo>
                      <a:pt x="1060" y="56"/>
                    </a:lnTo>
                    <a:lnTo>
                      <a:pt x="1075" y="56"/>
                    </a:lnTo>
                    <a:lnTo>
                      <a:pt x="1087" y="54"/>
                    </a:lnTo>
                    <a:lnTo>
                      <a:pt x="1091" y="54"/>
                    </a:lnTo>
                    <a:lnTo>
                      <a:pt x="1093" y="54"/>
                    </a:lnTo>
                    <a:lnTo>
                      <a:pt x="1095" y="54"/>
                    </a:lnTo>
                    <a:lnTo>
                      <a:pt x="1098" y="54"/>
                    </a:lnTo>
                    <a:lnTo>
                      <a:pt x="1106" y="54"/>
                    </a:lnTo>
                    <a:lnTo>
                      <a:pt x="1114" y="54"/>
                    </a:lnTo>
                    <a:lnTo>
                      <a:pt x="1131" y="54"/>
                    </a:lnTo>
                    <a:lnTo>
                      <a:pt x="1139" y="54"/>
                    </a:lnTo>
                    <a:lnTo>
                      <a:pt x="1143" y="54"/>
                    </a:lnTo>
                    <a:lnTo>
                      <a:pt x="1150" y="48"/>
                    </a:lnTo>
                    <a:lnTo>
                      <a:pt x="1154" y="46"/>
                    </a:lnTo>
                    <a:lnTo>
                      <a:pt x="1154" y="46"/>
                    </a:lnTo>
                    <a:lnTo>
                      <a:pt x="1158" y="46"/>
                    </a:lnTo>
                    <a:lnTo>
                      <a:pt x="1166" y="46"/>
                    </a:lnTo>
                    <a:lnTo>
                      <a:pt x="1173" y="46"/>
                    </a:lnTo>
                    <a:lnTo>
                      <a:pt x="1183" y="44"/>
                    </a:lnTo>
                    <a:lnTo>
                      <a:pt x="1193" y="44"/>
                    </a:lnTo>
                    <a:lnTo>
                      <a:pt x="1200" y="40"/>
                    </a:lnTo>
                    <a:lnTo>
                      <a:pt x="1206" y="38"/>
                    </a:lnTo>
                    <a:lnTo>
                      <a:pt x="1210" y="38"/>
                    </a:lnTo>
                    <a:lnTo>
                      <a:pt x="1206" y="38"/>
                    </a:lnTo>
                    <a:lnTo>
                      <a:pt x="1198" y="36"/>
                    </a:lnTo>
                    <a:lnTo>
                      <a:pt x="1189" y="33"/>
                    </a:lnTo>
                    <a:lnTo>
                      <a:pt x="1179" y="33"/>
                    </a:lnTo>
                    <a:lnTo>
                      <a:pt x="1179" y="33"/>
                    </a:lnTo>
                  </a:path>
                </a:pathLst>
              </a:custGeom>
              <a:grpFill/>
              <a:ln w="3175">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dirty="0">
                  <a:solidFill>
                    <a:srgbClr val="001965"/>
                  </a:solidFill>
                  <a:latin typeface="NeueHaasGroteskDisp Pro" panose="020B0504020202020204" pitchFamily="34" charset="0"/>
                  <a:cs typeface="NeueHaasGroteskDisp Pro" charset="0"/>
                </a:endParaRPr>
              </a:p>
            </p:txBody>
          </p:sp>
          <p:sp>
            <p:nvSpPr>
              <p:cNvPr id="182" name="Freeform 17">
                <a:extLst>
                  <a:ext uri="{FF2B5EF4-FFF2-40B4-BE49-F238E27FC236}">
                    <a16:creationId xmlns:a16="http://schemas.microsoft.com/office/drawing/2014/main" id="{C9BE7923-555B-1549-859B-5F765593DB2C}"/>
                  </a:ext>
                </a:extLst>
              </p:cNvPr>
              <p:cNvSpPr>
                <a:spLocks/>
              </p:cNvSpPr>
              <p:nvPr/>
            </p:nvSpPr>
            <p:spPr bwMode="auto">
              <a:xfrm>
                <a:off x="3561344" y="3939983"/>
                <a:ext cx="44450" cy="22225"/>
              </a:xfrm>
              <a:custGeom>
                <a:avLst/>
                <a:gdLst>
                  <a:gd name="T0" fmla="*/ 23 w 56"/>
                  <a:gd name="T1" fmla="*/ 25 h 27"/>
                  <a:gd name="T2" fmla="*/ 27 w 56"/>
                  <a:gd name="T3" fmla="*/ 25 h 27"/>
                  <a:gd name="T4" fmla="*/ 27 w 56"/>
                  <a:gd name="T5" fmla="*/ 25 h 27"/>
                  <a:gd name="T6" fmla="*/ 29 w 56"/>
                  <a:gd name="T7" fmla="*/ 25 h 27"/>
                  <a:gd name="T8" fmla="*/ 31 w 56"/>
                  <a:gd name="T9" fmla="*/ 25 h 27"/>
                  <a:gd name="T10" fmla="*/ 35 w 56"/>
                  <a:gd name="T11" fmla="*/ 25 h 27"/>
                  <a:gd name="T12" fmla="*/ 40 w 56"/>
                  <a:gd name="T13" fmla="*/ 23 h 27"/>
                  <a:gd name="T14" fmla="*/ 44 w 56"/>
                  <a:gd name="T15" fmla="*/ 23 h 27"/>
                  <a:gd name="T16" fmla="*/ 48 w 56"/>
                  <a:gd name="T17" fmla="*/ 23 h 27"/>
                  <a:gd name="T18" fmla="*/ 52 w 56"/>
                  <a:gd name="T19" fmla="*/ 19 h 27"/>
                  <a:gd name="T20" fmla="*/ 54 w 56"/>
                  <a:gd name="T21" fmla="*/ 15 h 27"/>
                  <a:gd name="T22" fmla="*/ 56 w 56"/>
                  <a:gd name="T23" fmla="*/ 13 h 27"/>
                  <a:gd name="T24" fmla="*/ 52 w 56"/>
                  <a:gd name="T25" fmla="*/ 9 h 27"/>
                  <a:gd name="T26" fmla="*/ 46 w 56"/>
                  <a:gd name="T27" fmla="*/ 8 h 27"/>
                  <a:gd name="T28" fmla="*/ 42 w 56"/>
                  <a:gd name="T29" fmla="*/ 6 h 27"/>
                  <a:gd name="T30" fmla="*/ 40 w 56"/>
                  <a:gd name="T31" fmla="*/ 6 h 27"/>
                  <a:gd name="T32" fmla="*/ 38 w 56"/>
                  <a:gd name="T33" fmla="*/ 4 h 27"/>
                  <a:gd name="T34" fmla="*/ 36 w 56"/>
                  <a:gd name="T35" fmla="*/ 4 h 27"/>
                  <a:gd name="T36" fmla="*/ 27 w 56"/>
                  <a:gd name="T37" fmla="*/ 0 h 27"/>
                  <a:gd name="T38" fmla="*/ 19 w 56"/>
                  <a:gd name="T39" fmla="*/ 2 h 27"/>
                  <a:gd name="T40" fmla="*/ 13 w 56"/>
                  <a:gd name="T41" fmla="*/ 2 h 27"/>
                  <a:gd name="T42" fmla="*/ 8 w 56"/>
                  <a:gd name="T43" fmla="*/ 0 h 27"/>
                  <a:gd name="T44" fmla="*/ 6 w 56"/>
                  <a:gd name="T45" fmla="*/ 6 h 27"/>
                  <a:gd name="T46" fmla="*/ 6 w 56"/>
                  <a:gd name="T47" fmla="*/ 9 h 27"/>
                  <a:gd name="T48" fmla="*/ 6 w 56"/>
                  <a:gd name="T49" fmla="*/ 9 h 27"/>
                  <a:gd name="T50" fmla="*/ 4 w 56"/>
                  <a:gd name="T51" fmla="*/ 11 h 27"/>
                  <a:gd name="T52" fmla="*/ 2 w 56"/>
                  <a:gd name="T53" fmla="*/ 11 h 27"/>
                  <a:gd name="T54" fmla="*/ 0 w 56"/>
                  <a:gd name="T55" fmla="*/ 13 h 27"/>
                  <a:gd name="T56" fmla="*/ 0 w 56"/>
                  <a:gd name="T57" fmla="*/ 15 h 27"/>
                  <a:gd name="T58" fmla="*/ 2 w 56"/>
                  <a:gd name="T59" fmla="*/ 19 h 27"/>
                  <a:gd name="T60" fmla="*/ 4 w 56"/>
                  <a:gd name="T61" fmla="*/ 21 h 27"/>
                  <a:gd name="T62" fmla="*/ 6 w 56"/>
                  <a:gd name="T63" fmla="*/ 23 h 27"/>
                  <a:gd name="T64" fmla="*/ 8 w 56"/>
                  <a:gd name="T65" fmla="*/ 23 h 27"/>
                  <a:gd name="T66" fmla="*/ 6 w 56"/>
                  <a:gd name="T67" fmla="*/ 27 h 27"/>
                  <a:gd name="T68" fmla="*/ 6 w 56"/>
                  <a:gd name="T69" fmla="*/ 27 h 27"/>
                  <a:gd name="T70" fmla="*/ 23 w 56"/>
                  <a:gd name="T71" fmla="*/ 25 h 27"/>
                  <a:gd name="T72" fmla="*/ 23 w 56"/>
                  <a:gd name="T7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27">
                    <a:moveTo>
                      <a:pt x="23" y="25"/>
                    </a:moveTo>
                    <a:lnTo>
                      <a:pt x="27" y="25"/>
                    </a:lnTo>
                    <a:lnTo>
                      <a:pt x="27" y="25"/>
                    </a:lnTo>
                    <a:lnTo>
                      <a:pt x="29" y="25"/>
                    </a:lnTo>
                    <a:lnTo>
                      <a:pt x="31" y="25"/>
                    </a:lnTo>
                    <a:lnTo>
                      <a:pt x="35" y="25"/>
                    </a:lnTo>
                    <a:lnTo>
                      <a:pt x="40" y="23"/>
                    </a:lnTo>
                    <a:lnTo>
                      <a:pt x="44" y="23"/>
                    </a:lnTo>
                    <a:lnTo>
                      <a:pt x="48" y="23"/>
                    </a:lnTo>
                    <a:lnTo>
                      <a:pt x="52" y="19"/>
                    </a:lnTo>
                    <a:lnTo>
                      <a:pt x="54" y="15"/>
                    </a:lnTo>
                    <a:lnTo>
                      <a:pt x="56" y="13"/>
                    </a:lnTo>
                    <a:lnTo>
                      <a:pt x="52" y="9"/>
                    </a:lnTo>
                    <a:lnTo>
                      <a:pt x="46" y="8"/>
                    </a:lnTo>
                    <a:lnTo>
                      <a:pt x="42" y="6"/>
                    </a:lnTo>
                    <a:lnTo>
                      <a:pt x="40" y="6"/>
                    </a:lnTo>
                    <a:lnTo>
                      <a:pt x="38" y="4"/>
                    </a:lnTo>
                    <a:lnTo>
                      <a:pt x="36" y="4"/>
                    </a:lnTo>
                    <a:lnTo>
                      <a:pt x="27" y="0"/>
                    </a:lnTo>
                    <a:lnTo>
                      <a:pt x="19" y="2"/>
                    </a:lnTo>
                    <a:lnTo>
                      <a:pt x="13" y="2"/>
                    </a:lnTo>
                    <a:lnTo>
                      <a:pt x="8" y="0"/>
                    </a:lnTo>
                    <a:lnTo>
                      <a:pt x="6" y="6"/>
                    </a:lnTo>
                    <a:lnTo>
                      <a:pt x="6" y="9"/>
                    </a:lnTo>
                    <a:lnTo>
                      <a:pt x="6" y="9"/>
                    </a:lnTo>
                    <a:lnTo>
                      <a:pt x="4" y="11"/>
                    </a:lnTo>
                    <a:lnTo>
                      <a:pt x="2" y="11"/>
                    </a:lnTo>
                    <a:lnTo>
                      <a:pt x="0" y="13"/>
                    </a:lnTo>
                    <a:lnTo>
                      <a:pt x="0" y="15"/>
                    </a:lnTo>
                    <a:lnTo>
                      <a:pt x="2" y="19"/>
                    </a:lnTo>
                    <a:lnTo>
                      <a:pt x="4" y="21"/>
                    </a:lnTo>
                    <a:lnTo>
                      <a:pt x="6" y="23"/>
                    </a:lnTo>
                    <a:lnTo>
                      <a:pt x="8" y="23"/>
                    </a:lnTo>
                    <a:lnTo>
                      <a:pt x="6" y="27"/>
                    </a:lnTo>
                    <a:lnTo>
                      <a:pt x="6" y="27"/>
                    </a:lnTo>
                    <a:lnTo>
                      <a:pt x="23" y="25"/>
                    </a:lnTo>
                    <a:lnTo>
                      <a:pt x="23" y="25"/>
                    </a:lnTo>
                  </a:path>
                </a:pathLst>
              </a:custGeom>
              <a:grpFill/>
              <a:ln w="3175">
                <a:solidFill>
                  <a:schemeClr val="bg1">
                    <a:lumMod val="95000"/>
                  </a:schemeClr>
                </a:solid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dirty="0">
                  <a:solidFill>
                    <a:srgbClr val="001965"/>
                  </a:solidFill>
                  <a:latin typeface="NeueHaasGroteskDisp Pro" panose="020B0504020202020204" pitchFamily="34" charset="0"/>
                  <a:cs typeface="NeueHaasGroteskDisp Pro" charset="0"/>
                </a:endParaRPr>
              </a:p>
            </p:txBody>
          </p:sp>
        </p:grpSp>
      </p:grpSp>
      <p:sp>
        <p:nvSpPr>
          <p:cNvPr id="190" name="Rectangle 189">
            <a:extLst>
              <a:ext uri="{FF2B5EF4-FFF2-40B4-BE49-F238E27FC236}">
                <a16:creationId xmlns:a16="http://schemas.microsoft.com/office/drawing/2014/main" id="{044D9859-A1B2-154B-98EA-BA43CC2B9DE5}"/>
              </a:ext>
            </a:extLst>
          </p:cNvPr>
          <p:cNvSpPr/>
          <p:nvPr/>
        </p:nvSpPr>
        <p:spPr>
          <a:xfrm>
            <a:off x="1776224" y="2147392"/>
            <a:ext cx="2576114" cy="830997"/>
          </a:xfrm>
          <a:prstGeom prst="rect">
            <a:avLst/>
          </a:prstGeom>
        </p:spPr>
        <p:txBody>
          <a:bodyPr wrap="square">
            <a:spAutoFit/>
          </a:bodyPr>
          <a:lstStyle/>
          <a:p>
            <a:r>
              <a:rPr lang="nb-NO" sz="4800" b="1" dirty="0">
                <a:solidFill>
                  <a:srgbClr val="3E1C84"/>
                </a:solidFill>
                <a:latin typeface="NeueHaasGroteskDisp Pro" panose="020B0504020202020204" pitchFamily="34" charset="77"/>
              </a:rPr>
              <a:t>44.3 M</a:t>
            </a:r>
            <a:endParaRPr lang="en-GB" dirty="0">
              <a:solidFill>
                <a:schemeClr val="tx1">
                  <a:lumMod val="85000"/>
                  <a:lumOff val="15000"/>
                </a:schemeClr>
              </a:solidFill>
              <a:latin typeface="NeueHaasGroteskDisp Pro" panose="020B0504020202020204" pitchFamily="34" charset="77"/>
            </a:endParaRPr>
          </a:p>
        </p:txBody>
      </p:sp>
      <p:sp>
        <p:nvSpPr>
          <p:cNvPr id="191" name="Rectangle 190">
            <a:extLst>
              <a:ext uri="{FF2B5EF4-FFF2-40B4-BE49-F238E27FC236}">
                <a16:creationId xmlns:a16="http://schemas.microsoft.com/office/drawing/2014/main" id="{17BD77AC-D813-A34C-A793-611E1A5FF70B}"/>
              </a:ext>
            </a:extLst>
          </p:cNvPr>
          <p:cNvSpPr/>
          <p:nvPr/>
        </p:nvSpPr>
        <p:spPr>
          <a:xfrm>
            <a:off x="1776224" y="2780005"/>
            <a:ext cx="1704577" cy="584775"/>
          </a:xfrm>
          <a:prstGeom prst="rect">
            <a:avLst/>
          </a:prstGeom>
        </p:spPr>
        <p:txBody>
          <a:bodyPr wrap="square">
            <a:spAutoFit/>
          </a:bodyPr>
          <a:lstStyle/>
          <a:p>
            <a:r>
              <a:rPr lang="en-GB" sz="1600" dirty="0">
                <a:solidFill>
                  <a:schemeClr val="tx1">
                    <a:lumMod val="85000"/>
                    <a:lumOff val="15000"/>
                  </a:schemeClr>
                </a:solidFill>
                <a:latin typeface="NeueHaasGroteskDisp Pro" panose="020B0504020202020204" pitchFamily="34" charset="77"/>
              </a:rPr>
              <a:t>North America </a:t>
            </a:r>
            <a:br>
              <a:rPr lang="en-GB" sz="1600" dirty="0">
                <a:solidFill>
                  <a:schemeClr val="tx1">
                    <a:lumMod val="85000"/>
                    <a:lumOff val="15000"/>
                  </a:schemeClr>
                </a:solidFill>
                <a:latin typeface="NeueHaasGroteskDisp Pro" panose="020B0504020202020204" pitchFamily="34" charset="77"/>
              </a:rPr>
            </a:br>
            <a:r>
              <a:rPr lang="en-GB" sz="1600" dirty="0">
                <a:solidFill>
                  <a:schemeClr val="tx1">
                    <a:lumMod val="85000"/>
                    <a:lumOff val="15000"/>
                  </a:schemeClr>
                </a:solidFill>
                <a:latin typeface="NeueHaasGroteskDisp Pro" panose="020B0504020202020204" pitchFamily="34" charset="77"/>
              </a:rPr>
              <a:t>&amp; Caribbean</a:t>
            </a:r>
            <a:endParaRPr lang="en-US" sz="1600" dirty="0">
              <a:latin typeface="NeueHaasGroteskDisp Pro" panose="020B0504020202020204" pitchFamily="34" charset="0"/>
            </a:endParaRPr>
          </a:p>
        </p:txBody>
      </p:sp>
      <p:sp>
        <p:nvSpPr>
          <p:cNvPr id="192" name="Rectangle 191">
            <a:extLst>
              <a:ext uri="{FF2B5EF4-FFF2-40B4-BE49-F238E27FC236}">
                <a16:creationId xmlns:a16="http://schemas.microsoft.com/office/drawing/2014/main" id="{2A19B412-EC62-024F-B8EE-786736E61C27}"/>
              </a:ext>
            </a:extLst>
          </p:cNvPr>
          <p:cNvSpPr/>
          <p:nvPr/>
        </p:nvSpPr>
        <p:spPr>
          <a:xfrm>
            <a:off x="5963450" y="3592982"/>
            <a:ext cx="2018902" cy="830997"/>
          </a:xfrm>
          <a:prstGeom prst="rect">
            <a:avLst/>
          </a:prstGeom>
        </p:spPr>
        <p:txBody>
          <a:bodyPr wrap="square">
            <a:spAutoFit/>
          </a:bodyPr>
          <a:lstStyle/>
          <a:p>
            <a:r>
              <a:rPr lang="nb-NO" sz="4800" b="1" dirty="0">
                <a:solidFill>
                  <a:srgbClr val="3E1C84"/>
                </a:solidFill>
                <a:latin typeface="NeueHaasGroteskDisp Pro" panose="020B0504020202020204" pitchFamily="34" charset="77"/>
              </a:rPr>
              <a:t>14.2 M</a:t>
            </a:r>
            <a:endParaRPr lang="en-GB" dirty="0">
              <a:solidFill>
                <a:schemeClr val="tx1">
                  <a:lumMod val="85000"/>
                  <a:lumOff val="15000"/>
                </a:schemeClr>
              </a:solidFill>
              <a:latin typeface="NeueHaasGroteskDisp Pro" panose="020B0504020202020204" pitchFamily="34" charset="77"/>
            </a:endParaRPr>
          </a:p>
        </p:txBody>
      </p:sp>
      <p:sp>
        <p:nvSpPr>
          <p:cNvPr id="193" name="Rectangle 192">
            <a:extLst>
              <a:ext uri="{FF2B5EF4-FFF2-40B4-BE49-F238E27FC236}">
                <a16:creationId xmlns:a16="http://schemas.microsoft.com/office/drawing/2014/main" id="{C0A55C55-9936-CF4D-9C35-CA78B55E1178}"/>
              </a:ext>
            </a:extLst>
          </p:cNvPr>
          <p:cNvSpPr/>
          <p:nvPr/>
        </p:nvSpPr>
        <p:spPr>
          <a:xfrm>
            <a:off x="5963450" y="4225595"/>
            <a:ext cx="1704577" cy="338554"/>
          </a:xfrm>
          <a:prstGeom prst="rect">
            <a:avLst/>
          </a:prstGeom>
        </p:spPr>
        <p:txBody>
          <a:bodyPr wrap="square">
            <a:spAutoFit/>
          </a:bodyPr>
          <a:lstStyle/>
          <a:p>
            <a:r>
              <a:rPr lang="en-GB" sz="1600" dirty="0">
                <a:solidFill>
                  <a:schemeClr val="tx1">
                    <a:lumMod val="85000"/>
                    <a:lumOff val="15000"/>
                  </a:schemeClr>
                </a:solidFill>
                <a:latin typeface="NeueHaasGroteskDisp Pro" panose="020B0504020202020204" pitchFamily="34" charset="77"/>
              </a:rPr>
              <a:t>Africa</a:t>
            </a:r>
            <a:endParaRPr lang="en-US" sz="1600" dirty="0">
              <a:latin typeface="NeueHaasGroteskDisp Pro" panose="020B0504020202020204" pitchFamily="34" charset="0"/>
            </a:endParaRPr>
          </a:p>
        </p:txBody>
      </p:sp>
      <p:sp>
        <p:nvSpPr>
          <p:cNvPr id="194" name="Rectangle 193">
            <a:extLst>
              <a:ext uri="{FF2B5EF4-FFF2-40B4-BE49-F238E27FC236}">
                <a16:creationId xmlns:a16="http://schemas.microsoft.com/office/drawing/2014/main" id="{3D3C3219-5563-C84C-9A90-7D88CBBDB90F}"/>
              </a:ext>
            </a:extLst>
          </p:cNvPr>
          <p:cNvSpPr/>
          <p:nvPr/>
        </p:nvSpPr>
        <p:spPr>
          <a:xfrm>
            <a:off x="9634736" y="4296382"/>
            <a:ext cx="2276077" cy="830997"/>
          </a:xfrm>
          <a:prstGeom prst="rect">
            <a:avLst/>
          </a:prstGeom>
        </p:spPr>
        <p:txBody>
          <a:bodyPr wrap="square">
            <a:spAutoFit/>
          </a:bodyPr>
          <a:lstStyle/>
          <a:p>
            <a:r>
              <a:rPr lang="nb-NO" sz="4800" b="1" dirty="0">
                <a:solidFill>
                  <a:srgbClr val="3E1C84"/>
                </a:solidFill>
                <a:latin typeface="NeueHaasGroteskDisp Pro" panose="020B0504020202020204" pitchFamily="34" charset="77"/>
              </a:rPr>
              <a:t>153.2 M</a:t>
            </a:r>
            <a:endParaRPr lang="en-GB" dirty="0">
              <a:solidFill>
                <a:schemeClr val="tx1">
                  <a:lumMod val="85000"/>
                  <a:lumOff val="15000"/>
                </a:schemeClr>
              </a:solidFill>
              <a:latin typeface="NeueHaasGroteskDisp Pro" panose="020B0504020202020204" pitchFamily="34" charset="77"/>
            </a:endParaRPr>
          </a:p>
        </p:txBody>
      </p:sp>
      <p:sp>
        <p:nvSpPr>
          <p:cNvPr id="195" name="Rectangle 194">
            <a:extLst>
              <a:ext uri="{FF2B5EF4-FFF2-40B4-BE49-F238E27FC236}">
                <a16:creationId xmlns:a16="http://schemas.microsoft.com/office/drawing/2014/main" id="{D1DD1E24-36B4-C444-A447-0451346D0C87}"/>
              </a:ext>
            </a:extLst>
          </p:cNvPr>
          <p:cNvSpPr/>
          <p:nvPr/>
        </p:nvSpPr>
        <p:spPr>
          <a:xfrm>
            <a:off x="9634737" y="4928995"/>
            <a:ext cx="1704577" cy="338554"/>
          </a:xfrm>
          <a:prstGeom prst="rect">
            <a:avLst/>
          </a:prstGeom>
        </p:spPr>
        <p:txBody>
          <a:bodyPr wrap="square">
            <a:spAutoFit/>
          </a:bodyPr>
          <a:lstStyle/>
          <a:p>
            <a:r>
              <a:rPr lang="en-GB" sz="1600" dirty="0">
                <a:solidFill>
                  <a:schemeClr val="tx1">
                    <a:lumMod val="85000"/>
                    <a:lumOff val="15000"/>
                  </a:schemeClr>
                </a:solidFill>
                <a:latin typeface="NeueHaasGroteskDisp Pro" panose="020B0504020202020204" pitchFamily="34" charset="77"/>
              </a:rPr>
              <a:t>Western Pacific</a:t>
            </a:r>
            <a:endParaRPr lang="en-US" sz="1600" dirty="0">
              <a:latin typeface="NeueHaasGroteskDisp Pro" panose="020B0504020202020204" pitchFamily="34" charset="0"/>
            </a:endParaRPr>
          </a:p>
        </p:txBody>
      </p:sp>
      <p:sp>
        <p:nvSpPr>
          <p:cNvPr id="196" name="Rectangle 195">
            <a:extLst>
              <a:ext uri="{FF2B5EF4-FFF2-40B4-BE49-F238E27FC236}">
                <a16:creationId xmlns:a16="http://schemas.microsoft.com/office/drawing/2014/main" id="{48ACE22B-493A-2E45-BF1A-A933BDDF6897}"/>
              </a:ext>
            </a:extLst>
          </p:cNvPr>
          <p:cNvSpPr/>
          <p:nvPr/>
        </p:nvSpPr>
        <p:spPr>
          <a:xfrm>
            <a:off x="9068198" y="3112070"/>
            <a:ext cx="2018902" cy="830997"/>
          </a:xfrm>
          <a:prstGeom prst="rect">
            <a:avLst/>
          </a:prstGeom>
        </p:spPr>
        <p:txBody>
          <a:bodyPr wrap="square">
            <a:spAutoFit/>
          </a:bodyPr>
          <a:lstStyle/>
          <a:p>
            <a:r>
              <a:rPr lang="nb-NO" sz="4800" b="1" dirty="0">
                <a:solidFill>
                  <a:srgbClr val="3E1C84"/>
                </a:solidFill>
                <a:latin typeface="NeueHaasGroteskDisp Pro" panose="020B0504020202020204" pitchFamily="34" charset="77"/>
              </a:rPr>
              <a:t>78.3 M</a:t>
            </a:r>
            <a:endParaRPr lang="en-GB" dirty="0">
              <a:solidFill>
                <a:schemeClr val="tx1">
                  <a:lumMod val="85000"/>
                  <a:lumOff val="15000"/>
                </a:schemeClr>
              </a:solidFill>
              <a:latin typeface="NeueHaasGroteskDisp Pro" panose="020B0504020202020204" pitchFamily="34" charset="77"/>
            </a:endParaRPr>
          </a:p>
        </p:txBody>
      </p:sp>
      <p:sp>
        <p:nvSpPr>
          <p:cNvPr id="197" name="Rectangle 196">
            <a:extLst>
              <a:ext uri="{FF2B5EF4-FFF2-40B4-BE49-F238E27FC236}">
                <a16:creationId xmlns:a16="http://schemas.microsoft.com/office/drawing/2014/main" id="{7BA58E2F-33ED-3247-90E3-BAA914DB7964}"/>
              </a:ext>
            </a:extLst>
          </p:cNvPr>
          <p:cNvSpPr/>
          <p:nvPr/>
        </p:nvSpPr>
        <p:spPr>
          <a:xfrm>
            <a:off x="9068198" y="3744683"/>
            <a:ext cx="1704577" cy="338554"/>
          </a:xfrm>
          <a:prstGeom prst="rect">
            <a:avLst/>
          </a:prstGeom>
        </p:spPr>
        <p:txBody>
          <a:bodyPr wrap="square">
            <a:spAutoFit/>
          </a:bodyPr>
          <a:lstStyle/>
          <a:p>
            <a:r>
              <a:rPr lang="en-GB" sz="1600" dirty="0">
                <a:solidFill>
                  <a:schemeClr val="tx1">
                    <a:lumMod val="85000"/>
                    <a:lumOff val="15000"/>
                  </a:schemeClr>
                </a:solidFill>
                <a:latin typeface="NeueHaasGroteskDisp Pro" panose="020B0504020202020204" pitchFamily="34" charset="77"/>
              </a:rPr>
              <a:t>South East Asia</a:t>
            </a:r>
            <a:endParaRPr lang="en-US" sz="1600" dirty="0">
              <a:latin typeface="NeueHaasGroteskDisp Pro" panose="020B0504020202020204" pitchFamily="34" charset="0"/>
            </a:endParaRPr>
          </a:p>
        </p:txBody>
      </p:sp>
      <p:sp>
        <p:nvSpPr>
          <p:cNvPr id="198" name="Rectangle 197">
            <a:extLst>
              <a:ext uri="{FF2B5EF4-FFF2-40B4-BE49-F238E27FC236}">
                <a16:creationId xmlns:a16="http://schemas.microsoft.com/office/drawing/2014/main" id="{B50A6B45-3390-6541-8FB0-CB1EE24AC92F}"/>
              </a:ext>
            </a:extLst>
          </p:cNvPr>
          <p:cNvSpPr/>
          <p:nvPr/>
        </p:nvSpPr>
        <p:spPr>
          <a:xfrm>
            <a:off x="5352463" y="1510906"/>
            <a:ext cx="2258412" cy="830997"/>
          </a:xfrm>
          <a:prstGeom prst="rect">
            <a:avLst/>
          </a:prstGeom>
        </p:spPr>
        <p:txBody>
          <a:bodyPr wrap="square">
            <a:spAutoFit/>
          </a:bodyPr>
          <a:lstStyle/>
          <a:p>
            <a:r>
              <a:rPr lang="nb-NO" sz="4800" b="1" dirty="0">
                <a:solidFill>
                  <a:srgbClr val="3E1C84"/>
                </a:solidFill>
                <a:latin typeface="NeueHaasGroteskDisp Pro" panose="020B0504020202020204" pitchFamily="34" charset="77"/>
              </a:rPr>
              <a:t>59.8 M</a:t>
            </a:r>
            <a:endParaRPr lang="en-GB" dirty="0">
              <a:solidFill>
                <a:schemeClr val="tx1">
                  <a:lumMod val="85000"/>
                  <a:lumOff val="15000"/>
                </a:schemeClr>
              </a:solidFill>
              <a:latin typeface="NeueHaasGroteskDisp Pro" panose="020B0504020202020204" pitchFamily="34" charset="77"/>
            </a:endParaRPr>
          </a:p>
        </p:txBody>
      </p:sp>
      <p:sp>
        <p:nvSpPr>
          <p:cNvPr id="199" name="Rectangle 198">
            <a:extLst>
              <a:ext uri="{FF2B5EF4-FFF2-40B4-BE49-F238E27FC236}">
                <a16:creationId xmlns:a16="http://schemas.microsoft.com/office/drawing/2014/main" id="{82D35552-75BB-D946-A0FB-75A379F8C6E8}"/>
              </a:ext>
            </a:extLst>
          </p:cNvPr>
          <p:cNvSpPr/>
          <p:nvPr/>
        </p:nvSpPr>
        <p:spPr>
          <a:xfrm>
            <a:off x="5352463" y="2143519"/>
            <a:ext cx="1704577" cy="338554"/>
          </a:xfrm>
          <a:prstGeom prst="rect">
            <a:avLst/>
          </a:prstGeom>
        </p:spPr>
        <p:txBody>
          <a:bodyPr wrap="square">
            <a:spAutoFit/>
          </a:bodyPr>
          <a:lstStyle/>
          <a:p>
            <a:r>
              <a:rPr lang="en-GB" sz="1600" dirty="0">
                <a:solidFill>
                  <a:schemeClr val="tx1">
                    <a:lumMod val="85000"/>
                    <a:lumOff val="15000"/>
                  </a:schemeClr>
                </a:solidFill>
                <a:latin typeface="NeueHaasGroteskDisp Pro" panose="020B0504020202020204" pitchFamily="34" charset="77"/>
              </a:rPr>
              <a:t>Europe</a:t>
            </a:r>
            <a:endParaRPr lang="en-US" sz="1600" dirty="0">
              <a:latin typeface="NeueHaasGroteskDisp Pro" panose="020B0504020202020204" pitchFamily="34" charset="0"/>
            </a:endParaRPr>
          </a:p>
        </p:txBody>
      </p:sp>
      <p:sp>
        <p:nvSpPr>
          <p:cNvPr id="200" name="Rectangle 199">
            <a:extLst>
              <a:ext uri="{FF2B5EF4-FFF2-40B4-BE49-F238E27FC236}">
                <a16:creationId xmlns:a16="http://schemas.microsoft.com/office/drawing/2014/main" id="{5BF86B26-A66C-4A4B-8E21-C202BE3C89E5}"/>
              </a:ext>
            </a:extLst>
          </p:cNvPr>
          <p:cNvSpPr/>
          <p:nvPr/>
        </p:nvSpPr>
        <p:spPr>
          <a:xfrm>
            <a:off x="7181266" y="2197321"/>
            <a:ext cx="2085975" cy="830997"/>
          </a:xfrm>
          <a:prstGeom prst="rect">
            <a:avLst/>
          </a:prstGeom>
        </p:spPr>
        <p:txBody>
          <a:bodyPr wrap="square">
            <a:spAutoFit/>
          </a:bodyPr>
          <a:lstStyle/>
          <a:p>
            <a:r>
              <a:rPr lang="nb-NO" sz="4800" b="1" dirty="0">
                <a:solidFill>
                  <a:srgbClr val="3E1C84"/>
                </a:solidFill>
                <a:latin typeface="NeueHaasGroteskDisp Pro" panose="020B0504020202020204" pitchFamily="34" charset="77"/>
              </a:rPr>
              <a:t>35.4 M</a:t>
            </a:r>
            <a:endParaRPr lang="en-GB" dirty="0">
              <a:solidFill>
                <a:schemeClr val="tx1">
                  <a:lumMod val="85000"/>
                  <a:lumOff val="15000"/>
                </a:schemeClr>
              </a:solidFill>
              <a:latin typeface="NeueHaasGroteskDisp Pro" panose="020B0504020202020204" pitchFamily="34" charset="77"/>
            </a:endParaRPr>
          </a:p>
        </p:txBody>
      </p:sp>
      <p:sp>
        <p:nvSpPr>
          <p:cNvPr id="201" name="Rectangle 200">
            <a:extLst>
              <a:ext uri="{FF2B5EF4-FFF2-40B4-BE49-F238E27FC236}">
                <a16:creationId xmlns:a16="http://schemas.microsoft.com/office/drawing/2014/main" id="{D2F11077-2EE1-484C-96D8-00741B482805}"/>
              </a:ext>
            </a:extLst>
          </p:cNvPr>
          <p:cNvSpPr/>
          <p:nvPr/>
        </p:nvSpPr>
        <p:spPr>
          <a:xfrm>
            <a:off x="7181267" y="2829934"/>
            <a:ext cx="1704577" cy="584775"/>
          </a:xfrm>
          <a:prstGeom prst="rect">
            <a:avLst/>
          </a:prstGeom>
        </p:spPr>
        <p:txBody>
          <a:bodyPr wrap="square">
            <a:spAutoFit/>
          </a:bodyPr>
          <a:lstStyle/>
          <a:p>
            <a:r>
              <a:rPr lang="en-GB" sz="1600" dirty="0">
                <a:solidFill>
                  <a:schemeClr val="tx1">
                    <a:lumMod val="85000"/>
                    <a:lumOff val="15000"/>
                  </a:schemeClr>
                </a:solidFill>
                <a:latin typeface="NeueHaasGroteskDisp Pro" panose="020B0504020202020204" pitchFamily="34" charset="77"/>
              </a:rPr>
              <a:t>Middle East &amp;</a:t>
            </a:r>
            <a:br>
              <a:rPr lang="en-GB" sz="1600" dirty="0">
                <a:solidFill>
                  <a:schemeClr val="tx1">
                    <a:lumMod val="85000"/>
                    <a:lumOff val="15000"/>
                  </a:schemeClr>
                </a:solidFill>
                <a:latin typeface="NeueHaasGroteskDisp Pro" panose="020B0504020202020204" pitchFamily="34" charset="77"/>
              </a:rPr>
            </a:br>
            <a:r>
              <a:rPr lang="en-GB" sz="1600" dirty="0">
                <a:solidFill>
                  <a:schemeClr val="tx1">
                    <a:lumMod val="85000"/>
                    <a:lumOff val="15000"/>
                  </a:schemeClr>
                </a:solidFill>
                <a:latin typeface="NeueHaasGroteskDisp Pro" panose="020B0504020202020204" pitchFamily="34" charset="77"/>
              </a:rPr>
              <a:t>North Africa</a:t>
            </a:r>
            <a:endParaRPr lang="en-US" sz="1600" dirty="0">
              <a:latin typeface="NeueHaasGroteskDisp Pro" panose="020B0504020202020204" pitchFamily="34" charset="0"/>
            </a:endParaRPr>
          </a:p>
        </p:txBody>
      </p:sp>
      <p:sp>
        <p:nvSpPr>
          <p:cNvPr id="3" name="Slide Number Placeholder 2">
            <a:extLst>
              <a:ext uri="{FF2B5EF4-FFF2-40B4-BE49-F238E27FC236}">
                <a16:creationId xmlns:a16="http://schemas.microsoft.com/office/drawing/2014/main" id="{5829206B-C6DE-9840-AB21-8E8CCC56FB43}"/>
              </a:ext>
            </a:extLst>
          </p:cNvPr>
          <p:cNvSpPr>
            <a:spLocks noGrp="1"/>
          </p:cNvSpPr>
          <p:nvPr>
            <p:ph type="sldNum" sz="quarter" idx="12"/>
          </p:nvPr>
        </p:nvSpPr>
        <p:spPr/>
        <p:txBody>
          <a:bodyPr/>
          <a:lstStyle/>
          <a:p>
            <a:fld id="{7F43BC75-A8B3-524C-9CB1-17F14D0EA8E1}" type="slidenum">
              <a:rPr lang="en-US" smtClean="0"/>
              <a:pPr/>
              <a:t>48</a:t>
            </a:fld>
            <a:endParaRPr lang="en-US" dirty="0"/>
          </a:p>
        </p:txBody>
      </p:sp>
    </p:spTree>
    <p:extLst>
      <p:ext uri="{BB962C8B-B14F-4D97-AF65-F5344CB8AC3E}">
        <p14:creationId xmlns:p14="http://schemas.microsoft.com/office/powerpoint/2010/main" val="38716154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428D3-A6E2-4D53-99AE-740D17A5F22E}"/>
              </a:ext>
            </a:extLst>
          </p:cNvPr>
          <p:cNvSpPr>
            <a:spLocks noGrp="1"/>
          </p:cNvSpPr>
          <p:nvPr>
            <p:ph type="title"/>
          </p:nvPr>
        </p:nvSpPr>
        <p:spPr/>
        <p:txBody>
          <a:bodyPr/>
          <a:lstStyle/>
          <a:p>
            <a:r>
              <a:rPr lang="en-US" dirty="0"/>
              <a:t>Notes</a:t>
            </a:r>
          </a:p>
        </p:txBody>
      </p:sp>
      <p:sp>
        <p:nvSpPr>
          <p:cNvPr id="3" name="Content Placeholder 2">
            <a:extLst>
              <a:ext uri="{FF2B5EF4-FFF2-40B4-BE49-F238E27FC236}">
                <a16:creationId xmlns:a16="http://schemas.microsoft.com/office/drawing/2014/main" id="{54F5D289-C30D-4FE2-9E95-273A85B4C81E}"/>
              </a:ext>
            </a:extLst>
          </p:cNvPr>
          <p:cNvSpPr>
            <a:spLocks noGrp="1"/>
          </p:cNvSpPr>
          <p:nvPr>
            <p:ph idx="1"/>
          </p:nvPr>
        </p:nvSpPr>
        <p:spPr/>
        <p:txBody>
          <a:bodyPr>
            <a:normAutofit/>
          </a:bodyPr>
          <a:lstStyle/>
          <a:p>
            <a:pPr marL="457200" indent="-457200">
              <a:buFont typeface="NeueHaasGroteskDisp Pro" panose="020B0604020202020204" pitchFamily="34" charset="0"/>
              <a:buChar char="•"/>
            </a:pPr>
            <a:r>
              <a:rPr lang="en-US" sz="2400" dirty="0">
                <a:latin typeface="NeueHaasGroteskDisp Pro" panose="020B0504020202020204" pitchFamily="34" charset="77"/>
              </a:rPr>
              <a:t>1</a:t>
            </a:r>
            <a:r>
              <a:rPr lang="en-US" sz="2400" baseline="30000" dirty="0">
                <a:latin typeface="NeueHaasGroteskDisp Pro" panose="020B0504020202020204" pitchFamily="34" charset="77"/>
              </a:rPr>
              <a:t>st</a:t>
            </a:r>
            <a:r>
              <a:rPr lang="en-US" sz="2400" dirty="0">
                <a:latin typeface="NeueHaasGroteskDisp Pro" panose="020B0504020202020204" pitchFamily="34" charset="77"/>
              </a:rPr>
              <a:t> footer can be used for citations or for Presentation Title</a:t>
            </a:r>
          </a:p>
          <a:p>
            <a:pPr marL="457200" indent="-457200">
              <a:buFont typeface="NeueHaasGroteskDisp Pro" panose="020B0604020202020204" pitchFamily="34" charset="0"/>
              <a:buChar char="•"/>
            </a:pPr>
            <a:r>
              <a:rPr lang="en-US" sz="2400" dirty="0">
                <a:latin typeface="NeueHaasGroteskDisp Pro" panose="020B0504020202020204" pitchFamily="34" charset="77"/>
              </a:rPr>
              <a:t>2</a:t>
            </a:r>
            <a:r>
              <a:rPr lang="en-US" sz="2400" baseline="30000" dirty="0">
                <a:latin typeface="NeueHaasGroteskDisp Pro" panose="020B0504020202020204" pitchFamily="34" charset="77"/>
              </a:rPr>
              <a:t>nd</a:t>
            </a:r>
            <a:r>
              <a:rPr lang="en-US" sz="2400" dirty="0">
                <a:latin typeface="NeueHaasGroteskDisp Pro" panose="020B0504020202020204" pitchFamily="34" charset="77"/>
              </a:rPr>
              <a:t> footer is for date: can be set to auto-update on master slide, or can manually input date</a:t>
            </a:r>
          </a:p>
          <a:p>
            <a:pPr marL="457200" indent="-457200">
              <a:buFont typeface="NeueHaasGroteskDisp Pro" panose="020B0604020202020204" pitchFamily="34" charset="0"/>
              <a:buChar char="•"/>
            </a:pPr>
            <a:r>
              <a:rPr lang="en-US" sz="2400" dirty="0">
                <a:latin typeface="NeueHaasGroteskDisp Pro" panose="020B0504020202020204" pitchFamily="34" charset="77"/>
              </a:rPr>
              <a:t>If page number not showing because of image/graphic, can update color to one of the VIS colors</a:t>
            </a:r>
          </a:p>
          <a:p>
            <a:pPr marL="457200" indent="-457200">
              <a:buFont typeface="NeueHaasGroteskDisp Pro" panose="020B0604020202020204" pitchFamily="34" charset="0"/>
              <a:buChar char="•"/>
            </a:pPr>
            <a:r>
              <a:rPr lang="en-US" sz="2400" dirty="0">
                <a:latin typeface="NeueHaasGroteskDisp Pro" panose="020B0504020202020204" pitchFamily="34" charset="77"/>
              </a:rPr>
              <a:t>If you need any help or custom data visualizations, please email </a:t>
            </a:r>
            <a:r>
              <a:rPr lang="en-US" sz="2400" dirty="0">
                <a:latin typeface="NeueHaasGroteskDisp Pro" panose="020B0504020202020204" pitchFamily="34" charset="77"/>
                <a:hlinkClick r:id="rId2">
                  <a:extLst>
                    <a:ext uri="{A12FA001-AC4F-418D-AE19-62706E023703}">
                      <ahyp:hlinkClr xmlns:ahyp="http://schemas.microsoft.com/office/drawing/2018/hyperlinkcolor" val="tx"/>
                    </a:ext>
                  </a:extLst>
                </a:hlinkClick>
              </a:rPr>
              <a:t>creativemedia@pbrc.edu</a:t>
            </a:r>
            <a:r>
              <a:rPr lang="en-US" sz="2400" dirty="0">
                <a:latin typeface="NeueHaasGroteskDisp Pro" panose="020B0504020202020204" pitchFamily="34" charset="77"/>
              </a:rPr>
              <a:t> with the Creative Request form</a:t>
            </a:r>
          </a:p>
          <a:p>
            <a:pPr marL="457200" indent="-457200">
              <a:buFont typeface="NeueHaasGroteskDisp Pro" panose="020B0604020202020204" pitchFamily="34" charset="0"/>
              <a:buChar char="•"/>
            </a:pPr>
            <a:endParaRPr lang="en-US" sz="3200" dirty="0">
              <a:latin typeface="NeueHaasGroteskDisp Pro" panose="020B0504020202020204" pitchFamily="34" charset="77"/>
            </a:endParaRPr>
          </a:p>
        </p:txBody>
      </p:sp>
      <p:sp>
        <p:nvSpPr>
          <p:cNvPr id="4" name="Date Placeholder 3">
            <a:extLst>
              <a:ext uri="{FF2B5EF4-FFF2-40B4-BE49-F238E27FC236}">
                <a16:creationId xmlns:a16="http://schemas.microsoft.com/office/drawing/2014/main" id="{8BF0B9D7-6D4E-42BE-9F37-2077CB40DA9E}"/>
              </a:ext>
            </a:extLst>
          </p:cNvPr>
          <p:cNvSpPr>
            <a:spLocks noGrp="1"/>
          </p:cNvSpPr>
          <p:nvPr>
            <p:ph type="dt" sz="half" idx="10"/>
          </p:nvPr>
        </p:nvSpPr>
        <p:spPr>
          <a:xfrm>
            <a:off x="8806249" y="6129337"/>
            <a:ext cx="1151238" cy="365125"/>
          </a:xfrm>
        </p:spPr>
        <p:txBody>
          <a:bodyPr/>
          <a:lstStyle>
            <a:lvl1pPr algn="r">
              <a:defRPr sz="1000" b="0" i="0">
                <a:solidFill>
                  <a:srgbClr val="41218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5" name="Slide Number Placeholder 5">
            <a:extLst>
              <a:ext uri="{FF2B5EF4-FFF2-40B4-BE49-F238E27FC236}">
                <a16:creationId xmlns:a16="http://schemas.microsoft.com/office/drawing/2014/main" id="{A00EDF59-C274-45D6-AF4F-10F6568D83CF}"/>
              </a:ext>
            </a:extLst>
          </p:cNvPr>
          <p:cNvSpPr>
            <a:spLocks noGrp="1"/>
          </p:cNvSpPr>
          <p:nvPr>
            <p:ph type="sldNum" sz="quarter" idx="12"/>
          </p:nvPr>
        </p:nvSpPr>
        <p:spPr>
          <a:xfrm>
            <a:off x="11236411" y="6129337"/>
            <a:ext cx="463378" cy="365125"/>
          </a:xfrm>
        </p:spPr>
        <p:txBody>
          <a:bodyPr/>
          <a:lstStyle>
            <a:lvl1pPr>
              <a:defRPr sz="1000" b="0" i="0">
                <a:solidFill>
                  <a:srgbClr val="412181"/>
                </a:solidFill>
                <a:latin typeface="NeueHaasGroteskDisp Pro" panose="020B0504020202020204" pitchFamily="34" charset="0"/>
              </a:defRPr>
            </a:lvl1pPr>
          </a:lstStyle>
          <a:p>
            <a:fld id="{7F43BC75-A8B3-524C-9CB1-17F14D0EA8E1}" type="slidenum">
              <a:rPr lang="en-US" smtClean="0"/>
              <a:pPr/>
              <a:t>49</a:t>
            </a:fld>
            <a:endParaRPr lang="en-US" dirty="0">
              <a:latin typeface="NeueHaasGroteskDisp Pro" panose="020B0504020202020204" pitchFamily="34" charset="0"/>
            </a:endParaRPr>
          </a:p>
        </p:txBody>
      </p:sp>
      <p:sp>
        <p:nvSpPr>
          <p:cNvPr id="6" name="Footer Placeholder 4">
            <a:extLst>
              <a:ext uri="{FF2B5EF4-FFF2-40B4-BE49-F238E27FC236}">
                <a16:creationId xmlns:a16="http://schemas.microsoft.com/office/drawing/2014/main" id="{35BCBA31-0712-4181-A969-AECBF39FAEF6}"/>
              </a:ext>
            </a:extLst>
          </p:cNvPr>
          <p:cNvSpPr>
            <a:spLocks noGrp="1"/>
          </p:cNvSpPr>
          <p:nvPr>
            <p:ph type="ftr" sz="quarter" idx="11"/>
          </p:nvPr>
        </p:nvSpPr>
        <p:spPr>
          <a:xfrm>
            <a:off x="6069184" y="6129337"/>
            <a:ext cx="2078038" cy="365125"/>
          </a:xfrm>
        </p:spPr>
        <p:txBody>
          <a:bodyPr/>
          <a:lstStyle>
            <a:lvl1pPr algn="l">
              <a:defRPr sz="1000" b="0" i="0">
                <a:solidFill>
                  <a:srgbClr val="412181"/>
                </a:solidFill>
                <a:latin typeface="NeueHaasGroteskDisp Pro" panose="020B0504020202020204" pitchFamily="34" charset="0"/>
              </a:defRPr>
            </a:lvl1pPr>
          </a:lstStyle>
          <a:p>
            <a:endParaRPr lang="en-US" dirty="0">
              <a:latin typeface="NeueHaasGroteskDisp Pro" panose="020B0504020202020204" pitchFamily="34" charset="0"/>
            </a:endParaRPr>
          </a:p>
        </p:txBody>
      </p:sp>
    </p:spTree>
    <p:extLst>
      <p:ext uri="{BB962C8B-B14F-4D97-AF65-F5344CB8AC3E}">
        <p14:creationId xmlns:p14="http://schemas.microsoft.com/office/powerpoint/2010/main" val="33599997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A1AF136-1C40-E44A-9442-DF1B8E5682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17800" y="541867"/>
            <a:ext cx="9474200" cy="6316133"/>
          </a:xfrm>
          <a:prstGeom prst="rect">
            <a:avLst/>
          </a:prstGeom>
        </p:spPr>
      </p:pic>
      <p:sp>
        <p:nvSpPr>
          <p:cNvPr id="6" name="Title 1">
            <a:extLst>
              <a:ext uri="{FF2B5EF4-FFF2-40B4-BE49-F238E27FC236}">
                <a16:creationId xmlns:a16="http://schemas.microsoft.com/office/drawing/2014/main" id="{5DEE65C3-2023-344E-A929-762FD7E57744}"/>
              </a:ext>
            </a:extLst>
          </p:cNvPr>
          <p:cNvSpPr txBox="1">
            <a:spLocks/>
          </p:cNvSpPr>
          <p:nvPr/>
        </p:nvSpPr>
        <p:spPr>
          <a:xfrm>
            <a:off x="440264" y="355519"/>
            <a:ext cx="10584787" cy="2196092"/>
          </a:xfrm>
          <a:prstGeom prst="rect">
            <a:avLst/>
          </a:prstGeom>
        </p:spPr>
        <p:txBody>
          <a:bodyPr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6000" b="1" dirty="0">
                <a:solidFill>
                  <a:schemeClr val="bg1">
                    <a:lumMod val="95000"/>
                  </a:schemeClr>
                </a:solidFill>
                <a:latin typeface="NeueHaasGroteskDisp Pro" panose="020B0504020202020204" pitchFamily="34" charset="77"/>
              </a:rPr>
              <a:t>Pennington Biomedical </a:t>
            </a:r>
            <a:br>
              <a:rPr lang="en-US" sz="6000" b="1" dirty="0">
                <a:solidFill>
                  <a:schemeClr val="bg1">
                    <a:lumMod val="95000"/>
                  </a:schemeClr>
                </a:solidFill>
                <a:latin typeface="NeueHaasGroteskDisp Pro" panose="020B0504020202020204" pitchFamily="34" charset="77"/>
              </a:rPr>
            </a:br>
            <a:r>
              <a:rPr lang="en-US" sz="6000" dirty="0">
                <a:solidFill>
                  <a:schemeClr val="bg1">
                    <a:lumMod val="95000"/>
                  </a:schemeClr>
                </a:solidFill>
                <a:latin typeface="NeueHaasGroteskDisp Pro" panose="020B0504020202020204" pitchFamily="34" charset="77"/>
              </a:rPr>
              <a:t>2021 &amp;  Beyond</a:t>
            </a:r>
            <a:endParaRPr lang="en-US" sz="4000" dirty="0">
              <a:solidFill>
                <a:schemeClr val="bg1">
                  <a:lumMod val="95000"/>
                </a:schemeClr>
              </a:solidFill>
              <a:latin typeface="NeueHaasGroteskDisp Pro" panose="020B0504020202020204" pitchFamily="34" charset="77"/>
            </a:endParaRPr>
          </a:p>
        </p:txBody>
      </p:sp>
      <p:sp>
        <p:nvSpPr>
          <p:cNvPr id="8" name="Title 1">
            <a:extLst>
              <a:ext uri="{FF2B5EF4-FFF2-40B4-BE49-F238E27FC236}">
                <a16:creationId xmlns:a16="http://schemas.microsoft.com/office/drawing/2014/main" id="{E77D0A0C-BBE7-7E44-AAE9-9778C79605BD}"/>
              </a:ext>
            </a:extLst>
          </p:cNvPr>
          <p:cNvSpPr txBox="1">
            <a:spLocks/>
          </p:cNvSpPr>
          <p:nvPr/>
        </p:nvSpPr>
        <p:spPr>
          <a:xfrm>
            <a:off x="8229600" y="6117952"/>
            <a:ext cx="3488268" cy="325442"/>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1200" dirty="0">
                <a:solidFill>
                  <a:schemeClr val="bg1">
                    <a:lumMod val="95000"/>
                  </a:schemeClr>
                </a:solidFill>
                <a:latin typeface="NeueHaasGroteskDisp Pro" panose="020B0504020202020204" pitchFamily="34" charset="77"/>
              </a:rPr>
              <a:t>XX/XX/2021</a:t>
            </a:r>
          </a:p>
        </p:txBody>
      </p:sp>
      <p:pic>
        <p:nvPicPr>
          <p:cNvPr id="13" name="Picture 12">
            <a:extLst>
              <a:ext uri="{FF2B5EF4-FFF2-40B4-BE49-F238E27FC236}">
                <a16:creationId xmlns:a16="http://schemas.microsoft.com/office/drawing/2014/main" id="{EE5446F1-8FFA-C047-B6CD-E19642E660F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0210" y="5858935"/>
            <a:ext cx="2108476" cy="568676"/>
          </a:xfrm>
          <a:prstGeom prst="rect">
            <a:avLst/>
          </a:prstGeom>
        </p:spPr>
      </p:pic>
    </p:spTree>
    <p:extLst>
      <p:ext uri="{BB962C8B-B14F-4D97-AF65-F5344CB8AC3E}">
        <p14:creationId xmlns:p14="http://schemas.microsoft.com/office/powerpoint/2010/main" val="5837937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3D3D2F2-ADEB-9C42-B1B8-9BF44B3C90B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CCE36004-9FE8-3645-85D5-EB884C5EFCC2}"/>
              </a:ext>
            </a:extLst>
          </p:cNvPr>
          <p:cNvSpPr>
            <a:spLocks noGrp="1"/>
          </p:cNvSpPr>
          <p:nvPr>
            <p:ph type="ctrTitle"/>
          </p:nvPr>
        </p:nvSpPr>
        <p:spPr>
          <a:xfrm>
            <a:off x="440264" y="355519"/>
            <a:ext cx="10584787" cy="2196092"/>
          </a:xfrm>
        </p:spPr>
        <p:txBody>
          <a:bodyPr anchor="t">
            <a:noAutofit/>
          </a:bodyPr>
          <a:lstStyle/>
          <a:p>
            <a:r>
              <a:rPr lang="en-US" sz="6000" dirty="0"/>
              <a:t>Pennington Biomedical </a:t>
            </a:r>
            <a:br>
              <a:rPr lang="en-US" sz="6000" dirty="0"/>
            </a:br>
            <a:r>
              <a:rPr lang="en-US" sz="6000" dirty="0">
                <a:latin typeface="NeueHaasGroteskDisp Pro" panose="020B0504020202020204" pitchFamily="34" charset="0"/>
              </a:rPr>
              <a:t>Another title slide</a:t>
            </a:r>
            <a:endParaRPr lang="en-US" sz="4000" dirty="0">
              <a:latin typeface="NeueHaasGroteskDisp Pro" panose="020B0504020202020204" pitchFamily="34" charset="0"/>
            </a:endParaRPr>
          </a:p>
        </p:txBody>
      </p:sp>
      <p:pic>
        <p:nvPicPr>
          <p:cNvPr id="6" name="Picture 5">
            <a:extLst>
              <a:ext uri="{FF2B5EF4-FFF2-40B4-BE49-F238E27FC236}">
                <a16:creationId xmlns:a16="http://schemas.microsoft.com/office/drawing/2014/main" id="{93FFC806-95D9-E149-9DC4-FC93BEB406C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1499" y="5892377"/>
            <a:ext cx="1900767" cy="512655"/>
          </a:xfrm>
          <a:prstGeom prst="rect">
            <a:avLst/>
          </a:prstGeom>
        </p:spPr>
      </p:pic>
      <p:sp>
        <p:nvSpPr>
          <p:cNvPr id="7" name="Title 1">
            <a:extLst>
              <a:ext uri="{FF2B5EF4-FFF2-40B4-BE49-F238E27FC236}">
                <a16:creationId xmlns:a16="http://schemas.microsoft.com/office/drawing/2014/main" id="{2FEAA5E6-F846-E143-B901-DEE7BC9E0FBB}"/>
              </a:ext>
            </a:extLst>
          </p:cNvPr>
          <p:cNvSpPr txBox="1">
            <a:spLocks/>
          </p:cNvSpPr>
          <p:nvPr/>
        </p:nvSpPr>
        <p:spPr>
          <a:xfrm>
            <a:off x="8229600" y="6117952"/>
            <a:ext cx="3488268" cy="325442"/>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1200">
                <a:solidFill>
                  <a:schemeClr val="bg1"/>
                </a:solidFill>
                <a:latin typeface="NeueHaasGroteskDisp Pro" panose="020B0504020202020204" pitchFamily="34" charset="77"/>
              </a:rPr>
              <a:t>01/29/2021</a:t>
            </a:r>
            <a:endParaRPr lang="en-US" sz="1200" dirty="0">
              <a:solidFill>
                <a:schemeClr val="bg1"/>
              </a:solidFill>
              <a:latin typeface="NeueHaasGroteskDisp Pro" panose="020B0504020202020204" pitchFamily="34" charset="77"/>
            </a:endParaRPr>
          </a:p>
        </p:txBody>
      </p:sp>
    </p:spTree>
    <p:extLst>
      <p:ext uri="{BB962C8B-B14F-4D97-AF65-F5344CB8AC3E}">
        <p14:creationId xmlns:p14="http://schemas.microsoft.com/office/powerpoint/2010/main" val="2282910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3BCCE-ACB8-4630-A0A6-1701F7BF7C93}"/>
              </a:ext>
            </a:extLst>
          </p:cNvPr>
          <p:cNvSpPr>
            <a:spLocks noGrp="1"/>
          </p:cNvSpPr>
          <p:nvPr>
            <p:ph type="title"/>
          </p:nvPr>
        </p:nvSpPr>
        <p:spPr/>
        <p:txBody>
          <a:bodyPr/>
          <a:lstStyle/>
          <a:p>
            <a:r>
              <a:rPr lang="en-US" dirty="0"/>
              <a:t>15</a:t>
            </a:r>
          </a:p>
        </p:txBody>
      </p:sp>
      <p:sp>
        <p:nvSpPr>
          <p:cNvPr id="3" name="Content Placeholder 2">
            <a:extLst>
              <a:ext uri="{FF2B5EF4-FFF2-40B4-BE49-F238E27FC236}">
                <a16:creationId xmlns:a16="http://schemas.microsoft.com/office/drawing/2014/main" id="{F5AD1F36-DEC1-42EB-AEC4-FAF3C6D712DF}"/>
              </a:ext>
            </a:extLst>
          </p:cNvPr>
          <p:cNvSpPr>
            <a:spLocks noGrp="1"/>
          </p:cNvSpPr>
          <p:nvPr>
            <p:ph idx="1"/>
          </p:nvPr>
        </p:nvSpPr>
        <p:spPr/>
        <p:txBody>
          <a:bodyPr/>
          <a:lstStyle/>
          <a:p>
            <a:r>
              <a:rPr lang="en-US" dirty="0"/>
              <a:t>Multi-chapter divider slide</a:t>
            </a:r>
          </a:p>
        </p:txBody>
      </p:sp>
      <p:sp>
        <p:nvSpPr>
          <p:cNvPr id="4" name="Content Placeholder 3">
            <a:extLst>
              <a:ext uri="{FF2B5EF4-FFF2-40B4-BE49-F238E27FC236}">
                <a16:creationId xmlns:a16="http://schemas.microsoft.com/office/drawing/2014/main" id="{BD0D7976-D97B-43AD-9214-55D7893D98E9}"/>
              </a:ext>
            </a:extLst>
          </p:cNvPr>
          <p:cNvSpPr>
            <a:spLocks noGrp="1"/>
          </p:cNvSpPr>
          <p:nvPr>
            <p:ph idx="13"/>
          </p:nvPr>
        </p:nvSpPr>
        <p:spPr>
          <a:xfrm>
            <a:off x="7463526" y="1553970"/>
            <a:ext cx="3954115" cy="1107462"/>
          </a:xfrm>
        </p:spPr>
        <p:txBody>
          <a:bodyPr/>
          <a:lstStyle/>
          <a:p>
            <a:endParaRPr lang="en-US"/>
          </a:p>
        </p:txBody>
      </p:sp>
      <p:sp>
        <p:nvSpPr>
          <p:cNvPr id="5" name="Date Placeholder 3">
            <a:extLst>
              <a:ext uri="{FF2B5EF4-FFF2-40B4-BE49-F238E27FC236}">
                <a16:creationId xmlns:a16="http://schemas.microsoft.com/office/drawing/2014/main" id="{63D12C4F-907C-4404-8A40-86CE61BD6552}"/>
              </a:ext>
            </a:extLst>
          </p:cNvPr>
          <p:cNvSpPr>
            <a:spLocks noGrp="1"/>
          </p:cNvSpPr>
          <p:nvPr>
            <p:ph type="dt" sz="half" idx="10"/>
          </p:nvPr>
        </p:nvSpPr>
        <p:spPr>
          <a:xfrm>
            <a:off x="8806249" y="6129337"/>
            <a:ext cx="1151238" cy="365125"/>
          </a:xfrm>
        </p:spPr>
        <p:txBody>
          <a:bodyPr/>
          <a:lstStyle>
            <a:lvl1pPr algn="r">
              <a:defRPr sz="1000" b="0" i="0">
                <a:solidFill>
                  <a:schemeClr val="bg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6" name="Slide Number Placeholder 5">
            <a:extLst>
              <a:ext uri="{FF2B5EF4-FFF2-40B4-BE49-F238E27FC236}">
                <a16:creationId xmlns:a16="http://schemas.microsoft.com/office/drawing/2014/main" id="{C42EF8F8-4C70-4943-A17B-E9870A8897D4}"/>
              </a:ext>
            </a:extLst>
          </p:cNvPr>
          <p:cNvSpPr>
            <a:spLocks noGrp="1"/>
          </p:cNvSpPr>
          <p:nvPr>
            <p:ph type="sldNum" sz="quarter" idx="12"/>
          </p:nvPr>
        </p:nvSpPr>
        <p:spPr>
          <a:xfrm>
            <a:off x="11236411" y="6129337"/>
            <a:ext cx="463378" cy="365125"/>
          </a:xfrm>
        </p:spPr>
        <p:txBody>
          <a:bodyPr/>
          <a:lstStyle>
            <a:lvl1pPr>
              <a:defRPr sz="1000" b="0" i="0">
                <a:solidFill>
                  <a:schemeClr val="bg1"/>
                </a:solidFill>
                <a:latin typeface="NeueHaasGroteskDisp Pro" panose="020B0504020202020204" pitchFamily="34" charset="0"/>
              </a:defRPr>
            </a:lvl1pPr>
          </a:lstStyle>
          <a:p>
            <a:fld id="{7F43BC75-A8B3-524C-9CB1-17F14D0EA8E1}" type="slidenum">
              <a:rPr lang="en-US" smtClean="0"/>
              <a:pPr/>
              <a:t>7</a:t>
            </a:fld>
            <a:endParaRPr lang="en-US" dirty="0">
              <a:latin typeface="NeueHaasGroteskDisp Pro" panose="020B0504020202020204" pitchFamily="34" charset="0"/>
            </a:endParaRPr>
          </a:p>
        </p:txBody>
      </p:sp>
      <p:sp>
        <p:nvSpPr>
          <p:cNvPr id="7" name="Footer Placeholder 4">
            <a:extLst>
              <a:ext uri="{FF2B5EF4-FFF2-40B4-BE49-F238E27FC236}">
                <a16:creationId xmlns:a16="http://schemas.microsoft.com/office/drawing/2014/main" id="{BFD16F06-805E-4618-9832-8D15785D1878}"/>
              </a:ext>
            </a:extLst>
          </p:cNvPr>
          <p:cNvSpPr>
            <a:spLocks noGrp="1"/>
          </p:cNvSpPr>
          <p:nvPr>
            <p:ph type="ftr" sz="quarter" idx="11"/>
          </p:nvPr>
        </p:nvSpPr>
        <p:spPr>
          <a:xfrm>
            <a:off x="6069184" y="6129337"/>
            <a:ext cx="2078038" cy="365125"/>
          </a:xfrm>
        </p:spPr>
        <p:txBody>
          <a:bodyPr/>
          <a:lstStyle>
            <a:lvl1pPr algn="l">
              <a:defRPr sz="1000" b="0" i="0">
                <a:solidFill>
                  <a:schemeClr val="bg1"/>
                </a:solidFill>
                <a:latin typeface="NeueHaasGroteskDisp Pro" panose="020B0504020202020204" pitchFamily="34" charset="0"/>
              </a:defRPr>
            </a:lvl1pPr>
          </a:lstStyle>
          <a:p>
            <a:r>
              <a:rPr lang="en-US" dirty="0"/>
              <a:t>Footer</a:t>
            </a:r>
            <a:endParaRPr lang="en-US" dirty="0">
              <a:latin typeface="NeueHaasGroteskDisp Pro" panose="020B0504020202020204" pitchFamily="34" charset="0"/>
            </a:endParaRPr>
          </a:p>
        </p:txBody>
      </p:sp>
    </p:spTree>
    <p:extLst>
      <p:ext uri="{BB962C8B-B14F-4D97-AF65-F5344CB8AC3E}">
        <p14:creationId xmlns:p14="http://schemas.microsoft.com/office/powerpoint/2010/main" val="22639173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24456-0042-47C9-AF3E-77BDDAA75AA7}"/>
              </a:ext>
            </a:extLst>
          </p:cNvPr>
          <p:cNvSpPr>
            <a:spLocks noGrp="1"/>
          </p:cNvSpPr>
          <p:nvPr>
            <p:ph type="title"/>
          </p:nvPr>
        </p:nvSpPr>
        <p:spPr/>
        <p:txBody>
          <a:bodyPr/>
          <a:lstStyle/>
          <a:p>
            <a:r>
              <a:rPr lang="en-US" dirty="0"/>
              <a:t>Section break</a:t>
            </a:r>
          </a:p>
        </p:txBody>
      </p:sp>
      <p:sp>
        <p:nvSpPr>
          <p:cNvPr id="3" name="Date Placeholder 3">
            <a:extLst>
              <a:ext uri="{FF2B5EF4-FFF2-40B4-BE49-F238E27FC236}">
                <a16:creationId xmlns:a16="http://schemas.microsoft.com/office/drawing/2014/main" id="{47C2AE29-DD0C-4AB3-B7EC-A116A8083DA5}"/>
              </a:ext>
            </a:extLst>
          </p:cNvPr>
          <p:cNvSpPr>
            <a:spLocks noGrp="1"/>
          </p:cNvSpPr>
          <p:nvPr>
            <p:ph type="dt" sz="half" idx="10"/>
          </p:nvPr>
        </p:nvSpPr>
        <p:spPr>
          <a:xfrm>
            <a:off x="8806249" y="6129337"/>
            <a:ext cx="1151238" cy="365125"/>
          </a:xfrm>
        </p:spPr>
        <p:txBody>
          <a:bodyPr/>
          <a:lstStyle>
            <a:lvl1pPr algn="r">
              <a:defRPr sz="1000" b="0" i="0">
                <a:solidFill>
                  <a:schemeClr val="bg1"/>
                </a:solidFill>
                <a:latin typeface="NeueHaasGroteskDisp Pro" panose="020B0504020202020204" pitchFamily="34" charset="0"/>
              </a:defRPr>
            </a:lvl1pPr>
          </a:lstStyle>
          <a:p>
            <a:fld id="{A3CB876C-AC0D-434B-B385-00E0BB194C18}" type="datetimeFigureOut">
              <a:rPr lang="en-US" smtClean="0"/>
              <a:pPr/>
              <a:t>5/14/2021</a:t>
            </a:fld>
            <a:endParaRPr lang="en-US" dirty="0">
              <a:latin typeface="NeueHaasGroteskDisp Pro" panose="020B0504020202020204" pitchFamily="34" charset="0"/>
            </a:endParaRPr>
          </a:p>
        </p:txBody>
      </p:sp>
      <p:sp>
        <p:nvSpPr>
          <p:cNvPr id="4" name="Slide Number Placeholder 5">
            <a:extLst>
              <a:ext uri="{FF2B5EF4-FFF2-40B4-BE49-F238E27FC236}">
                <a16:creationId xmlns:a16="http://schemas.microsoft.com/office/drawing/2014/main" id="{B7557DA2-EBC2-44B3-8EA5-346F86D63911}"/>
              </a:ext>
            </a:extLst>
          </p:cNvPr>
          <p:cNvSpPr>
            <a:spLocks noGrp="1"/>
          </p:cNvSpPr>
          <p:nvPr>
            <p:ph type="sldNum" sz="quarter" idx="12"/>
          </p:nvPr>
        </p:nvSpPr>
        <p:spPr>
          <a:xfrm>
            <a:off x="11236411" y="6129337"/>
            <a:ext cx="463378" cy="365125"/>
          </a:xfrm>
        </p:spPr>
        <p:txBody>
          <a:bodyPr/>
          <a:lstStyle>
            <a:lvl1pPr>
              <a:defRPr sz="1000" b="0" i="0">
                <a:solidFill>
                  <a:schemeClr val="bg1"/>
                </a:solidFill>
                <a:latin typeface="NeueHaasGroteskDisp Pro" panose="020B0504020202020204" pitchFamily="34" charset="0"/>
              </a:defRPr>
            </a:lvl1pPr>
          </a:lstStyle>
          <a:p>
            <a:fld id="{7F43BC75-A8B3-524C-9CB1-17F14D0EA8E1}" type="slidenum">
              <a:rPr lang="en-US" smtClean="0"/>
              <a:pPr/>
              <a:t>8</a:t>
            </a:fld>
            <a:endParaRPr lang="en-US" dirty="0">
              <a:latin typeface="NeueHaasGroteskDisp Pro" panose="020B0504020202020204" pitchFamily="34" charset="0"/>
            </a:endParaRPr>
          </a:p>
        </p:txBody>
      </p:sp>
      <p:sp>
        <p:nvSpPr>
          <p:cNvPr id="5" name="Footer Placeholder 4">
            <a:extLst>
              <a:ext uri="{FF2B5EF4-FFF2-40B4-BE49-F238E27FC236}">
                <a16:creationId xmlns:a16="http://schemas.microsoft.com/office/drawing/2014/main" id="{854FC728-2632-4E27-8820-20BAE32EA4D7}"/>
              </a:ext>
            </a:extLst>
          </p:cNvPr>
          <p:cNvSpPr>
            <a:spLocks noGrp="1"/>
          </p:cNvSpPr>
          <p:nvPr>
            <p:ph type="ftr" sz="quarter" idx="11"/>
          </p:nvPr>
        </p:nvSpPr>
        <p:spPr>
          <a:xfrm>
            <a:off x="6069184" y="6129337"/>
            <a:ext cx="2078038" cy="365125"/>
          </a:xfrm>
        </p:spPr>
        <p:txBody>
          <a:bodyPr/>
          <a:lstStyle>
            <a:lvl1pPr algn="l">
              <a:defRPr sz="1000" b="0" i="0">
                <a:solidFill>
                  <a:schemeClr val="bg1"/>
                </a:solidFill>
                <a:latin typeface="NeueHaasGroteskDisp Pro" panose="020B0504020202020204" pitchFamily="34" charset="0"/>
              </a:defRPr>
            </a:lvl1pPr>
          </a:lstStyle>
          <a:p>
            <a:r>
              <a:rPr lang="en-US" dirty="0"/>
              <a:t>Footer</a:t>
            </a:r>
            <a:endParaRPr lang="en-US" dirty="0">
              <a:latin typeface="NeueHaasGroteskDisp Pro" panose="020B0504020202020204" pitchFamily="34" charset="0"/>
            </a:endParaRPr>
          </a:p>
        </p:txBody>
      </p:sp>
    </p:spTree>
    <p:extLst>
      <p:ext uri="{BB962C8B-B14F-4D97-AF65-F5344CB8AC3E}">
        <p14:creationId xmlns:p14="http://schemas.microsoft.com/office/powerpoint/2010/main" val="19200247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36004-9FE8-3645-85D5-EB884C5EFCC2}"/>
              </a:ext>
            </a:extLst>
          </p:cNvPr>
          <p:cNvSpPr>
            <a:spLocks noGrp="1"/>
          </p:cNvSpPr>
          <p:nvPr>
            <p:ph type="title"/>
          </p:nvPr>
        </p:nvSpPr>
        <p:spPr>
          <a:xfrm>
            <a:off x="393354" y="377157"/>
            <a:ext cx="9333741" cy="2074495"/>
          </a:xfrm>
        </p:spPr>
        <p:txBody>
          <a:bodyPr anchor="t">
            <a:noAutofit/>
          </a:bodyPr>
          <a:lstStyle/>
          <a:p>
            <a:pPr algn="l"/>
            <a:r>
              <a:rPr lang="en-US" sz="12000" dirty="0"/>
              <a:t>Appendix</a:t>
            </a:r>
          </a:p>
        </p:txBody>
      </p:sp>
      <p:sp>
        <p:nvSpPr>
          <p:cNvPr id="6" name="Date Placeholder 3">
            <a:extLst>
              <a:ext uri="{FF2B5EF4-FFF2-40B4-BE49-F238E27FC236}">
                <a16:creationId xmlns:a16="http://schemas.microsoft.com/office/drawing/2014/main" id="{F765B12E-C929-B648-A988-C1A40679C6E4}"/>
              </a:ext>
            </a:extLst>
          </p:cNvPr>
          <p:cNvSpPr>
            <a:spLocks noGrp="1"/>
          </p:cNvSpPr>
          <p:nvPr>
            <p:ph type="dt" sz="half" idx="10"/>
          </p:nvPr>
        </p:nvSpPr>
        <p:spPr>
          <a:xfrm>
            <a:off x="8806249" y="6129337"/>
            <a:ext cx="1151238" cy="365125"/>
          </a:xfrm>
        </p:spPr>
        <p:txBody>
          <a:bodyPr/>
          <a:lstStyle>
            <a:lvl1pPr algn="r">
              <a:defRPr sz="1000">
                <a:solidFill>
                  <a:srgbClr val="412181"/>
                </a:solidFill>
              </a:defRPr>
            </a:lvl1pPr>
          </a:lstStyle>
          <a:p>
            <a:r>
              <a:rPr lang="en-US" dirty="0">
                <a:solidFill>
                  <a:schemeClr val="bg1"/>
                </a:solidFill>
              </a:rPr>
              <a:t>XX/XX/XXXX</a:t>
            </a:r>
          </a:p>
        </p:txBody>
      </p:sp>
      <p:sp>
        <p:nvSpPr>
          <p:cNvPr id="7" name="Slide Number Placeholder 5">
            <a:extLst>
              <a:ext uri="{FF2B5EF4-FFF2-40B4-BE49-F238E27FC236}">
                <a16:creationId xmlns:a16="http://schemas.microsoft.com/office/drawing/2014/main" id="{A5CDDE04-A73D-FF4D-996B-5AF6DE6BC7B1}"/>
              </a:ext>
            </a:extLst>
          </p:cNvPr>
          <p:cNvSpPr>
            <a:spLocks noGrp="1"/>
          </p:cNvSpPr>
          <p:nvPr>
            <p:ph type="sldNum" sz="quarter" idx="12"/>
          </p:nvPr>
        </p:nvSpPr>
        <p:spPr>
          <a:xfrm>
            <a:off x="11236411" y="6129337"/>
            <a:ext cx="463378" cy="365125"/>
          </a:xfrm>
        </p:spPr>
        <p:txBody>
          <a:bodyPr/>
          <a:lstStyle>
            <a:lvl1pPr>
              <a:defRPr sz="1000">
                <a:solidFill>
                  <a:srgbClr val="412181"/>
                </a:solidFill>
              </a:defRPr>
            </a:lvl1pPr>
          </a:lstStyle>
          <a:p>
            <a:fld id="{7F43BC75-A8B3-524C-9CB1-17F14D0EA8E1}" type="slidenum">
              <a:rPr lang="en-US" smtClean="0">
                <a:solidFill>
                  <a:schemeClr val="bg1"/>
                </a:solidFill>
              </a:rPr>
              <a:pPr/>
              <a:t>9</a:t>
            </a:fld>
            <a:endParaRPr lang="en-US" dirty="0">
              <a:solidFill>
                <a:schemeClr val="bg1"/>
              </a:solidFill>
            </a:endParaRPr>
          </a:p>
        </p:txBody>
      </p:sp>
      <p:sp>
        <p:nvSpPr>
          <p:cNvPr id="8" name="Footer Placeholder 4">
            <a:extLst>
              <a:ext uri="{FF2B5EF4-FFF2-40B4-BE49-F238E27FC236}">
                <a16:creationId xmlns:a16="http://schemas.microsoft.com/office/drawing/2014/main" id="{4E7FF0CA-F8D7-8548-B3F1-F0A7A4FC2FBB}"/>
              </a:ext>
            </a:extLst>
          </p:cNvPr>
          <p:cNvSpPr>
            <a:spLocks noGrp="1"/>
          </p:cNvSpPr>
          <p:nvPr>
            <p:ph type="ftr" sz="quarter" idx="11"/>
          </p:nvPr>
        </p:nvSpPr>
        <p:spPr>
          <a:xfrm>
            <a:off x="6069183" y="6129337"/>
            <a:ext cx="1847379" cy="365125"/>
          </a:xfrm>
        </p:spPr>
        <p:txBody>
          <a:bodyPr/>
          <a:lstStyle>
            <a:lvl1pPr>
              <a:defRPr sz="1000">
                <a:solidFill>
                  <a:srgbClr val="412181"/>
                </a:solidFill>
              </a:defRPr>
            </a:lvl1pPr>
          </a:lstStyle>
          <a:p>
            <a:pPr algn="l"/>
            <a:r>
              <a:rPr lang="en-US" dirty="0">
                <a:solidFill>
                  <a:schemeClr val="bg1"/>
                </a:solidFill>
              </a:rPr>
              <a:t>Presentation Title</a:t>
            </a:r>
          </a:p>
        </p:txBody>
      </p:sp>
    </p:spTree>
    <p:extLst>
      <p:ext uri="{BB962C8B-B14F-4D97-AF65-F5344CB8AC3E}">
        <p14:creationId xmlns:p14="http://schemas.microsoft.com/office/powerpoint/2010/main" val="16248682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BtHdVTD0idHc9c95BC7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wpzvQsgs0iYFoMx.PINr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X7L15okXky2fjntvyRIb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5MUgCokhNEmlPjKz59VSO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2Au_E1q7C0exTZfpOMqSf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Qx7OgYoMU6ZpgmFZd5Pr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jVTBIfED00ShAoUEqt0uB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3gmNrFAKE2VzZARWKr._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y0hwHbggUSAEQ35h09Hi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XYRA7WNfhUiFS1M_RUVXm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ey7e4VILk6yPUIXBw.i2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AbVB_y1YDEembA4diPJN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94IskRaIE.vOjXsKyvMT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7Znnh0m2KUyrDbtOTR.Hw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7RxmjQJmHU.1PYLmgzlDH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7fcDxLfSYUKpiRgapxd_H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3Q0P18KE0CvARP89hQIj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UEhlCO5x30WxPuxxh3zYs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_dX0tO0S4E2X37OCyDnYZ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YvHLhzSYcEO0Ydwav2k8w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n3Mfu1xsl0CmZiXgdmZBS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4qvKrIbusk6_g0MMM7II5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R6zOuYeakiGucRSajPy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gBjbe6tVUGPAYH1mL5p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2OavwFtTiEGr8HMlmCGBN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kk6Wv.1NsEWCXcgM2_SIa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8omhoFqEEygXG5zSrBT5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nHdF6SnB.0WH965g203UP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jNONhh9fkuqvIRDF3sj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dt7HPFfiM0CUq2GzBO3p7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Gme3I4TVyk.vJP06uTHrL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X5tMvYFzlkSzIP1dDOAI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SF53ydjN02mcbohZqdMi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ZwaaJsRlkKDW.MC7CHD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S6IjwK69kajtgtBegAFP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xedBTbHgCUOu9u4a3vaNt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tgsdI9icj0a0FegstySml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eFzp04_zEKBr6dyeQaBq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4MIv5yktEk6qscgu0fQ8V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g_Jyb8aEyhKlbaMNJiL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yZg2mtKg40qKZUQGlfd99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BBmeSUL2C02AB.TSrNuYg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2rc88k77SESnyuKKFaxc1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1Ey0V7J.IEeOYdJA.o6a7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1EBTEamAFUy8oLcMip8A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xRlQlj4MUiJwSVszEOJ9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B5u8kepV0SQqTqBPLbyh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qslrLzhd90SW0cCfHMv88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m0vcPoL_0.Y1BC.eibVx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pSOk.78itUeg15vRKA1u8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bqZilbtkUi63RKKwMMGx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hAkPzoKQqUSIPxvIrH2vO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j94IskRaIE.vOjXsKyvMT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5cM57pI5hkGhRauJ8kmYN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IrviQVI5j0Wm0yElgIaQp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4VJhDcwr0eGq8ej14cb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KzOakc4IEmdD5IV4gp6r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uBTNjy4xL0yZCTNRSM7G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g3RQxx1EU0i6Vf7zkB60K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bP6_5.mFXEGLBJoqlj.cS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60I.CTjjEeydOJqgkJcD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d83sf57s0KEYJUqvv1xx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c0rLQ29Ei0yRjWRIzPKJA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_8VKxnGN.kii1c1rA__Bc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8eXCc7KUW0q8KYKtNNowj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dD9gOeqSky0741yLsOj6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em1gtTLNskGJT5KpOblH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53F50shR02ZAa9ZLP3j2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AAz.NSu3N02s6AJS4Fysc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pY7dJycDEUOQVH1MEW_MJ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k9RtkffnU6AljPnphsaN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aGnAjBXSE.4WlglQg23M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iZDbK9APU6M4OJxami4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DDZwSVHJE2XaLa4cIRUY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ZFXXIU8Uq9qXAgXQzkW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WZiodxE9iEmnayDB27NMv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Q2Ius15F90.fC9Sbnn5QG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l5T6gwqKlUOX9jHgyAq9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gWTcurkkkuCr3ebBTYlI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lhhiXgaSvEy5LUmXLlQD8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MbXhZ7WE0OspilxYU.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_vliw.wNkqmEJi.Lk4g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F2oS7f6uEeHgYK2pm9l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ZSuW02eYUWq9PhMKypfF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j781Md2MEqkqDlwFKXw3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7bsKnTMvUqpXt.EDLpk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sKhVX3w6kylgDTRDS2d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8sD8tAo1U.mC08TJo9N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tAM5.Jfx0SWjeGuSwdSr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InAIOJRDkyOxS.vpCUt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Z53sp3sky4kNTQXoQo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AVw20B_ZE.Y2zOYnefA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twwpbTYz0y.gGSIOkfb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Cx5S13hWk2o6JuFU1Yy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Rz2UFyOkUSs3ra4l3cu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rcEJckOA02everwDa42b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WgsktNRBUKzuUt.MuuP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TgztnaHoEC6kkQVu9H22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HeJpKUJd0ie8VXWZkjc0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DYaNNkmK0Ov1Z2CqQlk3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Kh.s4Ne0kSdFIEM1NQfd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yTNgu2IKEuFB_Jdsx0ZZ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GKrkGM1MEuSAuWhbTN.9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Brwb8ZmWEKiOUuEo8Z8z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w607b__0ECU_0Sx1Pcj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9lDnWbQjkWQ63sK8FUYX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7m51WjeRU2ReUcRo1Rd3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g6yhz1iz0am7P.JTiZQl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2.GafR45EKchKX5M16WH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8e2jeG7F0SMZts40Xzd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IE4610t9UKecdaOZJ.oM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iP.3PZNikCYpZhvQeIfH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PDScqXw6UenK0O0Eb5G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K0jDiwtjUqjvJLalP4x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ZqdXmb__Uym84M4XNc34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ocGUcWkkk2BmZ3XK33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Ai8ddpL30Sq9IFLm_St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ArnOnT_2EqhOV6ivFlZg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qXIHlUR.EOB34kw1tetm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yAwYkNz_UOWTv_pO7zD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U49W5SkbkyruJRLoCPGs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0ZCEqR6aECvdKnTtWFFg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UMYCEo080qKdTzCM6DxL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y2RBlav1E.6QKdrNANV0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3LSv5D7gkmB0mc8.4IQO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Wyrb.j5GUy1Limj.Am7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9OIHCxuN1U.nGt.F6QBW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DRqN0uELU2uTz7n8T2OZ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6g8Eo1uG0e9iyAOXCGaI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TYunhuaXkKWUrf.XMAm1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_787r2C4EGxrnN.aEM.B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flUfRlLhECv6bJmn6An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SuCDGSeSUOHgykVZF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nQctI77kES3wLxbbbcdn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QnDUYW03USniHooEOdho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EksQY826Rku5OmS8iD1AC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wYDfonMUESzkBmxUPc2y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cHIgCXzwE2TxCzQNgq9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CzQPgmSFkelBmuHKw0vV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WUq3E1vskUKm7e2Dm_Q0U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9hiSRtCKvEulkjTiu87Cg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Dz26OOy_LUuy_wjimVTT1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4qTjJKG3UmxLhq4UTigk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200pUF1O0igaDJCmRuag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kAKBnwEgDk6Pb5aWIUV51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dd0sbw9PUCZMWngF4Vz2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gYX35H8iUC2CJrqxMA3W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nVVrDaVP0mDJh8pFQvmw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iQ9yaHe9kqDSIk5RqIp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KOJvp0aBUWAIwoeNBMlt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1NKs9_ObkKBf3VtL8B7.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2z4J5TQ7UWZwld9s1AVk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3j4xGErX6UuZzFHtdhc5v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QKFg7mAq0Sqv6tVnpv5P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RPHcJ1V5k.428tvG1B0P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552O2j8WNE.geZcRsmGNH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ZJDy.hV.kuhFmPsCCGvw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QhLssk8LEmHpJaX4ZDsu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1nCBbzFzEmsqV07NKcuM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9huTY2M3UO47B3oMtuQ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AkPzoKQqUSIPxvIrH2v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RlkC6Akn0ubpBAyt5XPI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2glDGt7qE2BSD2j06R9K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5XpN0urK0aj6PbgwdzB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vGc0f7PRp0iF1EIegi2DT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3TT16_E60uiPzJFJn93r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nPKctEue6Uu.JdmeLCKrQ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obnnJhmfEqVDMxXHpDRr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UHd5cLKmVkievrrym9Niv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z.kuTmFxkyrXGsfdfF0y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YSrZ8k0DLkOyuyt.XSfDLA"/>
</p:tagLst>
</file>

<file path=ppt/theme/theme1.xml><?xml version="1.0" encoding="utf-8"?>
<a:theme xmlns:a="http://schemas.openxmlformats.org/drawingml/2006/main" name="Office Theme">
  <a:themeElements>
    <a:clrScheme name="Pennington 1">
      <a:dk1>
        <a:srgbClr val="000000"/>
      </a:dk1>
      <a:lt1>
        <a:srgbClr val="FFFFFF"/>
      </a:lt1>
      <a:dk2>
        <a:srgbClr val="3C1C85"/>
      </a:dk2>
      <a:lt2>
        <a:srgbClr val="FDD023"/>
      </a:lt2>
      <a:accent1>
        <a:srgbClr val="78389D"/>
      </a:accent1>
      <a:accent2>
        <a:srgbClr val="01A2D6"/>
      </a:accent2>
      <a:accent3>
        <a:srgbClr val="00C659"/>
      </a:accent3>
      <a:accent4>
        <a:srgbClr val="8FF2C3"/>
      </a:accent4>
      <a:accent5>
        <a:srgbClr val="545860"/>
      </a:accent5>
      <a:accent6>
        <a:srgbClr val="989AA5"/>
      </a:accent6>
      <a:hlink>
        <a:srgbClr val="BBBDC7"/>
      </a:hlink>
      <a:folHlink>
        <a:srgbClr val="D9DAE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NeueHaasGroteskDisp Pro"/>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NeueHaasGroteskDisp Pro"/>
        <a:font script="Hebr" typeface="NeueHaasGroteskDisp Pro"/>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NeueHaasGroteskDisp Pro"/>
        <a:font script="Uigh" typeface="Microsoft Uighur"/>
        <a:font script="Geor" typeface="Sylfaen"/>
        <a:font script="Armn" typeface="NeueHaasGroteskDisp Pro"/>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NeueHaasGroteskDisp Pro"/>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NeueHaasGroteskDisp Pro"/>
        <a:font script="Hebr" typeface="NeueHaasGroteskDisp Pro"/>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NeueHaasGroteskDisp Pro"/>
        <a:font script="Uigh" typeface="Microsoft Uighur"/>
        <a:font script="Geor" typeface="Sylfaen"/>
        <a:font script="Armn" typeface="NeueHaasGroteskDisp Pro"/>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68</TotalTime>
  <Words>2021</Words>
  <Application>Microsoft Office PowerPoint</Application>
  <PresentationFormat>Widescreen</PresentationFormat>
  <Paragraphs>452</Paragraphs>
  <Slides>49</Slides>
  <Notes>14</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49</vt:i4>
      </vt:variant>
    </vt:vector>
  </HeadingPairs>
  <TitlesOfParts>
    <vt:vector size="53" baseType="lpstr">
      <vt:lpstr>NeueHaasGroteskDisp Pro Md</vt:lpstr>
      <vt:lpstr>Symbol</vt:lpstr>
      <vt:lpstr>NeueHaasGroteskDisp Pro</vt:lpstr>
      <vt:lpstr>Office Theme</vt:lpstr>
      <vt:lpstr>Contents</vt:lpstr>
      <vt:lpstr>Pennington GHGB campaign survey results</vt:lpstr>
      <vt:lpstr>PowerPoint Presentation</vt:lpstr>
      <vt:lpstr>Pennington Biomedical  2021 &amp;  Beyond</vt:lpstr>
      <vt:lpstr>PowerPoint Presentation</vt:lpstr>
      <vt:lpstr>Pennington Biomedical  Another title slide</vt:lpstr>
      <vt:lpstr>15</vt:lpstr>
      <vt:lpstr>Section break</vt:lpstr>
      <vt:lpstr>Appendix</vt:lpstr>
      <vt:lpstr>Major topic headline</vt:lpstr>
      <vt:lpstr>Lorem ipsum dolor sit amet con secte tur. </vt:lpstr>
      <vt:lpstr>Lorem ipsum dolor sit amet, consectetur adipiscing elit. Quisque quis molestie neque, vitae ornare nibh. Maecenas enim ipsum.  </vt:lpstr>
      <vt:lpstr>“Insert smart Quote here!”</vt:lpstr>
      <vt:lpstr>Lorem ipsum dolor sit amet con secte tur.</vt:lpstr>
      <vt:lpstr>Lorem ipsum dolor sit amet con secte tur.</vt:lpstr>
      <vt:lpstr>Lorem ipsum dolor sit amet, consectetur adipiscing elit. Quisque quis molestie neque, vitae ornare nibh. Maecenas enim ipsum.</vt:lpstr>
      <vt:lpstr>Mission</vt:lpstr>
      <vt:lpstr>Pennington  Biomedical  Campus</vt:lpstr>
      <vt:lpstr>Pennington Biomedical  solves problems through innovation</vt:lpstr>
      <vt:lpstr>Lorem ipsum dolor sit amet con secte tur.</vt:lpstr>
      <vt:lpstr>PowerPoint Presentation</vt:lpstr>
      <vt:lpstr>Medical  Complications of Obesity</vt:lpstr>
      <vt:lpstr>Lorem ipsum dolor sit amet con secte tur.</vt:lpstr>
      <vt:lpstr>Lorem ipsum dolor sit amet con secte tur.</vt:lpstr>
      <vt:lpstr>Food System Reform</vt:lpstr>
      <vt:lpstr>Proven benefits of weight loss</vt:lpstr>
      <vt:lpstr>The food industry in need of a major overhaul</vt:lpstr>
      <vt:lpstr>Obesity Treatment Approaches </vt:lpstr>
      <vt:lpstr>Lorem ipsum dolor sit amet con secte tur.</vt:lpstr>
      <vt:lpstr>Show impact in graphical form</vt:lpstr>
      <vt:lpstr>A pie chart can also be put on a divided slide to give more emphasis.</vt:lpstr>
      <vt:lpstr>The Urgency in numbers</vt:lpstr>
      <vt:lpstr>The story in Numbers</vt:lpstr>
      <vt:lpstr>Pennington’s Track Record</vt:lpstr>
      <vt:lpstr>Key drivers of a national strategy to strengthen nutritional research</vt:lpstr>
      <vt:lpstr>Solutions from Cells to Society</vt:lpstr>
      <vt:lpstr>PowerPoint Presentation</vt:lpstr>
      <vt:lpstr>This is how a table of information looks.</vt:lpstr>
      <vt:lpstr>This is a different example of a table.</vt:lpstr>
      <vt:lpstr>Column chart example that is editable.</vt:lpstr>
      <vt:lpstr>Milestones</vt:lpstr>
      <vt:lpstr>Timeline</vt:lpstr>
      <vt:lpstr>Louisiana map example</vt:lpstr>
      <vt:lpstr>PowerPoint Presentation</vt:lpstr>
      <vt:lpstr>Obesity in Louisiana</vt:lpstr>
      <vt:lpstr>US map example</vt:lpstr>
      <vt:lpstr>Obesity in the United States</vt:lpstr>
      <vt:lpstr>The rise and rise of diabetes</vt:lpstr>
      <vt:lpstr>Not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llo!</dc:title>
  <dc:creator>Megan Bryant</dc:creator>
  <cp:lastModifiedBy>Lisa Stansbury</cp:lastModifiedBy>
  <cp:revision>67</cp:revision>
  <dcterms:created xsi:type="dcterms:W3CDTF">2020-06-23T16:28:07Z</dcterms:created>
  <dcterms:modified xsi:type="dcterms:W3CDTF">2021-05-14T16:57:51Z</dcterms:modified>
</cp:coreProperties>
</file>